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heme/themeOverride2.xml" ContentType="application/vnd.openxmlformats-officedocument.themeOverr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62" r:id="rId2"/>
    <p:sldMasterId id="2147483669" r:id="rId3"/>
  </p:sldMasterIdLst>
  <p:notesMasterIdLst>
    <p:notesMasterId r:id="rId19"/>
  </p:notesMasterIdLst>
  <p:handoutMasterIdLst>
    <p:handoutMasterId r:id="rId20"/>
  </p:handoutMasterIdLst>
  <p:sldIdLst>
    <p:sldId id="444" r:id="rId4"/>
    <p:sldId id="401" r:id="rId5"/>
    <p:sldId id="425" r:id="rId6"/>
    <p:sldId id="403" r:id="rId7"/>
    <p:sldId id="404" r:id="rId8"/>
    <p:sldId id="426" r:id="rId9"/>
    <p:sldId id="409" r:id="rId10"/>
    <p:sldId id="427" r:id="rId11"/>
    <p:sldId id="413" r:id="rId12"/>
    <p:sldId id="414" r:id="rId13"/>
    <p:sldId id="415" r:id="rId14"/>
    <p:sldId id="428" r:id="rId15"/>
    <p:sldId id="420" r:id="rId16"/>
    <p:sldId id="421" r:id="rId17"/>
    <p:sldId id="445" r:id="rId18"/>
  </p:sldIdLst>
  <p:sldSz cx="12192000" cy="6858000"/>
  <p:notesSz cx="6858000" cy="9144000"/>
  <p:custDataLst>
    <p:tags r:id="rId21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9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1E2FE"/>
    <a:srgbClr val="226AD0"/>
    <a:srgbClr val="095BC9"/>
    <a:srgbClr val="0789DF"/>
    <a:srgbClr val="0869CF"/>
    <a:srgbClr val="4EBCF7"/>
    <a:srgbClr val="0870D3"/>
    <a:srgbClr val="A0E2F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4660"/>
  </p:normalViewPr>
  <p:slideViewPr>
    <p:cSldViewPr snapToGrid="0" showGuides="1">
      <p:cViewPr varScale="1">
        <p:scale>
          <a:sx n="110" d="100"/>
          <a:sy n="110" d="100"/>
        </p:scale>
        <p:origin x="630" y="114"/>
      </p:cViewPr>
      <p:guideLst>
        <p:guide orient="horz" pos="2160"/>
        <p:guide pos="3849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3" Type="http://schemas.openxmlformats.org/officeDocument/2006/relationships/slideMaster" Target="slideMasters/slideMaster3.xml"/><Relationship Id="rId21" Type="http://schemas.openxmlformats.org/officeDocument/2006/relationships/tags" Target="tags/tag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theme" Target="theme/theme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viewProps" Target="viewProps.xml"/><Relationship Id="rId10" Type="http://schemas.openxmlformats.org/officeDocument/2006/relationships/slide" Target="slides/slide7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F9B84EA-7D68-4D60-9CB1-D50884785D1C}" type="datetimeFigureOut">
              <a:rPr lang="zh-CN" altLang="en-US" smtClean="0"/>
              <a:t>2022/9/8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D4E0FC9-F1F8-4FAE-9988-3BA365CFD46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3C1A1EB-F38A-4348-9839-54E193FF9EF7}" type="datetimeFigureOut">
              <a:rPr lang="zh-CN" altLang="en-US" smtClean="0"/>
              <a:t>2022/9/8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90C9312-0F37-43B7-A68F-D316C29AA138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F70782-008B-5B48-B01C-A994AC4AA046}" type="slidenum">
              <a:rPr kumimoji="1" lang="zh-CN" altLang="en-US" smtClean="0"/>
              <a:t>10</a:t>
            </a:fld>
            <a:endParaRPr kumimoji="1" lang="zh-CN" altLang="en-US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F70782-008B-5B48-B01C-A994AC4AA046}" type="slidenum">
              <a:rPr kumimoji="1" lang="zh-CN" altLang="en-US" smtClean="0"/>
              <a:t>11</a:t>
            </a:fld>
            <a:endParaRPr kumimoji="1" lang="zh-CN" altLang="en-US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F70782-008B-5B48-B01C-A994AC4AA046}" type="slidenum">
              <a:rPr kumimoji="1" lang="zh-CN" altLang="en-US" smtClean="0"/>
              <a:t>12</a:t>
            </a:fld>
            <a:endParaRPr kumimoji="1" lang="zh-CN" altLang="en-US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F70782-008B-5B48-B01C-A994AC4AA046}" type="slidenum">
              <a:rPr kumimoji="1" lang="zh-CN" altLang="en-US" smtClean="0"/>
              <a:t>13</a:t>
            </a:fld>
            <a:endParaRPr kumimoji="1" lang="zh-CN" altLang="en-US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F70782-008B-5B48-B01C-A994AC4AA046}" type="slidenum">
              <a:rPr kumimoji="1" lang="zh-CN" altLang="en-US" smtClean="0"/>
              <a:t>14</a:t>
            </a:fld>
            <a:endParaRPr kumimoji="1" lang="zh-CN" altLang="en-US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F70782-008B-5B48-B01C-A994AC4AA046}" type="slidenum">
              <a:rPr kumimoji="1" lang="zh-CN" altLang="en-US" smtClean="0"/>
              <a:t>2</a:t>
            </a:fld>
            <a:endParaRPr kumimoji="1" lang="zh-CN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F70782-008B-5B48-B01C-A994AC4AA046}" type="slidenum">
              <a:rPr kumimoji="1" lang="zh-CN" altLang="en-US" smtClean="0"/>
              <a:t>3</a:t>
            </a:fld>
            <a:endParaRPr kumimoji="1" lang="zh-CN" alt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F70782-008B-5B48-B01C-A994AC4AA046}" type="slidenum">
              <a:rPr kumimoji="1" lang="zh-CN" altLang="en-US" smtClean="0"/>
              <a:t>4</a:t>
            </a:fld>
            <a:endParaRPr kumimoji="1" lang="zh-CN" alt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F70782-008B-5B48-B01C-A994AC4AA046}" type="slidenum">
              <a:rPr kumimoji="1" lang="zh-CN" altLang="en-US" smtClean="0"/>
              <a:t>5</a:t>
            </a:fld>
            <a:endParaRPr kumimoji="1" lang="zh-CN" alt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F70782-008B-5B48-B01C-A994AC4AA046}" type="slidenum">
              <a:rPr kumimoji="1" lang="zh-CN" altLang="en-US" smtClean="0"/>
              <a:t>6</a:t>
            </a:fld>
            <a:endParaRPr kumimoji="1" lang="zh-CN" alt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F70782-008B-5B48-B01C-A994AC4AA046}" type="slidenum">
              <a:rPr kumimoji="1" lang="zh-CN" altLang="en-US" smtClean="0"/>
              <a:t>7</a:t>
            </a:fld>
            <a:endParaRPr kumimoji="1" lang="zh-CN" alt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F70782-008B-5B48-B01C-A994AC4AA046}" type="slidenum">
              <a:rPr kumimoji="1" lang="zh-CN" altLang="en-US" smtClean="0"/>
              <a:t>8</a:t>
            </a:fld>
            <a:endParaRPr kumimoji="1" lang="zh-CN" altLang="en-US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F70782-008B-5B48-B01C-A994AC4AA046}" type="slidenum">
              <a:rPr kumimoji="1" lang="zh-CN" altLang="en-US" smtClean="0"/>
              <a:t>9</a:t>
            </a:fld>
            <a:endParaRPr kumimoji="1"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35DDC9-51DE-47E5-BC66-28F6B6B691E4}" type="datetimeFigureOut">
              <a:rPr lang="zh-CN" altLang="en-US" smtClean="0"/>
              <a:t>2022/9/8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EFC069-0F97-4FDE-86BE-0DA93F996394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35DDC9-51DE-47E5-BC66-28F6B6B691E4}" type="datetimeFigureOut">
              <a:rPr lang="zh-CN" altLang="en-US" smtClean="0"/>
              <a:t>2022/9/8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EFC069-0F97-4FDE-86BE-0DA93F996394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000"/>
    </mc:Choice>
    <mc:Fallback xmlns="">
      <p:transition spd="slow" advTm="3000"/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000"/>
    </mc:Choice>
    <mc:Fallback xmlns="">
      <p:transition spd="slow" advTm="3000"/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任意多边形 9"/>
          <p:cNvSpPr/>
          <p:nvPr userDrawn="1"/>
        </p:nvSpPr>
        <p:spPr>
          <a:xfrm>
            <a:off x="-17148" y="365202"/>
            <a:ext cx="12225601" cy="5516990"/>
          </a:xfrm>
          <a:custGeom>
            <a:avLst/>
            <a:gdLst>
              <a:gd name="connsiteX0" fmla="*/ 56 w 19252"/>
              <a:gd name="connsiteY0" fmla="*/ 8688 h 8688"/>
              <a:gd name="connsiteX1" fmla="*/ 3511 w 19252"/>
              <a:gd name="connsiteY1" fmla="*/ 7533 h 8688"/>
              <a:gd name="connsiteX2" fmla="*/ 9703 w 19252"/>
              <a:gd name="connsiteY2" fmla="*/ 5858 h 8688"/>
              <a:gd name="connsiteX3" fmla="*/ 14571 w 19252"/>
              <a:gd name="connsiteY3" fmla="*/ 7193 h 8688"/>
              <a:gd name="connsiteX4" fmla="*/ 19251 w 19252"/>
              <a:gd name="connsiteY4" fmla="*/ 8213 h 8688"/>
              <a:gd name="connsiteX5" fmla="*/ 19220 w 19252"/>
              <a:gd name="connsiteY5" fmla="*/ 3 h 8688"/>
              <a:gd name="connsiteX6" fmla="*/ 0 w 19252"/>
              <a:gd name="connsiteY6" fmla="*/ 32 h 8688"/>
              <a:gd name="connsiteX7" fmla="*/ 40 w 19252"/>
              <a:gd name="connsiteY7" fmla="*/ 8688 h 86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253" h="8688">
                <a:moveTo>
                  <a:pt x="56" y="8688"/>
                </a:moveTo>
                <a:cubicBezTo>
                  <a:pt x="567" y="8509"/>
                  <a:pt x="1443" y="7555"/>
                  <a:pt x="3511" y="7533"/>
                </a:cubicBezTo>
                <a:cubicBezTo>
                  <a:pt x="5579" y="7511"/>
                  <a:pt x="8658" y="6654"/>
                  <a:pt x="9703" y="5858"/>
                </a:cubicBezTo>
                <a:cubicBezTo>
                  <a:pt x="10748" y="5062"/>
                  <a:pt x="10596" y="7119"/>
                  <a:pt x="14571" y="7193"/>
                </a:cubicBezTo>
                <a:cubicBezTo>
                  <a:pt x="18366" y="7103"/>
                  <a:pt x="19246" y="8208"/>
                  <a:pt x="19251" y="8213"/>
                </a:cubicBezTo>
                <a:cubicBezTo>
                  <a:pt x="19256" y="8218"/>
                  <a:pt x="19253" y="18"/>
                  <a:pt x="19220" y="3"/>
                </a:cubicBezTo>
                <a:cubicBezTo>
                  <a:pt x="19187" y="-12"/>
                  <a:pt x="-2" y="31"/>
                  <a:pt x="0" y="32"/>
                </a:cubicBezTo>
                <a:cubicBezTo>
                  <a:pt x="2" y="33"/>
                  <a:pt x="-4" y="6587"/>
                  <a:pt x="40" y="8688"/>
                </a:cubicBezTo>
              </a:path>
            </a:pathLst>
          </a:custGeom>
          <a:gradFill>
            <a:gsLst>
              <a:gs pos="0">
                <a:srgbClr val="0869CF"/>
              </a:gs>
              <a:gs pos="46000">
                <a:srgbClr val="226AD0"/>
              </a:gs>
              <a:gs pos="100000">
                <a:srgbClr val="095BC9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任意多边形 1"/>
          <p:cNvSpPr/>
          <p:nvPr userDrawn="1"/>
        </p:nvSpPr>
        <p:spPr>
          <a:xfrm>
            <a:off x="11737" y="-69068"/>
            <a:ext cx="12217883" cy="5552875"/>
          </a:xfrm>
          <a:custGeom>
            <a:avLst/>
            <a:gdLst>
              <a:gd name="connsiteX0" fmla="*/ 56 w 19240"/>
              <a:gd name="connsiteY0" fmla="*/ 8688 h 8744"/>
              <a:gd name="connsiteX1" fmla="*/ 3067 w 19240"/>
              <a:gd name="connsiteY1" fmla="*/ 7787 h 8744"/>
              <a:gd name="connsiteX2" fmla="*/ 6637 w 19240"/>
              <a:gd name="connsiteY2" fmla="*/ 8656 h 8744"/>
              <a:gd name="connsiteX3" fmla="*/ 10387 w 19240"/>
              <a:gd name="connsiteY3" fmla="*/ 8446 h 8744"/>
              <a:gd name="connsiteX4" fmla="*/ 15248 w 19240"/>
              <a:gd name="connsiteY4" fmla="*/ 6827 h 8744"/>
              <a:gd name="connsiteX5" fmla="*/ 19233 w 19240"/>
              <a:gd name="connsiteY5" fmla="*/ 7578 h 8744"/>
              <a:gd name="connsiteX6" fmla="*/ 19220 w 19240"/>
              <a:gd name="connsiteY6" fmla="*/ 3 h 8744"/>
              <a:gd name="connsiteX7" fmla="*/ 0 w 19240"/>
              <a:gd name="connsiteY7" fmla="*/ 32 h 8744"/>
              <a:gd name="connsiteX8" fmla="*/ 40 w 19240"/>
              <a:gd name="connsiteY8" fmla="*/ 8688 h 8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9241" h="8745">
                <a:moveTo>
                  <a:pt x="56" y="8688"/>
                </a:moveTo>
                <a:cubicBezTo>
                  <a:pt x="567" y="8509"/>
                  <a:pt x="1771" y="7775"/>
                  <a:pt x="3067" y="7787"/>
                </a:cubicBezTo>
                <a:cubicBezTo>
                  <a:pt x="4363" y="7799"/>
                  <a:pt x="5173" y="8524"/>
                  <a:pt x="6637" y="8656"/>
                </a:cubicBezTo>
                <a:cubicBezTo>
                  <a:pt x="8101" y="8788"/>
                  <a:pt x="8665" y="8812"/>
                  <a:pt x="10387" y="8446"/>
                </a:cubicBezTo>
                <a:cubicBezTo>
                  <a:pt x="12109" y="8081"/>
                  <a:pt x="13501" y="7007"/>
                  <a:pt x="15248" y="6827"/>
                </a:cubicBezTo>
                <a:cubicBezTo>
                  <a:pt x="16994" y="6647"/>
                  <a:pt x="19228" y="7573"/>
                  <a:pt x="19233" y="7578"/>
                </a:cubicBezTo>
                <a:cubicBezTo>
                  <a:pt x="19238" y="7583"/>
                  <a:pt x="19253" y="18"/>
                  <a:pt x="19220" y="3"/>
                </a:cubicBezTo>
                <a:cubicBezTo>
                  <a:pt x="19187" y="-12"/>
                  <a:pt x="-2" y="31"/>
                  <a:pt x="0" y="32"/>
                </a:cubicBezTo>
                <a:cubicBezTo>
                  <a:pt x="2" y="33"/>
                  <a:pt x="-4" y="6587"/>
                  <a:pt x="40" y="8688"/>
                </a:cubicBezTo>
              </a:path>
            </a:pathLst>
          </a:custGeom>
          <a:solidFill>
            <a:srgbClr val="A1E2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" name="任意多边形 4"/>
          <p:cNvSpPr/>
          <p:nvPr userDrawn="1"/>
        </p:nvSpPr>
        <p:spPr>
          <a:xfrm>
            <a:off x="-2" y="-50260"/>
            <a:ext cx="12217883" cy="5516990"/>
          </a:xfrm>
          <a:custGeom>
            <a:avLst/>
            <a:gdLst>
              <a:gd name="connsiteX0" fmla="*/ 56 w 19240"/>
              <a:gd name="connsiteY0" fmla="*/ 8688 h 8688"/>
              <a:gd name="connsiteX1" fmla="*/ 3099 w 19240"/>
              <a:gd name="connsiteY1" fmla="*/ 8072 h 8688"/>
              <a:gd name="connsiteX2" fmla="*/ 9337 w 19240"/>
              <a:gd name="connsiteY2" fmla="*/ 7810 h 8688"/>
              <a:gd name="connsiteX3" fmla="*/ 15609 w 19240"/>
              <a:gd name="connsiteY3" fmla="*/ 8104 h 8688"/>
              <a:gd name="connsiteX4" fmla="*/ 19233 w 19240"/>
              <a:gd name="connsiteY4" fmla="*/ 7578 h 8688"/>
              <a:gd name="connsiteX5" fmla="*/ 19220 w 19240"/>
              <a:gd name="connsiteY5" fmla="*/ 3 h 8688"/>
              <a:gd name="connsiteX6" fmla="*/ 0 w 19240"/>
              <a:gd name="connsiteY6" fmla="*/ 32 h 8688"/>
              <a:gd name="connsiteX7" fmla="*/ 40 w 19240"/>
              <a:gd name="connsiteY7" fmla="*/ 8688 h 86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241" h="8688">
                <a:moveTo>
                  <a:pt x="56" y="8688"/>
                </a:moveTo>
                <a:cubicBezTo>
                  <a:pt x="567" y="8509"/>
                  <a:pt x="1372" y="7844"/>
                  <a:pt x="3099" y="8072"/>
                </a:cubicBezTo>
                <a:cubicBezTo>
                  <a:pt x="4826" y="8300"/>
                  <a:pt x="7656" y="8924"/>
                  <a:pt x="9337" y="7810"/>
                </a:cubicBezTo>
                <a:cubicBezTo>
                  <a:pt x="11018" y="6696"/>
                  <a:pt x="13813" y="8173"/>
                  <a:pt x="15609" y="8104"/>
                </a:cubicBezTo>
                <a:cubicBezTo>
                  <a:pt x="17746" y="8014"/>
                  <a:pt x="19228" y="7573"/>
                  <a:pt x="19233" y="7578"/>
                </a:cubicBezTo>
                <a:cubicBezTo>
                  <a:pt x="19238" y="7583"/>
                  <a:pt x="19253" y="18"/>
                  <a:pt x="19220" y="3"/>
                </a:cubicBezTo>
                <a:cubicBezTo>
                  <a:pt x="19187" y="-12"/>
                  <a:pt x="-2" y="31"/>
                  <a:pt x="0" y="32"/>
                </a:cubicBezTo>
                <a:cubicBezTo>
                  <a:pt x="2" y="33"/>
                  <a:pt x="-4" y="6587"/>
                  <a:pt x="40" y="8688"/>
                </a:cubicBezTo>
              </a:path>
            </a:pathLst>
          </a:custGeom>
          <a:gradFill>
            <a:gsLst>
              <a:gs pos="51000">
                <a:srgbClr val="0789DF"/>
              </a:gs>
              <a:gs pos="0">
                <a:srgbClr val="095BC9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Freeform 113"/>
          <p:cNvSpPr>
            <a:spLocks noEditPoints="1"/>
          </p:cNvSpPr>
          <p:nvPr userDrawn="1"/>
        </p:nvSpPr>
        <p:spPr bwMode="auto">
          <a:xfrm>
            <a:off x="699662" y="751842"/>
            <a:ext cx="11069536" cy="5442156"/>
          </a:xfrm>
          <a:custGeom>
            <a:avLst/>
            <a:gdLst>
              <a:gd name="T0" fmla="*/ 1302 w 4832"/>
              <a:gd name="T1" fmla="*/ 472 h 2374"/>
              <a:gd name="T2" fmla="*/ 92 w 4832"/>
              <a:gd name="T3" fmla="*/ 600 h 2374"/>
              <a:gd name="T4" fmla="*/ 1495 w 4832"/>
              <a:gd name="T5" fmla="*/ 1292 h 2374"/>
              <a:gd name="T6" fmla="*/ 1140 w 4832"/>
              <a:gd name="T7" fmla="*/ 1152 h 2374"/>
              <a:gd name="T8" fmla="*/ 1388 w 4832"/>
              <a:gd name="T9" fmla="*/ 822 h 2374"/>
              <a:gd name="T10" fmla="*/ 1513 w 4832"/>
              <a:gd name="T11" fmla="*/ 658 h 2374"/>
              <a:gd name="T12" fmla="*/ 1510 w 4832"/>
              <a:gd name="T13" fmla="*/ 476 h 2374"/>
              <a:gd name="T14" fmla="*/ 1245 w 4832"/>
              <a:gd name="T15" fmla="*/ 556 h 2374"/>
              <a:gd name="T16" fmla="*/ 1284 w 4832"/>
              <a:gd name="T17" fmla="*/ 342 h 2374"/>
              <a:gd name="T18" fmla="*/ 1483 w 4832"/>
              <a:gd name="T19" fmla="*/ 457 h 2374"/>
              <a:gd name="T20" fmla="*/ 1210 w 4832"/>
              <a:gd name="T21" fmla="*/ 260 h 2374"/>
              <a:gd name="T22" fmla="*/ 1115 w 4832"/>
              <a:gd name="T23" fmla="*/ 248 h 2374"/>
              <a:gd name="T24" fmla="*/ 972 w 4832"/>
              <a:gd name="T25" fmla="*/ 264 h 2374"/>
              <a:gd name="T26" fmla="*/ 897 w 4832"/>
              <a:gd name="T27" fmla="*/ 188 h 2374"/>
              <a:gd name="T28" fmla="*/ 782 w 4832"/>
              <a:gd name="T29" fmla="*/ 326 h 2374"/>
              <a:gd name="T30" fmla="*/ 208 w 4832"/>
              <a:gd name="T31" fmla="*/ 312 h 2374"/>
              <a:gd name="T32" fmla="*/ 196 w 4832"/>
              <a:gd name="T33" fmla="*/ 519 h 2374"/>
              <a:gd name="T34" fmla="*/ 417 w 4832"/>
              <a:gd name="T35" fmla="*/ 484 h 2374"/>
              <a:gd name="T36" fmla="*/ 813 w 4832"/>
              <a:gd name="T37" fmla="*/ 1027 h 2374"/>
              <a:gd name="T38" fmla="*/ 1225 w 4832"/>
              <a:gd name="T39" fmla="*/ 1313 h 2374"/>
              <a:gd name="T40" fmla="*/ 1402 w 4832"/>
              <a:gd name="T41" fmla="*/ 1972 h 2374"/>
              <a:gd name="T42" fmla="*/ 1500 w 4832"/>
              <a:gd name="T43" fmla="*/ 2229 h 2374"/>
              <a:gd name="T44" fmla="*/ 1858 w 4832"/>
              <a:gd name="T45" fmla="*/ 1697 h 2374"/>
              <a:gd name="T46" fmla="*/ 1242 w 4832"/>
              <a:gd name="T47" fmla="*/ 708 h 2374"/>
              <a:gd name="T48" fmla="*/ 1197 w 4832"/>
              <a:gd name="T49" fmla="*/ 354 h 2374"/>
              <a:gd name="T50" fmla="*/ 1678 w 4832"/>
              <a:gd name="T51" fmla="*/ 1473 h 2374"/>
              <a:gd name="T52" fmla="*/ 4069 w 4832"/>
              <a:gd name="T53" fmla="*/ 1312 h 2374"/>
              <a:gd name="T54" fmla="*/ 4372 w 4832"/>
              <a:gd name="T55" fmla="*/ 1753 h 2374"/>
              <a:gd name="T56" fmla="*/ 4278 w 4832"/>
              <a:gd name="T57" fmla="*/ 1604 h 2374"/>
              <a:gd name="T58" fmla="*/ 3915 w 4832"/>
              <a:gd name="T59" fmla="*/ 1902 h 2374"/>
              <a:gd name="T60" fmla="*/ 4355 w 4832"/>
              <a:gd name="T61" fmla="*/ 2105 h 2374"/>
              <a:gd name="T62" fmla="*/ 4769 w 4832"/>
              <a:gd name="T63" fmla="*/ 2066 h 2374"/>
              <a:gd name="T64" fmla="*/ 2422 w 4832"/>
              <a:gd name="T65" fmla="*/ 804 h 2374"/>
              <a:gd name="T66" fmla="*/ 4823 w 4832"/>
              <a:gd name="T67" fmla="*/ 362 h 2374"/>
              <a:gd name="T68" fmla="*/ 4216 w 4832"/>
              <a:gd name="T69" fmla="*/ 296 h 2374"/>
              <a:gd name="T70" fmla="*/ 3529 w 4832"/>
              <a:gd name="T71" fmla="*/ 259 h 2374"/>
              <a:gd name="T72" fmla="*/ 3291 w 4832"/>
              <a:gd name="T73" fmla="*/ 342 h 2374"/>
              <a:gd name="T74" fmla="*/ 2474 w 4832"/>
              <a:gd name="T75" fmla="*/ 531 h 2374"/>
              <a:gd name="T76" fmla="*/ 2305 w 4832"/>
              <a:gd name="T77" fmla="*/ 617 h 2374"/>
              <a:gd name="T78" fmla="*/ 2144 w 4832"/>
              <a:gd name="T79" fmla="*/ 1215 h 2374"/>
              <a:gd name="T80" fmla="*/ 2625 w 4832"/>
              <a:gd name="T81" fmla="*/ 2014 h 2374"/>
              <a:gd name="T82" fmla="*/ 2980 w 4832"/>
              <a:gd name="T83" fmla="*/ 1294 h 2374"/>
              <a:gd name="T84" fmla="*/ 3319 w 4832"/>
              <a:gd name="T85" fmla="*/ 1093 h 2374"/>
              <a:gd name="T86" fmla="*/ 3704 w 4832"/>
              <a:gd name="T87" fmla="*/ 1197 h 2374"/>
              <a:gd name="T88" fmla="*/ 3889 w 4832"/>
              <a:gd name="T89" fmla="*/ 1144 h 2374"/>
              <a:gd name="T90" fmla="*/ 4171 w 4832"/>
              <a:gd name="T91" fmla="*/ 771 h 2374"/>
              <a:gd name="T92" fmla="*/ 4460 w 4832"/>
              <a:gd name="T93" fmla="*/ 517 h 2374"/>
              <a:gd name="T94" fmla="*/ 2804 w 4832"/>
              <a:gd name="T95" fmla="*/ 472 h 2374"/>
              <a:gd name="T96" fmla="*/ 2604 w 4832"/>
              <a:gd name="T97" fmla="*/ 555 h 2374"/>
              <a:gd name="T98" fmla="*/ 2520 w 4832"/>
              <a:gd name="T99" fmla="*/ 531 h 2374"/>
              <a:gd name="T100" fmla="*/ 2577 w 4832"/>
              <a:gd name="T101" fmla="*/ 935 h 2374"/>
              <a:gd name="T102" fmla="*/ 2607 w 4832"/>
              <a:gd name="T103" fmla="*/ 851 h 2374"/>
              <a:gd name="T104" fmla="*/ 2929 w 4832"/>
              <a:gd name="T105" fmla="*/ 1150 h 2374"/>
              <a:gd name="T106" fmla="*/ 3433 w 4832"/>
              <a:gd name="T107" fmla="*/ 335 h 2374"/>
              <a:gd name="T108" fmla="*/ 2048 w 4832"/>
              <a:gd name="T109" fmla="*/ 113 h 2374"/>
              <a:gd name="T110" fmla="*/ 1424 w 4832"/>
              <a:gd name="T111" fmla="*/ 188 h 2374"/>
              <a:gd name="T112" fmla="*/ 1778 w 4832"/>
              <a:gd name="T113" fmla="*/ 447 h 2374"/>
              <a:gd name="T114" fmla="*/ 1978 w 4832"/>
              <a:gd name="T115" fmla="*/ 315 h 2374"/>
              <a:gd name="T116" fmla="*/ 3020 w 4832"/>
              <a:gd name="T117" fmla="*/ 1881 h 2374"/>
              <a:gd name="T118" fmla="*/ 1328 w 4832"/>
              <a:gd name="T119" fmla="*/ 1167 h 2374"/>
              <a:gd name="T120" fmla="*/ 3863 w 4832"/>
              <a:gd name="T121" fmla="*/ 1594 h 2374"/>
              <a:gd name="T122" fmla="*/ 4308 w 4832"/>
              <a:gd name="T123" fmla="*/ 812 h 2374"/>
              <a:gd name="T124" fmla="*/ 3980 w 4832"/>
              <a:gd name="T125" fmla="*/ 1353 h 23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832" h="2374">
                <a:moveTo>
                  <a:pt x="3080" y="309"/>
                </a:moveTo>
                <a:cubicBezTo>
                  <a:pt x="3080" y="309"/>
                  <a:pt x="3080" y="309"/>
                  <a:pt x="3080" y="309"/>
                </a:cubicBezTo>
                <a:cubicBezTo>
                  <a:pt x="3088" y="312"/>
                  <a:pt x="3102" y="313"/>
                  <a:pt x="3113" y="320"/>
                </a:cubicBezTo>
                <a:cubicBezTo>
                  <a:pt x="3121" y="325"/>
                  <a:pt x="3131" y="328"/>
                  <a:pt x="3140" y="328"/>
                </a:cubicBezTo>
                <a:cubicBezTo>
                  <a:pt x="3140" y="328"/>
                  <a:pt x="3140" y="328"/>
                  <a:pt x="3140" y="328"/>
                </a:cubicBezTo>
                <a:cubicBezTo>
                  <a:pt x="3148" y="328"/>
                  <a:pt x="3155" y="326"/>
                  <a:pt x="3160" y="320"/>
                </a:cubicBezTo>
                <a:cubicBezTo>
                  <a:pt x="3163" y="316"/>
                  <a:pt x="3165" y="312"/>
                  <a:pt x="3165" y="307"/>
                </a:cubicBezTo>
                <a:cubicBezTo>
                  <a:pt x="3165" y="303"/>
                  <a:pt x="3163" y="299"/>
                  <a:pt x="3161" y="295"/>
                </a:cubicBezTo>
                <a:cubicBezTo>
                  <a:pt x="3159" y="292"/>
                  <a:pt x="3156" y="289"/>
                  <a:pt x="3152" y="288"/>
                </a:cubicBezTo>
                <a:cubicBezTo>
                  <a:pt x="3152" y="288"/>
                  <a:pt x="3152" y="288"/>
                  <a:pt x="3152" y="288"/>
                </a:cubicBezTo>
                <a:cubicBezTo>
                  <a:pt x="3152" y="287"/>
                  <a:pt x="3152" y="287"/>
                  <a:pt x="3152" y="286"/>
                </a:cubicBezTo>
                <a:cubicBezTo>
                  <a:pt x="3152" y="285"/>
                  <a:pt x="3153" y="281"/>
                  <a:pt x="3160" y="277"/>
                </a:cubicBezTo>
                <a:cubicBezTo>
                  <a:pt x="3175" y="267"/>
                  <a:pt x="3191" y="255"/>
                  <a:pt x="3206" y="253"/>
                </a:cubicBezTo>
                <a:cubicBezTo>
                  <a:pt x="3215" y="251"/>
                  <a:pt x="3231" y="250"/>
                  <a:pt x="3245" y="250"/>
                </a:cubicBezTo>
                <a:cubicBezTo>
                  <a:pt x="3257" y="250"/>
                  <a:pt x="3269" y="251"/>
                  <a:pt x="3273" y="253"/>
                </a:cubicBezTo>
                <a:cubicBezTo>
                  <a:pt x="3275" y="253"/>
                  <a:pt x="3277" y="253"/>
                  <a:pt x="3279" y="253"/>
                </a:cubicBezTo>
                <a:cubicBezTo>
                  <a:pt x="3288" y="253"/>
                  <a:pt x="3297" y="247"/>
                  <a:pt x="3304" y="241"/>
                </a:cubicBezTo>
                <a:cubicBezTo>
                  <a:pt x="3312" y="235"/>
                  <a:pt x="3318" y="228"/>
                  <a:pt x="3321" y="222"/>
                </a:cubicBezTo>
                <a:cubicBezTo>
                  <a:pt x="3322" y="220"/>
                  <a:pt x="3322" y="218"/>
                  <a:pt x="3322" y="216"/>
                </a:cubicBezTo>
                <a:cubicBezTo>
                  <a:pt x="3322" y="211"/>
                  <a:pt x="3319" y="207"/>
                  <a:pt x="3315" y="205"/>
                </a:cubicBezTo>
                <a:cubicBezTo>
                  <a:pt x="3311" y="203"/>
                  <a:pt x="3307" y="202"/>
                  <a:pt x="3302" y="202"/>
                </a:cubicBezTo>
                <a:cubicBezTo>
                  <a:pt x="3296" y="202"/>
                  <a:pt x="3289" y="204"/>
                  <a:pt x="3285" y="210"/>
                </a:cubicBezTo>
                <a:cubicBezTo>
                  <a:pt x="3285" y="213"/>
                  <a:pt x="3274" y="216"/>
                  <a:pt x="3263" y="216"/>
                </a:cubicBezTo>
                <a:cubicBezTo>
                  <a:pt x="3255" y="216"/>
                  <a:pt x="3247" y="214"/>
                  <a:pt x="3245" y="214"/>
                </a:cubicBezTo>
                <a:cubicBezTo>
                  <a:pt x="3243" y="213"/>
                  <a:pt x="3242" y="213"/>
                  <a:pt x="3240" y="213"/>
                </a:cubicBezTo>
                <a:cubicBezTo>
                  <a:pt x="3232" y="213"/>
                  <a:pt x="3217" y="216"/>
                  <a:pt x="3202" y="218"/>
                </a:cubicBezTo>
                <a:cubicBezTo>
                  <a:pt x="3188" y="221"/>
                  <a:pt x="3173" y="224"/>
                  <a:pt x="3169" y="224"/>
                </a:cubicBezTo>
                <a:cubicBezTo>
                  <a:pt x="3160" y="224"/>
                  <a:pt x="3155" y="230"/>
                  <a:pt x="3151" y="235"/>
                </a:cubicBezTo>
                <a:cubicBezTo>
                  <a:pt x="3146" y="241"/>
                  <a:pt x="3141" y="246"/>
                  <a:pt x="3134" y="250"/>
                </a:cubicBezTo>
                <a:cubicBezTo>
                  <a:pt x="3118" y="258"/>
                  <a:pt x="3096" y="270"/>
                  <a:pt x="3088" y="274"/>
                </a:cubicBezTo>
                <a:cubicBezTo>
                  <a:pt x="3080" y="279"/>
                  <a:pt x="3074" y="289"/>
                  <a:pt x="3073" y="299"/>
                </a:cubicBezTo>
                <a:cubicBezTo>
                  <a:pt x="3073" y="302"/>
                  <a:pt x="3075" y="307"/>
                  <a:pt x="3080" y="309"/>
                </a:cubicBezTo>
                <a:close/>
                <a:moveTo>
                  <a:pt x="969" y="199"/>
                </a:moveTo>
                <a:cubicBezTo>
                  <a:pt x="977" y="199"/>
                  <a:pt x="989" y="196"/>
                  <a:pt x="995" y="196"/>
                </a:cubicBezTo>
                <a:cubicBezTo>
                  <a:pt x="995" y="196"/>
                  <a:pt x="995" y="196"/>
                  <a:pt x="995" y="196"/>
                </a:cubicBezTo>
                <a:cubicBezTo>
                  <a:pt x="995" y="200"/>
                  <a:pt x="995" y="199"/>
                  <a:pt x="996" y="201"/>
                </a:cubicBezTo>
                <a:cubicBezTo>
                  <a:pt x="999" y="206"/>
                  <a:pt x="1003" y="208"/>
                  <a:pt x="1009" y="209"/>
                </a:cubicBezTo>
                <a:cubicBezTo>
                  <a:pt x="1019" y="210"/>
                  <a:pt x="1024" y="213"/>
                  <a:pt x="1031" y="213"/>
                </a:cubicBezTo>
                <a:cubicBezTo>
                  <a:pt x="1031" y="213"/>
                  <a:pt x="1032" y="213"/>
                  <a:pt x="1032" y="213"/>
                </a:cubicBezTo>
                <a:cubicBezTo>
                  <a:pt x="1035" y="213"/>
                  <a:pt x="1038" y="211"/>
                  <a:pt x="1039" y="209"/>
                </a:cubicBezTo>
                <a:cubicBezTo>
                  <a:pt x="1041" y="206"/>
                  <a:pt x="1041" y="204"/>
                  <a:pt x="1041" y="202"/>
                </a:cubicBezTo>
                <a:cubicBezTo>
                  <a:pt x="1041" y="195"/>
                  <a:pt x="1039" y="189"/>
                  <a:pt x="1035" y="183"/>
                </a:cubicBezTo>
                <a:cubicBezTo>
                  <a:pt x="1032" y="179"/>
                  <a:pt x="1031" y="177"/>
                  <a:pt x="1028" y="174"/>
                </a:cubicBezTo>
                <a:cubicBezTo>
                  <a:pt x="1024" y="172"/>
                  <a:pt x="1021" y="171"/>
                  <a:pt x="1014" y="169"/>
                </a:cubicBezTo>
                <a:cubicBezTo>
                  <a:pt x="1004" y="165"/>
                  <a:pt x="994" y="164"/>
                  <a:pt x="985" y="164"/>
                </a:cubicBezTo>
                <a:cubicBezTo>
                  <a:pt x="981" y="164"/>
                  <a:pt x="978" y="165"/>
                  <a:pt x="975" y="165"/>
                </a:cubicBezTo>
                <a:cubicBezTo>
                  <a:pt x="971" y="165"/>
                  <a:pt x="966" y="165"/>
                  <a:pt x="960" y="166"/>
                </a:cubicBezTo>
                <a:cubicBezTo>
                  <a:pt x="955" y="167"/>
                  <a:pt x="949" y="173"/>
                  <a:pt x="948" y="181"/>
                </a:cubicBezTo>
                <a:cubicBezTo>
                  <a:pt x="948" y="182"/>
                  <a:pt x="948" y="182"/>
                  <a:pt x="948" y="183"/>
                </a:cubicBezTo>
                <a:cubicBezTo>
                  <a:pt x="948" y="194"/>
                  <a:pt x="959" y="199"/>
                  <a:pt x="969" y="199"/>
                </a:cubicBezTo>
                <a:close/>
                <a:moveTo>
                  <a:pt x="1296" y="449"/>
                </a:moveTo>
                <a:cubicBezTo>
                  <a:pt x="1294" y="449"/>
                  <a:pt x="1292" y="449"/>
                  <a:pt x="1290" y="450"/>
                </a:cubicBezTo>
                <a:cubicBezTo>
                  <a:pt x="1290" y="450"/>
                  <a:pt x="1290" y="450"/>
                  <a:pt x="1290" y="450"/>
                </a:cubicBezTo>
                <a:cubicBezTo>
                  <a:pt x="1285" y="452"/>
                  <a:pt x="1281" y="455"/>
                  <a:pt x="1281" y="461"/>
                </a:cubicBezTo>
                <a:cubicBezTo>
                  <a:pt x="1282" y="470"/>
                  <a:pt x="1289" y="473"/>
                  <a:pt x="1296" y="474"/>
                </a:cubicBezTo>
                <a:cubicBezTo>
                  <a:pt x="1298" y="474"/>
                  <a:pt x="1300" y="473"/>
                  <a:pt x="1302" y="472"/>
                </a:cubicBezTo>
                <a:cubicBezTo>
                  <a:pt x="1306" y="470"/>
                  <a:pt x="1309" y="466"/>
                  <a:pt x="1309" y="461"/>
                </a:cubicBezTo>
                <a:cubicBezTo>
                  <a:pt x="1309" y="458"/>
                  <a:pt x="1308" y="455"/>
                  <a:pt x="1305" y="452"/>
                </a:cubicBezTo>
                <a:cubicBezTo>
                  <a:pt x="1303" y="450"/>
                  <a:pt x="1300" y="449"/>
                  <a:pt x="1296" y="449"/>
                </a:cubicBezTo>
                <a:close/>
                <a:moveTo>
                  <a:pt x="1480" y="1152"/>
                </a:moveTo>
                <a:cubicBezTo>
                  <a:pt x="1480" y="1152"/>
                  <a:pt x="1480" y="1152"/>
                  <a:pt x="1480" y="1152"/>
                </a:cubicBezTo>
                <a:cubicBezTo>
                  <a:pt x="1480" y="1152"/>
                  <a:pt x="1480" y="1152"/>
                  <a:pt x="1480" y="1152"/>
                </a:cubicBezTo>
                <a:cubicBezTo>
                  <a:pt x="1471" y="1152"/>
                  <a:pt x="1469" y="1162"/>
                  <a:pt x="1469" y="1169"/>
                </a:cubicBezTo>
                <a:cubicBezTo>
                  <a:pt x="1469" y="1173"/>
                  <a:pt x="1470" y="1177"/>
                  <a:pt x="1472" y="1181"/>
                </a:cubicBezTo>
                <a:cubicBezTo>
                  <a:pt x="1474" y="1184"/>
                  <a:pt x="1478" y="1188"/>
                  <a:pt x="1483" y="1188"/>
                </a:cubicBezTo>
                <a:cubicBezTo>
                  <a:pt x="1483" y="1188"/>
                  <a:pt x="1483" y="1188"/>
                  <a:pt x="1483" y="1188"/>
                </a:cubicBezTo>
                <a:cubicBezTo>
                  <a:pt x="1485" y="1188"/>
                  <a:pt x="1486" y="1187"/>
                  <a:pt x="1488" y="1186"/>
                </a:cubicBezTo>
                <a:cubicBezTo>
                  <a:pt x="1495" y="1184"/>
                  <a:pt x="1499" y="1176"/>
                  <a:pt x="1499" y="1170"/>
                </a:cubicBezTo>
                <a:cubicBezTo>
                  <a:pt x="1499" y="1162"/>
                  <a:pt x="1494" y="1152"/>
                  <a:pt x="1483" y="1152"/>
                </a:cubicBezTo>
                <a:cubicBezTo>
                  <a:pt x="1482" y="1152"/>
                  <a:pt x="1481" y="1152"/>
                  <a:pt x="1480" y="1152"/>
                </a:cubicBezTo>
                <a:cubicBezTo>
                  <a:pt x="1480" y="1152"/>
                  <a:pt x="1480" y="1152"/>
                  <a:pt x="1480" y="1152"/>
                </a:cubicBezTo>
                <a:cubicBezTo>
                  <a:pt x="1480" y="1152"/>
                  <a:pt x="1480" y="1152"/>
                  <a:pt x="1480" y="1152"/>
                </a:cubicBezTo>
                <a:close/>
                <a:moveTo>
                  <a:pt x="54" y="612"/>
                </a:moveTo>
                <a:cubicBezTo>
                  <a:pt x="51" y="611"/>
                  <a:pt x="38" y="605"/>
                  <a:pt x="38" y="605"/>
                </a:cubicBezTo>
                <a:cubicBezTo>
                  <a:pt x="37" y="605"/>
                  <a:pt x="37" y="605"/>
                  <a:pt x="37" y="605"/>
                </a:cubicBezTo>
                <a:cubicBezTo>
                  <a:pt x="33" y="604"/>
                  <a:pt x="30" y="604"/>
                  <a:pt x="26" y="604"/>
                </a:cubicBezTo>
                <a:cubicBezTo>
                  <a:pt x="21" y="604"/>
                  <a:pt x="16" y="605"/>
                  <a:pt x="12" y="606"/>
                </a:cubicBezTo>
                <a:cubicBezTo>
                  <a:pt x="7" y="607"/>
                  <a:pt x="3" y="609"/>
                  <a:pt x="0" y="614"/>
                </a:cubicBezTo>
                <a:cubicBezTo>
                  <a:pt x="0" y="615"/>
                  <a:pt x="0" y="616"/>
                  <a:pt x="0" y="617"/>
                </a:cubicBezTo>
                <a:cubicBezTo>
                  <a:pt x="0" y="622"/>
                  <a:pt x="2" y="624"/>
                  <a:pt x="4" y="626"/>
                </a:cubicBezTo>
                <a:cubicBezTo>
                  <a:pt x="11" y="630"/>
                  <a:pt x="20" y="632"/>
                  <a:pt x="28" y="632"/>
                </a:cubicBezTo>
                <a:cubicBezTo>
                  <a:pt x="33" y="632"/>
                  <a:pt x="40" y="630"/>
                  <a:pt x="45" y="628"/>
                </a:cubicBezTo>
                <a:cubicBezTo>
                  <a:pt x="48" y="627"/>
                  <a:pt x="50" y="627"/>
                  <a:pt x="53" y="626"/>
                </a:cubicBezTo>
                <a:cubicBezTo>
                  <a:pt x="54" y="625"/>
                  <a:pt x="54" y="624"/>
                  <a:pt x="55" y="624"/>
                </a:cubicBezTo>
                <a:cubicBezTo>
                  <a:pt x="56" y="623"/>
                  <a:pt x="58" y="622"/>
                  <a:pt x="59" y="618"/>
                </a:cubicBezTo>
                <a:cubicBezTo>
                  <a:pt x="59" y="614"/>
                  <a:pt x="55" y="612"/>
                  <a:pt x="54" y="612"/>
                </a:cubicBezTo>
                <a:close/>
                <a:moveTo>
                  <a:pt x="1421" y="1133"/>
                </a:moveTo>
                <a:cubicBezTo>
                  <a:pt x="1413" y="1133"/>
                  <a:pt x="1406" y="1135"/>
                  <a:pt x="1402" y="1135"/>
                </a:cubicBezTo>
                <a:cubicBezTo>
                  <a:pt x="1395" y="1137"/>
                  <a:pt x="1389" y="1143"/>
                  <a:pt x="1383" y="1148"/>
                </a:cubicBezTo>
                <a:cubicBezTo>
                  <a:pt x="1377" y="1154"/>
                  <a:pt x="1372" y="1159"/>
                  <a:pt x="1372" y="1159"/>
                </a:cubicBezTo>
                <a:cubicBezTo>
                  <a:pt x="1371" y="1161"/>
                  <a:pt x="1370" y="1163"/>
                  <a:pt x="1371" y="1165"/>
                </a:cubicBezTo>
                <a:cubicBezTo>
                  <a:pt x="1371" y="1167"/>
                  <a:pt x="1373" y="1169"/>
                  <a:pt x="1375" y="1169"/>
                </a:cubicBezTo>
                <a:cubicBezTo>
                  <a:pt x="1376" y="1169"/>
                  <a:pt x="1388" y="1172"/>
                  <a:pt x="1397" y="1172"/>
                </a:cubicBezTo>
                <a:cubicBezTo>
                  <a:pt x="1402" y="1172"/>
                  <a:pt x="1406" y="1176"/>
                  <a:pt x="1414" y="1181"/>
                </a:cubicBezTo>
                <a:cubicBezTo>
                  <a:pt x="1416" y="1182"/>
                  <a:pt x="1419" y="1183"/>
                  <a:pt x="1421" y="1183"/>
                </a:cubicBezTo>
                <a:cubicBezTo>
                  <a:pt x="1426" y="1183"/>
                  <a:pt x="1431" y="1181"/>
                  <a:pt x="1435" y="1179"/>
                </a:cubicBezTo>
                <a:cubicBezTo>
                  <a:pt x="1437" y="1178"/>
                  <a:pt x="1438" y="1178"/>
                  <a:pt x="1440" y="1177"/>
                </a:cubicBezTo>
                <a:cubicBezTo>
                  <a:pt x="1440" y="1177"/>
                  <a:pt x="1440" y="1177"/>
                  <a:pt x="1440" y="1177"/>
                </a:cubicBezTo>
                <a:cubicBezTo>
                  <a:pt x="1441" y="1177"/>
                  <a:pt x="1441" y="1178"/>
                  <a:pt x="1442" y="1179"/>
                </a:cubicBezTo>
                <a:cubicBezTo>
                  <a:pt x="1444" y="1180"/>
                  <a:pt x="1444" y="1183"/>
                  <a:pt x="1450" y="1183"/>
                </a:cubicBezTo>
                <a:cubicBezTo>
                  <a:pt x="1454" y="1183"/>
                  <a:pt x="1457" y="1179"/>
                  <a:pt x="1457" y="1178"/>
                </a:cubicBezTo>
                <a:cubicBezTo>
                  <a:pt x="1458" y="1175"/>
                  <a:pt x="1458" y="1173"/>
                  <a:pt x="1459" y="1169"/>
                </a:cubicBezTo>
                <a:cubicBezTo>
                  <a:pt x="1459" y="1169"/>
                  <a:pt x="1459" y="1168"/>
                  <a:pt x="1459" y="1167"/>
                </a:cubicBezTo>
                <a:cubicBezTo>
                  <a:pt x="1458" y="1146"/>
                  <a:pt x="1441" y="1137"/>
                  <a:pt x="1431" y="1134"/>
                </a:cubicBezTo>
                <a:cubicBezTo>
                  <a:pt x="1428" y="1133"/>
                  <a:pt x="1424" y="1133"/>
                  <a:pt x="1421" y="1133"/>
                </a:cubicBezTo>
                <a:close/>
                <a:moveTo>
                  <a:pt x="128" y="575"/>
                </a:moveTo>
                <a:cubicBezTo>
                  <a:pt x="128" y="575"/>
                  <a:pt x="128" y="575"/>
                  <a:pt x="128" y="575"/>
                </a:cubicBezTo>
                <a:cubicBezTo>
                  <a:pt x="124" y="574"/>
                  <a:pt x="124" y="574"/>
                  <a:pt x="122" y="574"/>
                </a:cubicBezTo>
                <a:cubicBezTo>
                  <a:pt x="118" y="573"/>
                  <a:pt x="114" y="577"/>
                  <a:pt x="113" y="580"/>
                </a:cubicBezTo>
                <a:cubicBezTo>
                  <a:pt x="111" y="584"/>
                  <a:pt x="110" y="588"/>
                  <a:pt x="109" y="591"/>
                </a:cubicBezTo>
                <a:cubicBezTo>
                  <a:pt x="108" y="594"/>
                  <a:pt x="107" y="595"/>
                  <a:pt x="106" y="595"/>
                </a:cubicBezTo>
                <a:cubicBezTo>
                  <a:pt x="101" y="596"/>
                  <a:pt x="96" y="598"/>
                  <a:pt x="92" y="600"/>
                </a:cubicBezTo>
                <a:cubicBezTo>
                  <a:pt x="90" y="601"/>
                  <a:pt x="88" y="602"/>
                  <a:pt x="86" y="604"/>
                </a:cubicBezTo>
                <a:cubicBezTo>
                  <a:pt x="85" y="605"/>
                  <a:pt x="82" y="607"/>
                  <a:pt x="82" y="611"/>
                </a:cubicBezTo>
                <a:cubicBezTo>
                  <a:pt x="82" y="613"/>
                  <a:pt x="84" y="616"/>
                  <a:pt x="85" y="617"/>
                </a:cubicBezTo>
                <a:cubicBezTo>
                  <a:pt x="87" y="618"/>
                  <a:pt x="88" y="619"/>
                  <a:pt x="89" y="619"/>
                </a:cubicBezTo>
                <a:cubicBezTo>
                  <a:pt x="92" y="620"/>
                  <a:pt x="96" y="620"/>
                  <a:pt x="99" y="620"/>
                </a:cubicBezTo>
                <a:cubicBezTo>
                  <a:pt x="104" y="620"/>
                  <a:pt x="110" y="620"/>
                  <a:pt x="116" y="618"/>
                </a:cubicBezTo>
                <a:cubicBezTo>
                  <a:pt x="121" y="616"/>
                  <a:pt x="125" y="616"/>
                  <a:pt x="129" y="611"/>
                </a:cubicBezTo>
                <a:cubicBezTo>
                  <a:pt x="130" y="608"/>
                  <a:pt x="131" y="605"/>
                  <a:pt x="131" y="601"/>
                </a:cubicBezTo>
                <a:cubicBezTo>
                  <a:pt x="132" y="597"/>
                  <a:pt x="132" y="592"/>
                  <a:pt x="132" y="588"/>
                </a:cubicBezTo>
                <a:cubicBezTo>
                  <a:pt x="132" y="586"/>
                  <a:pt x="133" y="584"/>
                  <a:pt x="132" y="582"/>
                </a:cubicBezTo>
                <a:cubicBezTo>
                  <a:pt x="132" y="580"/>
                  <a:pt x="132" y="577"/>
                  <a:pt x="128" y="575"/>
                </a:cubicBezTo>
                <a:close/>
                <a:moveTo>
                  <a:pt x="1894" y="1537"/>
                </a:moveTo>
                <a:cubicBezTo>
                  <a:pt x="1894" y="1537"/>
                  <a:pt x="1894" y="1537"/>
                  <a:pt x="1894" y="1537"/>
                </a:cubicBezTo>
                <a:cubicBezTo>
                  <a:pt x="1884" y="1532"/>
                  <a:pt x="1868" y="1530"/>
                  <a:pt x="1864" y="1523"/>
                </a:cubicBezTo>
                <a:cubicBezTo>
                  <a:pt x="1860" y="1517"/>
                  <a:pt x="1854" y="1511"/>
                  <a:pt x="1847" y="1507"/>
                </a:cubicBezTo>
                <a:cubicBezTo>
                  <a:pt x="1841" y="1503"/>
                  <a:pt x="1834" y="1500"/>
                  <a:pt x="1828" y="1500"/>
                </a:cubicBezTo>
                <a:cubicBezTo>
                  <a:pt x="1826" y="1500"/>
                  <a:pt x="1825" y="1500"/>
                  <a:pt x="1823" y="1501"/>
                </a:cubicBezTo>
                <a:cubicBezTo>
                  <a:pt x="1820" y="1502"/>
                  <a:pt x="1816" y="1504"/>
                  <a:pt x="1811" y="1504"/>
                </a:cubicBezTo>
                <a:cubicBezTo>
                  <a:pt x="1808" y="1504"/>
                  <a:pt x="1804" y="1503"/>
                  <a:pt x="1801" y="1500"/>
                </a:cubicBezTo>
                <a:cubicBezTo>
                  <a:pt x="1792" y="1493"/>
                  <a:pt x="1777" y="1485"/>
                  <a:pt x="1772" y="1480"/>
                </a:cubicBezTo>
                <a:cubicBezTo>
                  <a:pt x="1764" y="1473"/>
                  <a:pt x="1749" y="1469"/>
                  <a:pt x="1740" y="1469"/>
                </a:cubicBezTo>
                <a:cubicBezTo>
                  <a:pt x="1739" y="1469"/>
                  <a:pt x="1739" y="1468"/>
                  <a:pt x="1734" y="1468"/>
                </a:cubicBezTo>
                <a:cubicBezTo>
                  <a:pt x="1732" y="1468"/>
                  <a:pt x="1730" y="1469"/>
                  <a:pt x="1728" y="1470"/>
                </a:cubicBezTo>
                <a:cubicBezTo>
                  <a:pt x="1728" y="1466"/>
                  <a:pt x="1726" y="1463"/>
                  <a:pt x="1723" y="1460"/>
                </a:cubicBezTo>
                <a:cubicBezTo>
                  <a:pt x="1720" y="1457"/>
                  <a:pt x="1715" y="1456"/>
                  <a:pt x="1711" y="1456"/>
                </a:cubicBezTo>
                <a:cubicBezTo>
                  <a:pt x="1711" y="1456"/>
                  <a:pt x="1710" y="1456"/>
                  <a:pt x="1710" y="1456"/>
                </a:cubicBezTo>
                <a:cubicBezTo>
                  <a:pt x="1712" y="1453"/>
                  <a:pt x="1715" y="1451"/>
                  <a:pt x="1715" y="1446"/>
                </a:cubicBezTo>
                <a:cubicBezTo>
                  <a:pt x="1715" y="1442"/>
                  <a:pt x="1715" y="1437"/>
                  <a:pt x="1712" y="1431"/>
                </a:cubicBezTo>
                <a:cubicBezTo>
                  <a:pt x="1711" y="1426"/>
                  <a:pt x="1706" y="1419"/>
                  <a:pt x="1698" y="1419"/>
                </a:cubicBezTo>
                <a:cubicBezTo>
                  <a:pt x="1697" y="1419"/>
                  <a:pt x="1697" y="1419"/>
                  <a:pt x="1697" y="1419"/>
                </a:cubicBezTo>
                <a:cubicBezTo>
                  <a:pt x="1697" y="1419"/>
                  <a:pt x="1697" y="1419"/>
                  <a:pt x="1697" y="1419"/>
                </a:cubicBezTo>
                <a:cubicBezTo>
                  <a:pt x="1695" y="1417"/>
                  <a:pt x="1693" y="1404"/>
                  <a:pt x="1682" y="1390"/>
                </a:cubicBezTo>
                <a:cubicBezTo>
                  <a:pt x="1669" y="1373"/>
                  <a:pt x="1653" y="1361"/>
                  <a:pt x="1636" y="1361"/>
                </a:cubicBezTo>
                <a:cubicBezTo>
                  <a:pt x="1635" y="1361"/>
                  <a:pt x="1633" y="1361"/>
                  <a:pt x="1631" y="1362"/>
                </a:cubicBezTo>
                <a:cubicBezTo>
                  <a:pt x="1625" y="1363"/>
                  <a:pt x="1619" y="1364"/>
                  <a:pt x="1616" y="1364"/>
                </a:cubicBezTo>
                <a:cubicBezTo>
                  <a:pt x="1612" y="1364"/>
                  <a:pt x="1610" y="1364"/>
                  <a:pt x="1606" y="1357"/>
                </a:cubicBezTo>
                <a:cubicBezTo>
                  <a:pt x="1599" y="1340"/>
                  <a:pt x="1590" y="1336"/>
                  <a:pt x="1587" y="1330"/>
                </a:cubicBezTo>
                <a:cubicBezTo>
                  <a:pt x="1584" y="1325"/>
                  <a:pt x="1578" y="1323"/>
                  <a:pt x="1574" y="1323"/>
                </a:cubicBezTo>
                <a:cubicBezTo>
                  <a:pt x="1570" y="1323"/>
                  <a:pt x="1567" y="1324"/>
                  <a:pt x="1566" y="1324"/>
                </a:cubicBezTo>
                <a:cubicBezTo>
                  <a:pt x="1563" y="1321"/>
                  <a:pt x="1563" y="1321"/>
                  <a:pt x="1563" y="1321"/>
                </a:cubicBezTo>
                <a:cubicBezTo>
                  <a:pt x="1562" y="1319"/>
                  <a:pt x="1559" y="1318"/>
                  <a:pt x="1557" y="1319"/>
                </a:cubicBezTo>
                <a:cubicBezTo>
                  <a:pt x="1564" y="1308"/>
                  <a:pt x="1567" y="1294"/>
                  <a:pt x="1567" y="1285"/>
                </a:cubicBezTo>
                <a:cubicBezTo>
                  <a:pt x="1567" y="1284"/>
                  <a:pt x="1567" y="1283"/>
                  <a:pt x="1566" y="1281"/>
                </a:cubicBezTo>
                <a:cubicBezTo>
                  <a:pt x="1566" y="1280"/>
                  <a:pt x="1566" y="1279"/>
                  <a:pt x="1565" y="1278"/>
                </a:cubicBezTo>
                <a:cubicBezTo>
                  <a:pt x="1564" y="1277"/>
                  <a:pt x="1562" y="1276"/>
                  <a:pt x="1560" y="1276"/>
                </a:cubicBezTo>
                <a:cubicBezTo>
                  <a:pt x="1559" y="1276"/>
                  <a:pt x="1558" y="1276"/>
                  <a:pt x="1557" y="1277"/>
                </a:cubicBezTo>
                <a:cubicBezTo>
                  <a:pt x="1557" y="1277"/>
                  <a:pt x="1557" y="1277"/>
                  <a:pt x="1557" y="1277"/>
                </a:cubicBezTo>
                <a:cubicBezTo>
                  <a:pt x="1553" y="1279"/>
                  <a:pt x="1553" y="1281"/>
                  <a:pt x="1551" y="1283"/>
                </a:cubicBezTo>
                <a:cubicBezTo>
                  <a:pt x="1550" y="1286"/>
                  <a:pt x="1548" y="1290"/>
                  <a:pt x="1546" y="1292"/>
                </a:cubicBezTo>
                <a:cubicBezTo>
                  <a:pt x="1546" y="1293"/>
                  <a:pt x="1545" y="1293"/>
                  <a:pt x="1545" y="1294"/>
                </a:cubicBezTo>
                <a:cubicBezTo>
                  <a:pt x="1544" y="1291"/>
                  <a:pt x="1541" y="1288"/>
                  <a:pt x="1535" y="1284"/>
                </a:cubicBezTo>
                <a:cubicBezTo>
                  <a:pt x="1530" y="1280"/>
                  <a:pt x="1525" y="1279"/>
                  <a:pt x="1519" y="1279"/>
                </a:cubicBezTo>
                <a:cubicBezTo>
                  <a:pt x="1514" y="1279"/>
                  <a:pt x="1509" y="1280"/>
                  <a:pt x="1504" y="1283"/>
                </a:cubicBezTo>
                <a:cubicBezTo>
                  <a:pt x="1500" y="1285"/>
                  <a:pt x="1496" y="1288"/>
                  <a:pt x="1496" y="1294"/>
                </a:cubicBezTo>
                <a:cubicBezTo>
                  <a:pt x="1496" y="1294"/>
                  <a:pt x="1496" y="1294"/>
                  <a:pt x="1496" y="1294"/>
                </a:cubicBezTo>
                <a:cubicBezTo>
                  <a:pt x="1496" y="1294"/>
                  <a:pt x="1495" y="1293"/>
                  <a:pt x="1495" y="1292"/>
                </a:cubicBezTo>
                <a:cubicBezTo>
                  <a:pt x="1491" y="1284"/>
                  <a:pt x="1483" y="1281"/>
                  <a:pt x="1476" y="1281"/>
                </a:cubicBezTo>
                <a:cubicBezTo>
                  <a:pt x="1470" y="1281"/>
                  <a:pt x="1464" y="1283"/>
                  <a:pt x="1459" y="1287"/>
                </a:cubicBezTo>
                <a:cubicBezTo>
                  <a:pt x="1458" y="1285"/>
                  <a:pt x="1456" y="1282"/>
                  <a:pt x="1455" y="1279"/>
                </a:cubicBezTo>
                <a:cubicBezTo>
                  <a:pt x="1454" y="1276"/>
                  <a:pt x="1453" y="1274"/>
                  <a:pt x="1452" y="1272"/>
                </a:cubicBezTo>
                <a:cubicBezTo>
                  <a:pt x="1450" y="1270"/>
                  <a:pt x="1449" y="1267"/>
                  <a:pt x="1443" y="1266"/>
                </a:cubicBezTo>
                <a:cubicBezTo>
                  <a:pt x="1434" y="1267"/>
                  <a:pt x="1422" y="1275"/>
                  <a:pt x="1415" y="1289"/>
                </a:cubicBezTo>
                <a:cubicBezTo>
                  <a:pt x="1414" y="1290"/>
                  <a:pt x="1414" y="1292"/>
                  <a:pt x="1413" y="1293"/>
                </a:cubicBezTo>
                <a:cubicBezTo>
                  <a:pt x="1413" y="1291"/>
                  <a:pt x="1413" y="1289"/>
                  <a:pt x="1414" y="1288"/>
                </a:cubicBezTo>
                <a:cubicBezTo>
                  <a:pt x="1414" y="1287"/>
                  <a:pt x="1415" y="1283"/>
                  <a:pt x="1417" y="1280"/>
                </a:cubicBezTo>
                <a:cubicBezTo>
                  <a:pt x="1419" y="1276"/>
                  <a:pt x="1421" y="1272"/>
                  <a:pt x="1422" y="1267"/>
                </a:cubicBezTo>
                <a:cubicBezTo>
                  <a:pt x="1422" y="1263"/>
                  <a:pt x="1418" y="1258"/>
                  <a:pt x="1414" y="1257"/>
                </a:cubicBezTo>
                <a:cubicBezTo>
                  <a:pt x="1413" y="1257"/>
                  <a:pt x="1411" y="1256"/>
                  <a:pt x="1410" y="1256"/>
                </a:cubicBezTo>
                <a:cubicBezTo>
                  <a:pt x="1402" y="1257"/>
                  <a:pt x="1397" y="1261"/>
                  <a:pt x="1392" y="1265"/>
                </a:cubicBezTo>
                <a:cubicBezTo>
                  <a:pt x="1389" y="1267"/>
                  <a:pt x="1387" y="1269"/>
                  <a:pt x="1385" y="1270"/>
                </a:cubicBezTo>
                <a:cubicBezTo>
                  <a:pt x="1384" y="1271"/>
                  <a:pt x="1383" y="1271"/>
                  <a:pt x="1383" y="1272"/>
                </a:cubicBezTo>
                <a:cubicBezTo>
                  <a:pt x="1382" y="1272"/>
                  <a:pt x="1382" y="1272"/>
                  <a:pt x="1382" y="1272"/>
                </a:cubicBezTo>
                <a:cubicBezTo>
                  <a:pt x="1382" y="1272"/>
                  <a:pt x="1382" y="1272"/>
                  <a:pt x="1382" y="1272"/>
                </a:cubicBezTo>
                <a:cubicBezTo>
                  <a:pt x="1373" y="1275"/>
                  <a:pt x="1362" y="1284"/>
                  <a:pt x="1354" y="1297"/>
                </a:cubicBezTo>
                <a:cubicBezTo>
                  <a:pt x="1347" y="1308"/>
                  <a:pt x="1344" y="1314"/>
                  <a:pt x="1339" y="1317"/>
                </a:cubicBezTo>
                <a:cubicBezTo>
                  <a:pt x="1338" y="1317"/>
                  <a:pt x="1336" y="1318"/>
                  <a:pt x="1335" y="1318"/>
                </a:cubicBezTo>
                <a:cubicBezTo>
                  <a:pt x="1334" y="1318"/>
                  <a:pt x="1332" y="1318"/>
                  <a:pt x="1332" y="1317"/>
                </a:cubicBezTo>
                <a:cubicBezTo>
                  <a:pt x="1332" y="1317"/>
                  <a:pt x="1332" y="1317"/>
                  <a:pt x="1332" y="1317"/>
                </a:cubicBezTo>
                <a:cubicBezTo>
                  <a:pt x="1332" y="1313"/>
                  <a:pt x="1330" y="1311"/>
                  <a:pt x="1329" y="1309"/>
                </a:cubicBezTo>
                <a:cubicBezTo>
                  <a:pt x="1323" y="1303"/>
                  <a:pt x="1315" y="1297"/>
                  <a:pt x="1306" y="1297"/>
                </a:cubicBezTo>
                <a:cubicBezTo>
                  <a:pt x="1304" y="1297"/>
                  <a:pt x="1301" y="1298"/>
                  <a:pt x="1299" y="1301"/>
                </a:cubicBezTo>
                <a:cubicBezTo>
                  <a:pt x="1298" y="1303"/>
                  <a:pt x="1288" y="1308"/>
                  <a:pt x="1277" y="1314"/>
                </a:cubicBezTo>
                <a:cubicBezTo>
                  <a:pt x="1276" y="1314"/>
                  <a:pt x="1275" y="1315"/>
                  <a:pt x="1275" y="1315"/>
                </a:cubicBezTo>
                <a:cubicBezTo>
                  <a:pt x="1271" y="1315"/>
                  <a:pt x="1265" y="1308"/>
                  <a:pt x="1264" y="1304"/>
                </a:cubicBezTo>
                <a:cubicBezTo>
                  <a:pt x="1260" y="1296"/>
                  <a:pt x="1257" y="1299"/>
                  <a:pt x="1256" y="1282"/>
                </a:cubicBezTo>
                <a:cubicBezTo>
                  <a:pt x="1256" y="1279"/>
                  <a:pt x="1256" y="1277"/>
                  <a:pt x="1256" y="1275"/>
                </a:cubicBezTo>
                <a:cubicBezTo>
                  <a:pt x="1256" y="1260"/>
                  <a:pt x="1259" y="1244"/>
                  <a:pt x="1261" y="1236"/>
                </a:cubicBezTo>
                <a:cubicBezTo>
                  <a:pt x="1262" y="1234"/>
                  <a:pt x="1262" y="1232"/>
                  <a:pt x="1262" y="1231"/>
                </a:cubicBezTo>
                <a:cubicBezTo>
                  <a:pt x="1262" y="1223"/>
                  <a:pt x="1257" y="1215"/>
                  <a:pt x="1251" y="1208"/>
                </a:cubicBezTo>
                <a:cubicBezTo>
                  <a:pt x="1245" y="1202"/>
                  <a:pt x="1239" y="1196"/>
                  <a:pt x="1231" y="1196"/>
                </a:cubicBezTo>
                <a:cubicBezTo>
                  <a:pt x="1231" y="1196"/>
                  <a:pt x="1230" y="1196"/>
                  <a:pt x="1229" y="1196"/>
                </a:cubicBezTo>
                <a:cubicBezTo>
                  <a:pt x="1224" y="1197"/>
                  <a:pt x="1220" y="1200"/>
                  <a:pt x="1216" y="1202"/>
                </a:cubicBezTo>
                <a:cubicBezTo>
                  <a:pt x="1212" y="1205"/>
                  <a:pt x="1209" y="1206"/>
                  <a:pt x="1208" y="1206"/>
                </a:cubicBezTo>
                <a:cubicBezTo>
                  <a:pt x="1208" y="1206"/>
                  <a:pt x="1207" y="1206"/>
                  <a:pt x="1207" y="1206"/>
                </a:cubicBezTo>
                <a:cubicBezTo>
                  <a:pt x="1204" y="1205"/>
                  <a:pt x="1205" y="1205"/>
                  <a:pt x="1202" y="1204"/>
                </a:cubicBezTo>
                <a:cubicBezTo>
                  <a:pt x="1200" y="1203"/>
                  <a:pt x="1197" y="1202"/>
                  <a:pt x="1192" y="1202"/>
                </a:cubicBezTo>
                <a:cubicBezTo>
                  <a:pt x="1193" y="1199"/>
                  <a:pt x="1194" y="1197"/>
                  <a:pt x="1195" y="1194"/>
                </a:cubicBezTo>
                <a:cubicBezTo>
                  <a:pt x="1195" y="1191"/>
                  <a:pt x="1196" y="1188"/>
                  <a:pt x="1196" y="1186"/>
                </a:cubicBezTo>
                <a:cubicBezTo>
                  <a:pt x="1196" y="1181"/>
                  <a:pt x="1195" y="1177"/>
                  <a:pt x="1195" y="1173"/>
                </a:cubicBezTo>
                <a:cubicBezTo>
                  <a:pt x="1195" y="1166"/>
                  <a:pt x="1196" y="1161"/>
                  <a:pt x="1201" y="1157"/>
                </a:cubicBezTo>
                <a:cubicBezTo>
                  <a:pt x="1209" y="1150"/>
                  <a:pt x="1211" y="1141"/>
                  <a:pt x="1211" y="1132"/>
                </a:cubicBezTo>
                <a:cubicBezTo>
                  <a:pt x="1211" y="1127"/>
                  <a:pt x="1210" y="1122"/>
                  <a:pt x="1208" y="1117"/>
                </a:cubicBezTo>
                <a:cubicBezTo>
                  <a:pt x="1206" y="1113"/>
                  <a:pt x="1204" y="1109"/>
                  <a:pt x="1198" y="1108"/>
                </a:cubicBezTo>
                <a:cubicBezTo>
                  <a:pt x="1197" y="1108"/>
                  <a:pt x="1195" y="1108"/>
                  <a:pt x="1194" y="1108"/>
                </a:cubicBezTo>
                <a:cubicBezTo>
                  <a:pt x="1185" y="1108"/>
                  <a:pt x="1175" y="1111"/>
                  <a:pt x="1167" y="1111"/>
                </a:cubicBezTo>
                <a:cubicBezTo>
                  <a:pt x="1166" y="1111"/>
                  <a:pt x="1165" y="1111"/>
                  <a:pt x="1164" y="1111"/>
                </a:cubicBezTo>
                <a:cubicBezTo>
                  <a:pt x="1164" y="1110"/>
                  <a:pt x="1163" y="1110"/>
                  <a:pt x="1162" y="1110"/>
                </a:cubicBezTo>
                <a:cubicBezTo>
                  <a:pt x="1150" y="1111"/>
                  <a:pt x="1142" y="1121"/>
                  <a:pt x="1142" y="1133"/>
                </a:cubicBezTo>
                <a:cubicBezTo>
                  <a:pt x="1142" y="1135"/>
                  <a:pt x="1142" y="1138"/>
                  <a:pt x="1143" y="1140"/>
                </a:cubicBezTo>
                <a:cubicBezTo>
                  <a:pt x="1143" y="1142"/>
                  <a:pt x="1143" y="1143"/>
                  <a:pt x="1143" y="1144"/>
                </a:cubicBezTo>
                <a:cubicBezTo>
                  <a:pt x="1143" y="1147"/>
                  <a:pt x="1142" y="1149"/>
                  <a:pt x="1141" y="1151"/>
                </a:cubicBezTo>
                <a:cubicBezTo>
                  <a:pt x="1141" y="1151"/>
                  <a:pt x="1141" y="1151"/>
                  <a:pt x="1140" y="1152"/>
                </a:cubicBezTo>
                <a:cubicBezTo>
                  <a:pt x="1139" y="1150"/>
                  <a:pt x="1136" y="1148"/>
                  <a:pt x="1131" y="1148"/>
                </a:cubicBezTo>
                <a:cubicBezTo>
                  <a:pt x="1126" y="1148"/>
                  <a:pt x="1121" y="1151"/>
                  <a:pt x="1115" y="1156"/>
                </a:cubicBezTo>
                <a:cubicBezTo>
                  <a:pt x="1110" y="1160"/>
                  <a:pt x="1108" y="1161"/>
                  <a:pt x="1106" y="1161"/>
                </a:cubicBezTo>
                <a:cubicBezTo>
                  <a:pt x="1105" y="1161"/>
                  <a:pt x="1101" y="1159"/>
                  <a:pt x="1093" y="1151"/>
                </a:cubicBezTo>
                <a:cubicBezTo>
                  <a:pt x="1080" y="1138"/>
                  <a:pt x="1068" y="1127"/>
                  <a:pt x="1066" y="1110"/>
                </a:cubicBezTo>
                <a:cubicBezTo>
                  <a:pt x="1065" y="1101"/>
                  <a:pt x="1064" y="1091"/>
                  <a:pt x="1064" y="1083"/>
                </a:cubicBezTo>
                <a:cubicBezTo>
                  <a:pt x="1064" y="1075"/>
                  <a:pt x="1065" y="1068"/>
                  <a:pt x="1067" y="1064"/>
                </a:cubicBezTo>
                <a:cubicBezTo>
                  <a:pt x="1069" y="1058"/>
                  <a:pt x="1071" y="1051"/>
                  <a:pt x="1071" y="1044"/>
                </a:cubicBezTo>
                <a:cubicBezTo>
                  <a:pt x="1071" y="1040"/>
                  <a:pt x="1070" y="1036"/>
                  <a:pt x="1069" y="1032"/>
                </a:cubicBezTo>
                <a:cubicBezTo>
                  <a:pt x="1068" y="1029"/>
                  <a:pt x="1067" y="1027"/>
                  <a:pt x="1064" y="1025"/>
                </a:cubicBezTo>
                <a:cubicBezTo>
                  <a:pt x="1064" y="1025"/>
                  <a:pt x="1064" y="1024"/>
                  <a:pt x="1064" y="1024"/>
                </a:cubicBezTo>
                <a:cubicBezTo>
                  <a:pt x="1067" y="1021"/>
                  <a:pt x="1074" y="1016"/>
                  <a:pt x="1077" y="1015"/>
                </a:cubicBezTo>
                <a:cubicBezTo>
                  <a:pt x="1088" y="1010"/>
                  <a:pt x="1099" y="999"/>
                  <a:pt x="1104" y="991"/>
                </a:cubicBezTo>
                <a:cubicBezTo>
                  <a:pt x="1104" y="991"/>
                  <a:pt x="1108" y="990"/>
                  <a:pt x="1113" y="990"/>
                </a:cubicBezTo>
                <a:cubicBezTo>
                  <a:pt x="1116" y="990"/>
                  <a:pt x="1120" y="990"/>
                  <a:pt x="1125" y="990"/>
                </a:cubicBezTo>
                <a:cubicBezTo>
                  <a:pt x="1138" y="991"/>
                  <a:pt x="1136" y="990"/>
                  <a:pt x="1149" y="998"/>
                </a:cubicBezTo>
                <a:cubicBezTo>
                  <a:pt x="1153" y="1000"/>
                  <a:pt x="1156" y="1001"/>
                  <a:pt x="1160" y="1001"/>
                </a:cubicBezTo>
                <a:cubicBezTo>
                  <a:pt x="1166" y="1001"/>
                  <a:pt x="1170" y="997"/>
                  <a:pt x="1171" y="993"/>
                </a:cubicBezTo>
                <a:cubicBezTo>
                  <a:pt x="1173" y="990"/>
                  <a:pt x="1173" y="987"/>
                  <a:pt x="1173" y="984"/>
                </a:cubicBezTo>
                <a:cubicBezTo>
                  <a:pt x="1173" y="984"/>
                  <a:pt x="1174" y="979"/>
                  <a:pt x="1183" y="979"/>
                </a:cubicBezTo>
                <a:cubicBezTo>
                  <a:pt x="1183" y="979"/>
                  <a:pt x="1184" y="979"/>
                  <a:pt x="1185" y="979"/>
                </a:cubicBezTo>
                <a:cubicBezTo>
                  <a:pt x="1186" y="979"/>
                  <a:pt x="1188" y="979"/>
                  <a:pt x="1189" y="979"/>
                </a:cubicBezTo>
                <a:cubicBezTo>
                  <a:pt x="1200" y="979"/>
                  <a:pt x="1212" y="976"/>
                  <a:pt x="1217" y="977"/>
                </a:cubicBezTo>
                <a:cubicBezTo>
                  <a:pt x="1218" y="977"/>
                  <a:pt x="1218" y="977"/>
                  <a:pt x="1218" y="977"/>
                </a:cubicBezTo>
                <a:cubicBezTo>
                  <a:pt x="1219" y="978"/>
                  <a:pt x="1221" y="982"/>
                  <a:pt x="1223" y="985"/>
                </a:cubicBezTo>
                <a:cubicBezTo>
                  <a:pt x="1226" y="988"/>
                  <a:pt x="1229" y="993"/>
                  <a:pt x="1237" y="994"/>
                </a:cubicBezTo>
                <a:cubicBezTo>
                  <a:pt x="1239" y="994"/>
                  <a:pt x="1242" y="993"/>
                  <a:pt x="1243" y="992"/>
                </a:cubicBezTo>
                <a:cubicBezTo>
                  <a:pt x="1244" y="991"/>
                  <a:pt x="1245" y="991"/>
                  <a:pt x="1245" y="990"/>
                </a:cubicBezTo>
                <a:cubicBezTo>
                  <a:pt x="1246" y="998"/>
                  <a:pt x="1248" y="1009"/>
                  <a:pt x="1252" y="1018"/>
                </a:cubicBezTo>
                <a:cubicBezTo>
                  <a:pt x="1255" y="1027"/>
                  <a:pt x="1259" y="1036"/>
                  <a:pt x="1267" y="1040"/>
                </a:cubicBezTo>
                <a:cubicBezTo>
                  <a:pt x="1269" y="1040"/>
                  <a:pt x="1270" y="1042"/>
                  <a:pt x="1271" y="1047"/>
                </a:cubicBezTo>
                <a:cubicBezTo>
                  <a:pt x="1272" y="1050"/>
                  <a:pt x="1272" y="1053"/>
                  <a:pt x="1274" y="1056"/>
                </a:cubicBezTo>
                <a:cubicBezTo>
                  <a:pt x="1276" y="1059"/>
                  <a:pt x="1279" y="1062"/>
                  <a:pt x="1284" y="1062"/>
                </a:cubicBezTo>
                <a:cubicBezTo>
                  <a:pt x="1284" y="1062"/>
                  <a:pt x="1285" y="1062"/>
                  <a:pt x="1285" y="1062"/>
                </a:cubicBezTo>
                <a:cubicBezTo>
                  <a:pt x="1289" y="1062"/>
                  <a:pt x="1293" y="1060"/>
                  <a:pt x="1295" y="1057"/>
                </a:cubicBezTo>
                <a:cubicBezTo>
                  <a:pt x="1301" y="1050"/>
                  <a:pt x="1303" y="1038"/>
                  <a:pt x="1303" y="1029"/>
                </a:cubicBezTo>
                <a:cubicBezTo>
                  <a:pt x="1303" y="1025"/>
                  <a:pt x="1303" y="1021"/>
                  <a:pt x="1302" y="1018"/>
                </a:cubicBezTo>
                <a:cubicBezTo>
                  <a:pt x="1300" y="1014"/>
                  <a:pt x="1298" y="1004"/>
                  <a:pt x="1295" y="994"/>
                </a:cubicBezTo>
                <a:cubicBezTo>
                  <a:pt x="1292" y="985"/>
                  <a:pt x="1289" y="976"/>
                  <a:pt x="1285" y="971"/>
                </a:cubicBezTo>
                <a:cubicBezTo>
                  <a:pt x="1283" y="969"/>
                  <a:pt x="1282" y="966"/>
                  <a:pt x="1282" y="962"/>
                </a:cubicBezTo>
                <a:cubicBezTo>
                  <a:pt x="1282" y="956"/>
                  <a:pt x="1284" y="951"/>
                  <a:pt x="1288" y="950"/>
                </a:cubicBezTo>
                <a:cubicBezTo>
                  <a:pt x="1296" y="946"/>
                  <a:pt x="1305" y="938"/>
                  <a:pt x="1315" y="929"/>
                </a:cubicBezTo>
                <a:cubicBezTo>
                  <a:pt x="1324" y="920"/>
                  <a:pt x="1333" y="911"/>
                  <a:pt x="1337" y="907"/>
                </a:cubicBezTo>
                <a:cubicBezTo>
                  <a:pt x="1340" y="905"/>
                  <a:pt x="1345" y="901"/>
                  <a:pt x="1351" y="898"/>
                </a:cubicBezTo>
                <a:cubicBezTo>
                  <a:pt x="1356" y="894"/>
                  <a:pt x="1363" y="890"/>
                  <a:pt x="1363" y="881"/>
                </a:cubicBezTo>
                <a:cubicBezTo>
                  <a:pt x="1363" y="878"/>
                  <a:pt x="1362" y="876"/>
                  <a:pt x="1361" y="873"/>
                </a:cubicBezTo>
                <a:cubicBezTo>
                  <a:pt x="1356" y="865"/>
                  <a:pt x="1354" y="860"/>
                  <a:pt x="1353" y="855"/>
                </a:cubicBezTo>
                <a:cubicBezTo>
                  <a:pt x="1355" y="857"/>
                  <a:pt x="1357" y="858"/>
                  <a:pt x="1359" y="858"/>
                </a:cubicBezTo>
                <a:cubicBezTo>
                  <a:pt x="1365" y="857"/>
                  <a:pt x="1368" y="854"/>
                  <a:pt x="1371" y="851"/>
                </a:cubicBezTo>
                <a:cubicBezTo>
                  <a:pt x="1375" y="847"/>
                  <a:pt x="1377" y="843"/>
                  <a:pt x="1377" y="838"/>
                </a:cubicBezTo>
                <a:cubicBezTo>
                  <a:pt x="1377" y="836"/>
                  <a:pt x="1377" y="834"/>
                  <a:pt x="1376" y="833"/>
                </a:cubicBezTo>
                <a:cubicBezTo>
                  <a:pt x="1375" y="831"/>
                  <a:pt x="1375" y="829"/>
                  <a:pt x="1375" y="828"/>
                </a:cubicBezTo>
                <a:cubicBezTo>
                  <a:pt x="1375" y="827"/>
                  <a:pt x="1375" y="826"/>
                  <a:pt x="1375" y="826"/>
                </a:cubicBezTo>
                <a:cubicBezTo>
                  <a:pt x="1375" y="826"/>
                  <a:pt x="1375" y="826"/>
                  <a:pt x="1376" y="826"/>
                </a:cubicBezTo>
                <a:cubicBezTo>
                  <a:pt x="1376" y="826"/>
                  <a:pt x="1377" y="826"/>
                  <a:pt x="1378" y="826"/>
                </a:cubicBezTo>
                <a:cubicBezTo>
                  <a:pt x="1382" y="826"/>
                  <a:pt x="1386" y="825"/>
                  <a:pt x="1388" y="822"/>
                </a:cubicBezTo>
                <a:cubicBezTo>
                  <a:pt x="1390" y="819"/>
                  <a:pt x="1391" y="816"/>
                  <a:pt x="1391" y="813"/>
                </a:cubicBezTo>
                <a:cubicBezTo>
                  <a:pt x="1391" y="811"/>
                  <a:pt x="1390" y="808"/>
                  <a:pt x="1389" y="806"/>
                </a:cubicBezTo>
                <a:cubicBezTo>
                  <a:pt x="1390" y="805"/>
                  <a:pt x="1393" y="803"/>
                  <a:pt x="1396" y="804"/>
                </a:cubicBezTo>
                <a:cubicBezTo>
                  <a:pt x="1396" y="804"/>
                  <a:pt x="1397" y="804"/>
                  <a:pt x="1398" y="804"/>
                </a:cubicBezTo>
                <a:cubicBezTo>
                  <a:pt x="1400" y="805"/>
                  <a:pt x="1403" y="805"/>
                  <a:pt x="1406" y="805"/>
                </a:cubicBezTo>
                <a:cubicBezTo>
                  <a:pt x="1412" y="805"/>
                  <a:pt x="1418" y="804"/>
                  <a:pt x="1423" y="803"/>
                </a:cubicBezTo>
                <a:cubicBezTo>
                  <a:pt x="1429" y="801"/>
                  <a:pt x="1433" y="799"/>
                  <a:pt x="1437" y="794"/>
                </a:cubicBezTo>
                <a:cubicBezTo>
                  <a:pt x="1438" y="793"/>
                  <a:pt x="1439" y="791"/>
                  <a:pt x="1439" y="789"/>
                </a:cubicBezTo>
                <a:cubicBezTo>
                  <a:pt x="1438" y="783"/>
                  <a:pt x="1435" y="781"/>
                  <a:pt x="1434" y="778"/>
                </a:cubicBezTo>
                <a:cubicBezTo>
                  <a:pt x="1432" y="775"/>
                  <a:pt x="1431" y="772"/>
                  <a:pt x="1431" y="769"/>
                </a:cubicBezTo>
                <a:cubicBezTo>
                  <a:pt x="1431" y="766"/>
                  <a:pt x="1433" y="762"/>
                  <a:pt x="1437" y="759"/>
                </a:cubicBezTo>
                <a:cubicBezTo>
                  <a:pt x="1440" y="756"/>
                  <a:pt x="1445" y="753"/>
                  <a:pt x="1448" y="753"/>
                </a:cubicBezTo>
                <a:cubicBezTo>
                  <a:pt x="1451" y="753"/>
                  <a:pt x="1456" y="752"/>
                  <a:pt x="1460" y="752"/>
                </a:cubicBezTo>
                <a:cubicBezTo>
                  <a:pt x="1462" y="752"/>
                  <a:pt x="1464" y="752"/>
                  <a:pt x="1466" y="751"/>
                </a:cubicBezTo>
                <a:cubicBezTo>
                  <a:pt x="1468" y="750"/>
                  <a:pt x="1471" y="748"/>
                  <a:pt x="1472" y="745"/>
                </a:cubicBezTo>
                <a:cubicBezTo>
                  <a:pt x="1472" y="745"/>
                  <a:pt x="1472" y="745"/>
                  <a:pt x="1472" y="745"/>
                </a:cubicBezTo>
                <a:cubicBezTo>
                  <a:pt x="1472" y="744"/>
                  <a:pt x="1473" y="743"/>
                  <a:pt x="1474" y="742"/>
                </a:cubicBezTo>
                <a:cubicBezTo>
                  <a:pt x="1475" y="746"/>
                  <a:pt x="1475" y="751"/>
                  <a:pt x="1476" y="755"/>
                </a:cubicBezTo>
                <a:cubicBezTo>
                  <a:pt x="1476" y="758"/>
                  <a:pt x="1477" y="762"/>
                  <a:pt x="1479" y="764"/>
                </a:cubicBezTo>
                <a:cubicBezTo>
                  <a:pt x="1481" y="767"/>
                  <a:pt x="1485" y="770"/>
                  <a:pt x="1489" y="770"/>
                </a:cubicBezTo>
                <a:cubicBezTo>
                  <a:pt x="1497" y="770"/>
                  <a:pt x="1502" y="766"/>
                  <a:pt x="1507" y="762"/>
                </a:cubicBezTo>
                <a:cubicBezTo>
                  <a:pt x="1510" y="760"/>
                  <a:pt x="1512" y="759"/>
                  <a:pt x="1513" y="757"/>
                </a:cubicBezTo>
                <a:cubicBezTo>
                  <a:pt x="1514" y="757"/>
                  <a:pt x="1515" y="756"/>
                  <a:pt x="1515" y="756"/>
                </a:cubicBezTo>
                <a:cubicBezTo>
                  <a:pt x="1516" y="756"/>
                  <a:pt x="1516" y="756"/>
                  <a:pt x="1516" y="756"/>
                </a:cubicBezTo>
                <a:cubicBezTo>
                  <a:pt x="1516" y="755"/>
                  <a:pt x="1516" y="755"/>
                  <a:pt x="1516" y="755"/>
                </a:cubicBezTo>
                <a:cubicBezTo>
                  <a:pt x="1520" y="754"/>
                  <a:pt x="1541" y="749"/>
                  <a:pt x="1545" y="747"/>
                </a:cubicBezTo>
                <a:cubicBezTo>
                  <a:pt x="1546" y="747"/>
                  <a:pt x="1554" y="746"/>
                  <a:pt x="1561" y="744"/>
                </a:cubicBezTo>
                <a:cubicBezTo>
                  <a:pt x="1565" y="743"/>
                  <a:pt x="1568" y="742"/>
                  <a:pt x="1572" y="740"/>
                </a:cubicBezTo>
                <a:cubicBezTo>
                  <a:pt x="1575" y="738"/>
                  <a:pt x="1578" y="735"/>
                  <a:pt x="1579" y="729"/>
                </a:cubicBezTo>
                <a:cubicBezTo>
                  <a:pt x="1579" y="728"/>
                  <a:pt x="1578" y="727"/>
                  <a:pt x="1578" y="726"/>
                </a:cubicBezTo>
                <a:cubicBezTo>
                  <a:pt x="1574" y="716"/>
                  <a:pt x="1571" y="706"/>
                  <a:pt x="1566" y="701"/>
                </a:cubicBezTo>
                <a:cubicBezTo>
                  <a:pt x="1565" y="699"/>
                  <a:pt x="1562" y="697"/>
                  <a:pt x="1559" y="697"/>
                </a:cubicBezTo>
                <a:cubicBezTo>
                  <a:pt x="1554" y="697"/>
                  <a:pt x="1552" y="700"/>
                  <a:pt x="1551" y="702"/>
                </a:cubicBezTo>
                <a:cubicBezTo>
                  <a:pt x="1549" y="704"/>
                  <a:pt x="1547" y="707"/>
                  <a:pt x="1545" y="709"/>
                </a:cubicBezTo>
                <a:cubicBezTo>
                  <a:pt x="1544" y="712"/>
                  <a:pt x="1542" y="712"/>
                  <a:pt x="1542" y="712"/>
                </a:cubicBezTo>
                <a:cubicBezTo>
                  <a:pt x="1541" y="712"/>
                  <a:pt x="1541" y="712"/>
                  <a:pt x="1541" y="712"/>
                </a:cubicBezTo>
                <a:cubicBezTo>
                  <a:pt x="1541" y="712"/>
                  <a:pt x="1540" y="707"/>
                  <a:pt x="1540" y="703"/>
                </a:cubicBezTo>
                <a:cubicBezTo>
                  <a:pt x="1540" y="701"/>
                  <a:pt x="1540" y="699"/>
                  <a:pt x="1539" y="697"/>
                </a:cubicBezTo>
                <a:cubicBezTo>
                  <a:pt x="1539" y="694"/>
                  <a:pt x="1536" y="690"/>
                  <a:pt x="1531" y="690"/>
                </a:cubicBezTo>
                <a:cubicBezTo>
                  <a:pt x="1529" y="690"/>
                  <a:pt x="1527" y="691"/>
                  <a:pt x="1525" y="693"/>
                </a:cubicBezTo>
                <a:cubicBezTo>
                  <a:pt x="1521" y="695"/>
                  <a:pt x="1519" y="698"/>
                  <a:pt x="1517" y="699"/>
                </a:cubicBezTo>
                <a:cubicBezTo>
                  <a:pt x="1517" y="699"/>
                  <a:pt x="1517" y="700"/>
                  <a:pt x="1517" y="700"/>
                </a:cubicBezTo>
                <a:cubicBezTo>
                  <a:pt x="1516" y="699"/>
                  <a:pt x="1514" y="697"/>
                  <a:pt x="1513" y="695"/>
                </a:cubicBezTo>
                <a:cubicBezTo>
                  <a:pt x="1513" y="695"/>
                  <a:pt x="1513" y="695"/>
                  <a:pt x="1513" y="695"/>
                </a:cubicBezTo>
                <a:cubicBezTo>
                  <a:pt x="1515" y="692"/>
                  <a:pt x="1518" y="688"/>
                  <a:pt x="1518" y="683"/>
                </a:cubicBezTo>
                <a:cubicBezTo>
                  <a:pt x="1518" y="679"/>
                  <a:pt x="1517" y="675"/>
                  <a:pt x="1514" y="671"/>
                </a:cubicBezTo>
                <a:cubicBezTo>
                  <a:pt x="1509" y="663"/>
                  <a:pt x="1502" y="659"/>
                  <a:pt x="1495" y="659"/>
                </a:cubicBezTo>
                <a:cubicBezTo>
                  <a:pt x="1487" y="659"/>
                  <a:pt x="1481" y="662"/>
                  <a:pt x="1475" y="666"/>
                </a:cubicBezTo>
                <a:cubicBezTo>
                  <a:pt x="1468" y="670"/>
                  <a:pt x="1466" y="671"/>
                  <a:pt x="1463" y="672"/>
                </a:cubicBezTo>
                <a:cubicBezTo>
                  <a:pt x="1463" y="672"/>
                  <a:pt x="1464" y="672"/>
                  <a:pt x="1464" y="671"/>
                </a:cubicBezTo>
                <a:cubicBezTo>
                  <a:pt x="1471" y="664"/>
                  <a:pt x="1481" y="660"/>
                  <a:pt x="1489" y="650"/>
                </a:cubicBezTo>
                <a:cubicBezTo>
                  <a:pt x="1490" y="650"/>
                  <a:pt x="1490" y="650"/>
                  <a:pt x="1492" y="650"/>
                </a:cubicBezTo>
                <a:cubicBezTo>
                  <a:pt x="1494" y="650"/>
                  <a:pt x="1498" y="651"/>
                  <a:pt x="1501" y="653"/>
                </a:cubicBezTo>
                <a:cubicBezTo>
                  <a:pt x="1504" y="654"/>
                  <a:pt x="1507" y="656"/>
                  <a:pt x="1507" y="656"/>
                </a:cubicBezTo>
                <a:cubicBezTo>
                  <a:pt x="1509" y="657"/>
                  <a:pt x="1511" y="657"/>
                  <a:pt x="1513" y="656"/>
                </a:cubicBezTo>
                <a:cubicBezTo>
                  <a:pt x="1513" y="657"/>
                  <a:pt x="1513" y="657"/>
                  <a:pt x="1513" y="658"/>
                </a:cubicBezTo>
                <a:cubicBezTo>
                  <a:pt x="1513" y="662"/>
                  <a:pt x="1513" y="665"/>
                  <a:pt x="1514" y="669"/>
                </a:cubicBezTo>
                <a:cubicBezTo>
                  <a:pt x="1515" y="672"/>
                  <a:pt x="1518" y="677"/>
                  <a:pt x="1524" y="677"/>
                </a:cubicBezTo>
                <a:cubicBezTo>
                  <a:pt x="1529" y="677"/>
                  <a:pt x="1534" y="675"/>
                  <a:pt x="1539" y="672"/>
                </a:cubicBezTo>
                <a:cubicBezTo>
                  <a:pt x="1542" y="671"/>
                  <a:pt x="1544" y="669"/>
                  <a:pt x="1546" y="668"/>
                </a:cubicBezTo>
                <a:cubicBezTo>
                  <a:pt x="1547" y="666"/>
                  <a:pt x="1549" y="665"/>
                  <a:pt x="1550" y="661"/>
                </a:cubicBezTo>
                <a:cubicBezTo>
                  <a:pt x="1550" y="661"/>
                  <a:pt x="1551" y="661"/>
                  <a:pt x="1551" y="661"/>
                </a:cubicBezTo>
                <a:cubicBezTo>
                  <a:pt x="1556" y="660"/>
                  <a:pt x="1561" y="659"/>
                  <a:pt x="1566" y="655"/>
                </a:cubicBezTo>
                <a:cubicBezTo>
                  <a:pt x="1572" y="650"/>
                  <a:pt x="1579" y="650"/>
                  <a:pt x="1587" y="646"/>
                </a:cubicBezTo>
                <a:cubicBezTo>
                  <a:pt x="1592" y="643"/>
                  <a:pt x="1593" y="639"/>
                  <a:pt x="1595" y="636"/>
                </a:cubicBezTo>
                <a:cubicBezTo>
                  <a:pt x="1598" y="633"/>
                  <a:pt x="1599" y="632"/>
                  <a:pt x="1600" y="632"/>
                </a:cubicBezTo>
                <a:cubicBezTo>
                  <a:pt x="1600" y="632"/>
                  <a:pt x="1601" y="632"/>
                  <a:pt x="1601" y="634"/>
                </a:cubicBezTo>
                <a:cubicBezTo>
                  <a:pt x="1601" y="636"/>
                  <a:pt x="1600" y="639"/>
                  <a:pt x="1596" y="642"/>
                </a:cubicBezTo>
                <a:cubicBezTo>
                  <a:pt x="1589" y="647"/>
                  <a:pt x="1585" y="656"/>
                  <a:pt x="1583" y="663"/>
                </a:cubicBezTo>
                <a:cubicBezTo>
                  <a:pt x="1580" y="670"/>
                  <a:pt x="1578" y="676"/>
                  <a:pt x="1577" y="677"/>
                </a:cubicBezTo>
                <a:cubicBezTo>
                  <a:pt x="1574" y="679"/>
                  <a:pt x="1573" y="683"/>
                  <a:pt x="1573" y="687"/>
                </a:cubicBezTo>
                <a:cubicBezTo>
                  <a:pt x="1572" y="690"/>
                  <a:pt x="1574" y="693"/>
                  <a:pt x="1577" y="695"/>
                </a:cubicBezTo>
                <a:cubicBezTo>
                  <a:pt x="1579" y="697"/>
                  <a:pt x="1583" y="698"/>
                  <a:pt x="1586" y="698"/>
                </a:cubicBezTo>
                <a:cubicBezTo>
                  <a:pt x="1587" y="698"/>
                  <a:pt x="1588" y="698"/>
                  <a:pt x="1589" y="698"/>
                </a:cubicBezTo>
                <a:cubicBezTo>
                  <a:pt x="1591" y="698"/>
                  <a:pt x="1593" y="698"/>
                  <a:pt x="1594" y="698"/>
                </a:cubicBezTo>
                <a:cubicBezTo>
                  <a:pt x="1598" y="698"/>
                  <a:pt x="1601" y="698"/>
                  <a:pt x="1605" y="698"/>
                </a:cubicBezTo>
                <a:cubicBezTo>
                  <a:pt x="1608" y="698"/>
                  <a:pt x="1612" y="698"/>
                  <a:pt x="1616" y="696"/>
                </a:cubicBezTo>
                <a:cubicBezTo>
                  <a:pt x="1617" y="696"/>
                  <a:pt x="1617" y="696"/>
                  <a:pt x="1618" y="696"/>
                </a:cubicBezTo>
                <a:cubicBezTo>
                  <a:pt x="1620" y="696"/>
                  <a:pt x="1622" y="698"/>
                  <a:pt x="1623" y="700"/>
                </a:cubicBezTo>
                <a:cubicBezTo>
                  <a:pt x="1624" y="703"/>
                  <a:pt x="1628" y="705"/>
                  <a:pt x="1630" y="705"/>
                </a:cubicBezTo>
                <a:cubicBezTo>
                  <a:pt x="1635" y="704"/>
                  <a:pt x="1637" y="702"/>
                  <a:pt x="1639" y="701"/>
                </a:cubicBezTo>
                <a:cubicBezTo>
                  <a:pt x="1640" y="700"/>
                  <a:pt x="1641" y="699"/>
                  <a:pt x="1641" y="699"/>
                </a:cubicBezTo>
                <a:cubicBezTo>
                  <a:pt x="1641" y="699"/>
                  <a:pt x="1641" y="699"/>
                  <a:pt x="1642" y="699"/>
                </a:cubicBezTo>
                <a:cubicBezTo>
                  <a:pt x="1643" y="698"/>
                  <a:pt x="1645" y="698"/>
                  <a:pt x="1647" y="698"/>
                </a:cubicBezTo>
                <a:cubicBezTo>
                  <a:pt x="1650" y="698"/>
                  <a:pt x="1652" y="699"/>
                  <a:pt x="1652" y="699"/>
                </a:cubicBezTo>
                <a:cubicBezTo>
                  <a:pt x="1654" y="702"/>
                  <a:pt x="1656" y="704"/>
                  <a:pt x="1660" y="704"/>
                </a:cubicBezTo>
                <a:cubicBezTo>
                  <a:pt x="1665" y="704"/>
                  <a:pt x="1667" y="701"/>
                  <a:pt x="1668" y="699"/>
                </a:cubicBezTo>
                <a:cubicBezTo>
                  <a:pt x="1669" y="696"/>
                  <a:pt x="1669" y="694"/>
                  <a:pt x="1669" y="691"/>
                </a:cubicBezTo>
                <a:cubicBezTo>
                  <a:pt x="1669" y="689"/>
                  <a:pt x="1669" y="685"/>
                  <a:pt x="1667" y="682"/>
                </a:cubicBezTo>
                <a:cubicBezTo>
                  <a:pt x="1664" y="675"/>
                  <a:pt x="1659" y="668"/>
                  <a:pt x="1656" y="661"/>
                </a:cubicBezTo>
                <a:cubicBezTo>
                  <a:pt x="1653" y="654"/>
                  <a:pt x="1647" y="647"/>
                  <a:pt x="1639" y="648"/>
                </a:cubicBezTo>
                <a:cubicBezTo>
                  <a:pt x="1637" y="648"/>
                  <a:pt x="1634" y="648"/>
                  <a:pt x="1631" y="649"/>
                </a:cubicBezTo>
                <a:cubicBezTo>
                  <a:pt x="1630" y="649"/>
                  <a:pt x="1629" y="649"/>
                  <a:pt x="1629" y="649"/>
                </a:cubicBezTo>
                <a:cubicBezTo>
                  <a:pt x="1627" y="649"/>
                  <a:pt x="1627" y="649"/>
                  <a:pt x="1626" y="648"/>
                </a:cubicBezTo>
                <a:cubicBezTo>
                  <a:pt x="1624" y="647"/>
                  <a:pt x="1622" y="645"/>
                  <a:pt x="1619" y="643"/>
                </a:cubicBezTo>
                <a:cubicBezTo>
                  <a:pt x="1619" y="643"/>
                  <a:pt x="1618" y="642"/>
                  <a:pt x="1618" y="642"/>
                </a:cubicBezTo>
                <a:cubicBezTo>
                  <a:pt x="1621" y="636"/>
                  <a:pt x="1623" y="633"/>
                  <a:pt x="1626" y="625"/>
                </a:cubicBezTo>
                <a:cubicBezTo>
                  <a:pt x="1627" y="624"/>
                  <a:pt x="1629" y="620"/>
                  <a:pt x="1632" y="616"/>
                </a:cubicBezTo>
                <a:cubicBezTo>
                  <a:pt x="1634" y="612"/>
                  <a:pt x="1636" y="608"/>
                  <a:pt x="1637" y="602"/>
                </a:cubicBezTo>
                <a:cubicBezTo>
                  <a:pt x="1637" y="597"/>
                  <a:pt x="1632" y="591"/>
                  <a:pt x="1626" y="590"/>
                </a:cubicBezTo>
                <a:cubicBezTo>
                  <a:pt x="1618" y="588"/>
                  <a:pt x="1614" y="586"/>
                  <a:pt x="1612" y="584"/>
                </a:cubicBezTo>
                <a:cubicBezTo>
                  <a:pt x="1610" y="583"/>
                  <a:pt x="1609" y="582"/>
                  <a:pt x="1608" y="579"/>
                </a:cubicBezTo>
                <a:cubicBezTo>
                  <a:pt x="1606" y="572"/>
                  <a:pt x="1601" y="566"/>
                  <a:pt x="1595" y="561"/>
                </a:cubicBezTo>
                <a:cubicBezTo>
                  <a:pt x="1592" y="558"/>
                  <a:pt x="1589" y="556"/>
                  <a:pt x="1587" y="554"/>
                </a:cubicBezTo>
                <a:cubicBezTo>
                  <a:pt x="1584" y="553"/>
                  <a:pt x="1582" y="551"/>
                  <a:pt x="1578" y="551"/>
                </a:cubicBezTo>
                <a:cubicBezTo>
                  <a:pt x="1576" y="551"/>
                  <a:pt x="1571" y="551"/>
                  <a:pt x="1567" y="550"/>
                </a:cubicBezTo>
                <a:cubicBezTo>
                  <a:pt x="1565" y="550"/>
                  <a:pt x="1563" y="549"/>
                  <a:pt x="1562" y="549"/>
                </a:cubicBezTo>
                <a:cubicBezTo>
                  <a:pt x="1562" y="549"/>
                  <a:pt x="1562" y="549"/>
                  <a:pt x="1562" y="548"/>
                </a:cubicBezTo>
                <a:cubicBezTo>
                  <a:pt x="1559" y="538"/>
                  <a:pt x="1548" y="525"/>
                  <a:pt x="1542" y="517"/>
                </a:cubicBezTo>
                <a:cubicBezTo>
                  <a:pt x="1540" y="514"/>
                  <a:pt x="1533" y="505"/>
                  <a:pt x="1526" y="496"/>
                </a:cubicBezTo>
                <a:cubicBezTo>
                  <a:pt x="1523" y="491"/>
                  <a:pt x="1520" y="487"/>
                  <a:pt x="1517" y="484"/>
                </a:cubicBezTo>
                <a:cubicBezTo>
                  <a:pt x="1514" y="480"/>
                  <a:pt x="1512" y="478"/>
                  <a:pt x="1510" y="476"/>
                </a:cubicBezTo>
                <a:cubicBezTo>
                  <a:pt x="1509" y="475"/>
                  <a:pt x="1506" y="474"/>
                  <a:pt x="1504" y="474"/>
                </a:cubicBezTo>
                <a:cubicBezTo>
                  <a:pt x="1495" y="475"/>
                  <a:pt x="1491" y="481"/>
                  <a:pt x="1483" y="493"/>
                </a:cubicBezTo>
                <a:cubicBezTo>
                  <a:pt x="1476" y="505"/>
                  <a:pt x="1470" y="507"/>
                  <a:pt x="1467" y="507"/>
                </a:cubicBezTo>
                <a:cubicBezTo>
                  <a:pt x="1466" y="507"/>
                  <a:pt x="1465" y="507"/>
                  <a:pt x="1463" y="506"/>
                </a:cubicBezTo>
                <a:cubicBezTo>
                  <a:pt x="1459" y="504"/>
                  <a:pt x="1457" y="503"/>
                  <a:pt x="1455" y="502"/>
                </a:cubicBezTo>
                <a:cubicBezTo>
                  <a:pt x="1454" y="501"/>
                  <a:pt x="1452" y="499"/>
                  <a:pt x="1448" y="494"/>
                </a:cubicBezTo>
                <a:cubicBezTo>
                  <a:pt x="1447" y="493"/>
                  <a:pt x="1447" y="492"/>
                  <a:pt x="1447" y="492"/>
                </a:cubicBezTo>
                <a:cubicBezTo>
                  <a:pt x="1447" y="492"/>
                  <a:pt x="1448" y="491"/>
                  <a:pt x="1450" y="489"/>
                </a:cubicBezTo>
                <a:cubicBezTo>
                  <a:pt x="1451" y="488"/>
                  <a:pt x="1454" y="486"/>
                  <a:pt x="1454" y="480"/>
                </a:cubicBezTo>
                <a:cubicBezTo>
                  <a:pt x="1454" y="479"/>
                  <a:pt x="1454" y="477"/>
                  <a:pt x="1453" y="476"/>
                </a:cubicBezTo>
                <a:cubicBezTo>
                  <a:pt x="1449" y="469"/>
                  <a:pt x="1443" y="467"/>
                  <a:pt x="1436" y="465"/>
                </a:cubicBezTo>
                <a:cubicBezTo>
                  <a:pt x="1429" y="463"/>
                  <a:pt x="1421" y="462"/>
                  <a:pt x="1415" y="461"/>
                </a:cubicBezTo>
                <a:cubicBezTo>
                  <a:pt x="1412" y="461"/>
                  <a:pt x="1408" y="458"/>
                  <a:pt x="1402" y="453"/>
                </a:cubicBezTo>
                <a:cubicBezTo>
                  <a:pt x="1396" y="449"/>
                  <a:pt x="1389" y="444"/>
                  <a:pt x="1378" y="443"/>
                </a:cubicBezTo>
                <a:cubicBezTo>
                  <a:pt x="1376" y="443"/>
                  <a:pt x="1373" y="443"/>
                  <a:pt x="1370" y="443"/>
                </a:cubicBezTo>
                <a:cubicBezTo>
                  <a:pt x="1354" y="443"/>
                  <a:pt x="1337" y="446"/>
                  <a:pt x="1334" y="446"/>
                </a:cubicBezTo>
                <a:cubicBezTo>
                  <a:pt x="1331" y="446"/>
                  <a:pt x="1327" y="448"/>
                  <a:pt x="1326" y="450"/>
                </a:cubicBezTo>
                <a:cubicBezTo>
                  <a:pt x="1321" y="457"/>
                  <a:pt x="1322" y="465"/>
                  <a:pt x="1320" y="476"/>
                </a:cubicBezTo>
                <a:cubicBezTo>
                  <a:pt x="1320" y="478"/>
                  <a:pt x="1320" y="480"/>
                  <a:pt x="1320" y="481"/>
                </a:cubicBezTo>
                <a:cubicBezTo>
                  <a:pt x="1320" y="486"/>
                  <a:pt x="1320" y="489"/>
                  <a:pt x="1321" y="492"/>
                </a:cubicBezTo>
                <a:cubicBezTo>
                  <a:pt x="1321" y="492"/>
                  <a:pt x="1322" y="493"/>
                  <a:pt x="1322" y="493"/>
                </a:cubicBezTo>
                <a:cubicBezTo>
                  <a:pt x="1319" y="494"/>
                  <a:pt x="1316" y="495"/>
                  <a:pt x="1314" y="496"/>
                </a:cubicBezTo>
                <a:cubicBezTo>
                  <a:pt x="1313" y="496"/>
                  <a:pt x="1311" y="497"/>
                  <a:pt x="1310" y="498"/>
                </a:cubicBezTo>
                <a:cubicBezTo>
                  <a:pt x="1309" y="499"/>
                  <a:pt x="1307" y="501"/>
                  <a:pt x="1307" y="504"/>
                </a:cubicBezTo>
                <a:cubicBezTo>
                  <a:pt x="1307" y="507"/>
                  <a:pt x="1309" y="509"/>
                  <a:pt x="1311" y="510"/>
                </a:cubicBezTo>
                <a:cubicBezTo>
                  <a:pt x="1312" y="512"/>
                  <a:pt x="1314" y="513"/>
                  <a:pt x="1316" y="514"/>
                </a:cubicBezTo>
                <a:cubicBezTo>
                  <a:pt x="1320" y="516"/>
                  <a:pt x="1326" y="522"/>
                  <a:pt x="1330" y="528"/>
                </a:cubicBezTo>
                <a:cubicBezTo>
                  <a:pt x="1333" y="532"/>
                  <a:pt x="1336" y="536"/>
                  <a:pt x="1337" y="538"/>
                </a:cubicBezTo>
                <a:cubicBezTo>
                  <a:pt x="1337" y="539"/>
                  <a:pt x="1337" y="540"/>
                  <a:pt x="1336" y="542"/>
                </a:cubicBezTo>
                <a:cubicBezTo>
                  <a:pt x="1335" y="545"/>
                  <a:pt x="1334" y="549"/>
                  <a:pt x="1331" y="551"/>
                </a:cubicBezTo>
                <a:cubicBezTo>
                  <a:pt x="1327" y="555"/>
                  <a:pt x="1321" y="558"/>
                  <a:pt x="1320" y="559"/>
                </a:cubicBezTo>
                <a:cubicBezTo>
                  <a:pt x="1320" y="559"/>
                  <a:pt x="1320" y="558"/>
                  <a:pt x="1320" y="558"/>
                </a:cubicBezTo>
                <a:cubicBezTo>
                  <a:pt x="1316" y="552"/>
                  <a:pt x="1311" y="549"/>
                  <a:pt x="1305" y="549"/>
                </a:cubicBezTo>
                <a:cubicBezTo>
                  <a:pt x="1303" y="549"/>
                  <a:pt x="1300" y="550"/>
                  <a:pt x="1298" y="552"/>
                </a:cubicBezTo>
                <a:cubicBezTo>
                  <a:pt x="1296" y="553"/>
                  <a:pt x="1294" y="557"/>
                  <a:pt x="1294" y="560"/>
                </a:cubicBezTo>
                <a:cubicBezTo>
                  <a:pt x="1294" y="561"/>
                  <a:pt x="1294" y="563"/>
                  <a:pt x="1295" y="565"/>
                </a:cubicBezTo>
                <a:cubicBezTo>
                  <a:pt x="1297" y="570"/>
                  <a:pt x="1300" y="573"/>
                  <a:pt x="1302" y="576"/>
                </a:cubicBezTo>
                <a:cubicBezTo>
                  <a:pt x="1304" y="579"/>
                  <a:pt x="1305" y="581"/>
                  <a:pt x="1305" y="583"/>
                </a:cubicBezTo>
                <a:cubicBezTo>
                  <a:pt x="1305" y="588"/>
                  <a:pt x="1307" y="593"/>
                  <a:pt x="1308" y="598"/>
                </a:cubicBezTo>
                <a:cubicBezTo>
                  <a:pt x="1310" y="603"/>
                  <a:pt x="1311" y="608"/>
                  <a:pt x="1311" y="612"/>
                </a:cubicBezTo>
                <a:cubicBezTo>
                  <a:pt x="1311" y="614"/>
                  <a:pt x="1310" y="615"/>
                  <a:pt x="1310" y="615"/>
                </a:cubicBezTo>
                <a:cubicBezTo>
                  <a:pt x="1308" y="616"/>
                  <a:pt x="1308" y="616"/>
                  <a:pt x="1306" y="616"/>
                </a:cubicBezTo>
                <a:cubicBezTo>
                  <a:pt x="1303" y="616"/>
                  <a:pt x="1300" y="615"/>
                  <a:pt x="1296" y="615"/>
                </a:cubicBezTo>
                <a:cubicBezTo>
                  <a:pt x="1295" y="615"/>
                  <a:pt x="1294" y="615"/>
                  <a:pt x="1293" y="616"/>
                </a:cubicBezTo>
                <a:cubicBezTo>
                  <a:pt x="1292" y="615"/>
                  <a:pt x="1291" y="613"/>
                  <a:pt x="1291" y="612"/>
                </a:cubicBezTo>
                <a:cubicBezTo>
                  <a:pt x="1295" y="609"/>
                  <a:pt x="1294" y="605"/>
                  <a:pt x="1295" y="602"/>
                </a:cubicBezTo>
                <a:cubicBezTo>
                  <a:pt x="1295" y="593"/>
                  <a:pt x="1292" y="583"/>
                  <a:pt x="1291" y="583"/>
                </a:cubicBezTo>
                <a:cubicBezTo>
                  <a:pt x="1291" y="581"/>
                  <a:pt x="1289" y="579"/>
                  <a:pt x="1286" y="578"/>
                </a:cubicBezTo>
                <a:cubicBezTo>
                  <a:pt x="1284" y="578"/>
                  <a:pt x="1282" y="579"/>
                  <a:pt x="1280" y="581"/>
                </a:cubicBezTo>
                <a:cubicBezTo>
                  <a:pt x="1280" y="581"/>
                  <a:pt x="1280" y="583"/>
                  <a:pt x="1278" y="585"/>
                </a:cubicBezTo>
                <a:cubicBezTo>
                  <a:pt x="1277" y="583"/>
                  <a:pt x="1276" y="581"/>
                  <a:pt x="1276" y="579"/>
                </a:cubicBezTo>
                <a:cubicBezTo>
                  <a:pt x="1274" y="576"/>
                  <a:pt x="1273" y="575"/>
                  <a:pt x="1273" y="572"/>
                </a:cubicBezTo>
                <a:cubicBezTo>
                  <a:pt x="1273" y="567"/>
                  <a:pt x="1272" y="562"/>
                  <a:pt x="1269" y="559"/>
                </a:cubicBezTo>
                <a:cubicBezTo>
                  <a:pt x="1265" y="556"/>
                  <a:pt x="1261" y="554"/>
                  <a:pt x="1256" y="554"/>
                </a:cubicBezTo>
                <a:cubicBezTo>
                  <a:pt x="1253" y="554"/>
                  <a:pt x="1251" y="555"/>
                  <a:pt x="1248" y="555"/>
                </a:cubicBezTo>
                <a:cubicBezTo>
                  <a:pt x="1247" y="555"/>
                  <a:pt x="1246" y="556"/>
                  <a:pt x="1245" y="556"/>
                </a:cubicBezTo>
                <a:cubicBezTo>
                  <a:pt x="1238" y="556"/>
                  <a:pt x="1226" y="550"/>
                  <a:pt x="1209" y="547"/>
                </a:cubicBezTo>
                <a:cubicBezTo>
                  <a:pt x="1189" y="543"/>
                  <a:pt x="1183" y="540"/>
                  <a:pt x="1167" y="531"/>
                </a:cubicBezTo>
                <a:cubicBezTo>
                  <a:pt x="1160" y="527"/>
                  <a:pt x="1154" y="525"/>
                  <a:pt x="1149" y="525"/>
                </a:cubicBezTo>
                <a:cubicBezTo>
                  <a:pt x="1142" y="525"/>
                  <a:pt x="1137" y="528"/>
                  <a:pt x="1134" y="529"/>
                </a:cubicBezTo>
                <a:cubicBezTo>
                  <a:pt x="1134" y="527"/>
                  <a:pt x="1133" y="523"/>
                  <a:pt x="1132" y="519"/>
                </a:cubicBezTo>
                <a:cubicBezTo>
                  <a:pt x="1130" y="515"/>
                  <a:pt x="1127" y="509"/>
                  <a:pt x="1120" y="507"/>
                </a:cubicBezTo>
                <a:cubicBezTo>
                  <a:pt x="1114" y="505"/>
                  <a:pt x="1109" y="506"/>
                  <a:pt x="1109" y="505"/>
                </a:cubicBezTo>
                <a:cubicBezTo>
                  <a:pt x="1109" y="505"/>
                  <a:pt x="1109" y="505"/>
                  <a:pt x="1108" y="504"/>
                </a:cubicBezTo>
                <a:cubicBezTo>
                  <a:pt x="1108" y="503"/>
                  <a:pt x="1107" y="501"/>
                  <a:pt x="1106" y="497"/>
                </a:cubicBezTo>
                <a:cubicBezTo>
                  <a:pt x="1106" y="495"/>
                  <a:pt x="1106" y="493"/>
                  <a:pt x="1106" y="491"/>
                </a:cubicBezTo>
                <a:cubicBezTo>
                  <a:pt x="1106" y="486"/>
                  <a:pt x="1107" y="484"/>
                  <a:pt x="1111" y="479"/>
                </a:cubicBezTo>
                <a:cubicBezTo>
                  <a:pt x="1115" y="475"/>
                  <a:pt x="1122" y="469"/>
                  <a:pt x="1133" y="461"/>
                </a:cubicBezTo>
                <a:cubicBezTo>
                  <a:pt x="1146" y="451"/>
                  <a:pt x="1152" y="444"/>
                  <a:pt x="1156" y="439"/>
                </a:cubicBezTo>
                <a:cubicBezTo>
                  <a:pt x="1161" y="435"/>
                  <a:pt x="1162" y="433"/>
                  <a:pt x="1171" y="432"/>
                </a:cubicBezTo>
                <a:cubicBezTo>
                  <a:pt x="1176" y="431"/>
                  <a:pt x="1180" y="431"/>
                  <a:pt x="1183" y="431"/>
                </a:cubicBezTo>
                <a:cubicBezTo>
                  <a:pt x="1187" y="431"/>
                  <a:pt x="1191" y="432"/>
                  <a:pt x="1194" y="432"/>
                </a:cubicBezTo>
                <a:cubicBezTo>
                  <a:pt x="1196" y="431"/>
                  <a:pt x="1198" y="432"/>
                  <a:pt x="1201" y="430"/>
                </a:cubicBezTo>
                <a:cubicBezTo>
                  <a:pt x="1204" y="428"/>
                  <a:pt x="1206" y="424"/>
                  <a:pt x="1205" y="422"/>
                </a:cubicBezTo>
                <a:cubicBezTo>
                  <a:pt x="1205" y="421"/>
                  <a:pt x="1206" y="419"/>
                  <a:pt x="1206" y="416"/>
                </a:cubicBezTo>
                <a:cubicBezTo>
                  <a:pt x="1207" y="417"/>
                  <a:pt x="1207" y="418"/>
                  <a:pt x="1208" y="418"/>
                </a:cubicBezTo>
                <a:cubicBezTo>
                  <a:pt x="1210" y="419"/>
                  <a:pt x="1212" y="421"/>
                  <a:pt x="1213" y="421"/>
                </a:cubicBezTo>
                <a:cubicBezTo>
                  <a:pt x="1212" y="421"/>
                  <a:pt x="1212" y="421"/>
                  <a:pt x="1212" y="421"/>
                </a:cubicBezTo>
                <a:cubicBezTo>
                  <a:pt x="1208" y="426"/>
                  <a:pt x="1205" y="428"/>
                  <a:pt x="1205" y="434"/>
                </a:cubicBezTo>
                <a:cubicBezTo>
                  <a:pt x="1205" y="439"/>
                  <a:pt x="1210" y="442"/>
                  <a:pt x="1212" y="442"/>
                </a:cubicBezTo>
                <a:cubicBezTo>
                  <a:pt x="1215" y="443"/>
                  <a:pt x="1217" y="443"/>
                  <a:pt x="1220" y="443"/>
                </a:cubicBezTo>
                <a:cubicBezTo>
                  <a:pt x="1226" y="443"/>
                  <a:pt x="1232" y="440"/>
                  <a:pt x="1237" y="438"/>
                </a:cubicBezTo>
                <a:cubicBezTo>
                  <a:pt x="1242" y="435"/>
                  <a:pt x="1245" y="433"/>
                  <a:pt x="1246" y="433"/>
                </a:cubicBezTo>
                <a:cubicBezTo>
                  <a:pt x="1247" y="432"/>
                  <a:pt x="1248" y="431"/>
                  <a:pt x="1251" y="431"/>
                </a:cubicBezTo>
                <a:cubicBezTo>
                  <a:pt x="1253" y="430"/>
                  <a:pt x="1257" y="429"/>
                  <a:pt x="1259" y="429"/>
                </a:cubicBezTo>
                <a:cubicBezTo>
                  <a:pt x="1260" y="429"/>
                  <a:pt x="1261" y="429"/>
                  <a:pt x="1261" y="429"/>
                </a:cubicBezTo>
                <a:cubicBezTo>
                  <a:pt x="1261" y="429"/>
                  <a:pt x="1261" y="429"/>
                  <a:pt x="1261" y="429"/>
                </a:cubicBezTo>
                <a:cubicBezTo>
                  <a:pt x="1263" y="432"/>
                  <a:pt x="1264" y="436"/>
                  <a:pt x="1266" y="440"/>
                </a:cubicBezTo>
                <a:cubicBezTo>
                  <a:pt x="1266" y="440"/>
                  <a:pt x="1266" y="440"/>
                  <a:pt x="1266" y="440"/>
                </a:cubicBezTo>
                <a:cubicBezTo>
                  <a:pt x="1263" y="438"/>
                  <a:pt x="1260" y="437"/>
                  <a:pt x="1256" y="437"/>
                </a:cubicBezTo>
                <a:cubicBezTo>
                  <a:pt x="1251" y="437"/>
                  <a:pt x="1246" y="439"/>
                  <a:pt x="1243" y="444"/>
                </a:cubicBezTo>
                <a:cubicBezTo>
                  <a:pt x="1243" y="444"/>
                  <a:pt x="1243" y="444"/>
                  <a:pt x="1243" y="444"/>
                </a:cubicBezTo>
                <a:cubicBezTo>
                  <a:pt x="1242" y="445"/>
                  <a:pt x="1241" y="447"/>
                  <a:pt x="1241" y="449"/>
                </a:cubicBezTo>
                <a:cubicBezTo>
                  <a:pt x="1242" y="455"/>
                  <a:pt x="1246" y="456"/>
                  <a:pt x="1249" y="458"/>
                </a:cubicBezTo>
                <a:cubicBezTo>
                  <a:pt x="1252" y="459"/>
                  <a:pt x="1256" y="460"/>
                  <a:pt x="1259" y="460"/>
                </a:cubicBezTo>
                <a:cubicBezTo>
                  <a:pt x="1262" y="460"/>
                  <a:pt x="1267" y="460"/>
                  <a:pt x="1270" y="455"/>
                </a:cubicBezTo>
                <a:cubicBezTo>
                  <a:pt x="1271" y="454"/>
                  <a:pt x="1271" y="452"/>
                  <a:pt x="1271" y="450"/>
                </a:cubicBezTo>
                <a:cubicBezTo>
                  <a:pt x="1271" y="448"/>
                  <a:pt x="1271" y="447"/>
                  <a:pt x="1270" y="445"/>
                </a:cubicBezTo>
                <a:cubicBezTo>
                  <a:pt x="1272" y="447"/>
                  <a:pt x="1275" y="449"/>
                  <a:pt x="1279" y="449"/>
                </a:cubicBezTo>
                <a:cubicBezTo>
                  <a:pt x="1284" y="448"/>
                  <a:pt x="1288" y="447"/>
                  <a:pt x="1292" y="444"/>
                </a:cubicBezTo>
                <a:cubicBezTo>
                  <a:pt x="1297" y="441"/>
                  <a:pt x="1301" y="437"/>
                  <a:pt x="1301" y="430"/>
                </a:cubicBezTo>
                <a:cubicBezTo>
                  <a:pt x="1301" y="425"/>
                  <a:pt x="1298" y="420"/>
                  <a:pt x="1292" y="417"/>
                </a:cubicBezTo>
                <a:cubicBezTo>
                  <a:pt x="1284" y="411"/>
                  <a:pt x="1278" y="409"/>
                  <a:pt x="1273" y="407"/>
                </a:cubicBezTo>
                <a:cubicBezTo>
                  <a:pt x="1267" y="405"/>
                  <a:pt x="1264" y="403"/>
                  <a:pt x="1260" y="399"/>
                </a:cubicBezTo>
                <a:cubicBezTo>
                  <a:pt x="1259" y="396"/>
                  <a:pt x="1257" y="395"/>
                  <a:pt x="1256" y="393"/>
                </a:cubicBezTo>
                <a:cubicBezTo>
                  <a:pt x="1260" y="392"/>
                  <a:pt x="1268" y="388"/>
                  <a:pt x="1271" y="387"/>
                </a:cubicBezTo>
                <a:cubicBezTo>
                  <a:pt x="1271" y="387"/>
                  <a:pt x="1277" y="386"/>
                  <a:pt x="1282" y="384"/>
                </a:cubicBezTo>
                <a:cubicBezTo>
                  <a:pt x="1286" y="382"/>
                  <a:pt x="1293" y="377"/>
                  <a:pt x="1293" y="368"/>
                </a:cubicBezTo>
                <a:cubicBezTo>
                  <a:pt x="1293" y="367"/>
                  <a:pt x="1293" y="365"/>
                  <a:pt x="1293" y="364"/>
                </a:cubicBezTo>
                <a:cubicBezTo>
                  <a:pt x="1290" y="356"/>
                  <a:pt x="1285" y="351"/>
                  <a:pt x="1281" y="349"/>
                </a:cubicBezTo>
                <a:cubicBezTo>
                  <a:pt x="1279" y="348"/>
                  <a:pt x="1277" y="347"/>
                  <a:pt x="1276" y="346"/>
                </a:cubicBezTo>
                <a:cubicBezTo>
                  <a:pt x="1278" y="345"/>
                  <a:pt x="1281" y="343"/>
                  <a:pt x="1284" y="342"/>
                </a:cubicBezTo>
                <a:cubicBezTo>
                  <a:pt x="1284" y="342"/>
                  <a:pt x="1286" y="341"/>
                  <a:pt x="1289" y="341"/>
                </a:cubicBezTo>
                <a:cubicBezTo>
                  <a:pt x="1292" y="341"/>
                  <a:pt x="1295" y="341"/>
                  <a:pt x="1298" y="342"/>
                </a:cubicBezTo>
                <a:cubicBezTo>
                  <a:pt x="1300" y="342"/>
                  <a:pt x="1302" y="342"/>
                  <a:pt x="1302" y="342"/>
                </a:cubicBezTo>
                <a:cubicBezTo>
                  <a:pt x="1302" y="342"/>
                  <a:pt x="1304" y="343"/>
                  <a:pt x="1306" y="343"/>
                </a:cubicBezTo>
                <a:cubicBezTo>
                  <a:pt x="1308" y="342"/>
                  <a:pt x="1310" y="342"/>
                  <a:pt x="1313" y="341"/>
                </a:cubicBezTo>
                <a:cubicBezTo>
                  <a:pt x="1314" y="341"/>
                  <a:pt x="1316" y="340"/>
                  <a:pt x="1317" y="339"/>
                </a:cubicBezTo>
                <a:cubicBezTo>
                  <a:pt x="1317" y="339"/>
                  <a:pt x="1318" y="340"/>
                  <a:pt x="1319" y="341"/>
                </a:cubicBezTo>
                <a:cubicBezTo>
                  <a:pt x="1320" y="343"/>
                  <a:pt x="1323" y="344"/>
                  <a:pt x="1326" y="344"/>
                </a:cubicBezTo>
                <a:cubicBezTo>
                  <a:pt x="1327" y="344"/>
                  <a:pt x="1328" y="344"/>
                  <a:pt x="1330" y="343"/>
                </a:cubicBezTo>
                <a:cubicBezTo>
                  <a:pt x="1332" y="343"/>
                  <a:pt x="1334" y="343"/>
                  <a:pt x="1335" y="343"/>
                </a:cubicBezTo>
                <a:cubicBezTo>
                  <a:pt x="1338" y="343"/>
                  <a:pt x="1338" y="343"/>
                  <a:pt x="1343" y="346"/>
                </a:cubicBezTo>
                <a:cubicBezTo>
                  <a:pt x="1343" y="347"/>
                  <a:pt x="1343" y="347"/>
                  <a:pt x="1343" y="347"/>
                </a:cubicBezTo>
                <a:cubicBezTo>
                  <a:pt x="1343" y="349"/>
                  <a:pt x="1342" y="353"/>
                  <a:pt x="1340" y="355"/>
                </a:cubicBezTo>
                <a:cubicBezTo>
                  <a:pt x="1340" y="357"/>
                  <a:pt x="1339" y="358"/>
                  <a:pt x="1338" y="359"/>
                </a:cubicBezTo>
                <a:cubicBezTo>
                  <a:pt x="1338" y="360"/>
                  <a:pt x="1337" y="360"/>
                  <a:pt x="1337" y="360"/>
                </a:cubicBezTo>
                <a:cubicBezTo>
                  <a:pt x="1335" y="361"/>
                  <a:pt x="1333" y="362"/>
                  <a:pt x="1331" y="364"/>
                </a:cubicBezTo>
                <a:cubicBezTo>
                  <a:pt x="1329" y="365"/>
                  <a:pt x="1326" y="366"/>
                  <a:pt x="1325" y="372"/>
                </a:cubicBezTo>
                <a:cubicBezTo>
                  <a:pt x="1325" y="376"/>
                  <a:pt x="1328" y="378"/>
                  <a:pt x="1330" y="379"/>
                </a:cubicBezTo>
                <a:cubicBezTo>
                  <a:pt x="1332" y="380"/>
                  <a:pt x="1334" y="381"/>
                  <a:pt x="1337" y="381"/>
                </a:cubicBezTo>
                <a:cubicBezTo>
                  <a:pt x="1350" y="382"/>
                  <a:pt x="1359" y="382"/>
                  <a:pt x="1359" y="382"/>
                </a:cubicBezTo>
                <a:cubicBezTo>
                  <a:pt x="1361" y="382"/>
                  <a:pt x="1363" y="382"/>
                  <a:pt x="1364" y="380"/>
                </a:cubicBezTo>
                <a:cubicBezTo>
                  <a:pt x="1364" y="380"/>
                  <a:pt x="1372" y="370"/>
                  <a:pt x="1376" y="361"/>
                </a:cubicBezTo>
                <a:cubicBezTo>
                  <a:pt x="1376" y="361"/>
                  <a:pt x="1376" y="361"/>
                  <a:pt x="1376" y="360"/>
                </a:cubicBezTo>
                <a:cubicBezTo>
                  <a:pt x="1378" y="361"/>
                  <a:pt x="1380" y="362"/>
                  <a:pt x="1382" y="364"/>
                </a:cubicBezTo>
                <a:cubicBezTo>
                  <a:pt x="1383" y="364"/>
                  <a:pt x="1385" y="365"/>
                  <a:pt x="1386" y="366"/>
                </a:cubicBezTo>
                <a:cubicBezTo>
                  <a:pt x="1371" y="371"/>
                  <a:pt x="1365" y="381"/>
                  <a:pt x="1362" y="387"/>
                </a:cubicBezTo>
                <a:cubicBezTo>
                  <a:pt x="1361" y="390"/>
                  <a:pt x="1360" y="392"/>
                  <a:pt x="1359" y="392"/>
                </a:cubicBezTo>
                <a:cubicBezTo>
                  <a:pt x="1359" y="392"/>
                  <a:pt x="1359" y="392"/>
                  <a:pt x="1357" y="393"/>
                </a:cubicBezTo>
                <a:cubicBezTo>
                  <a:pt x="1356" y="393"/>
                  <a:pt x="1353" y="392"/>
                  <a:pt x="1349" y="391"/>
                </a:cubicBezTo>
                <a:cubicBezTo>
                  <a:pt x="1343" y="389"/>
                  <a:pt x="1338" y="389"/>
                  <a:pt x="1334" y="389"/>
                </a:cubicBezTo>
                <a:cubicBezTo>
                  <a:pt x="1326" y="388"/>
                  <a:pt x="1319" y="392"/>
                  <a:pt x="1316" y="398"/>
                </a:cubicBezTo>
                <a:cubicBezTo>
                  <a:pt x="1314" y="402"/>
                  <a:pt x="1314" y="407"/>
                  <a:pt x="1314" y="411"/>
                </a:cubicBezTo>
                <a:cubicBezTo>
                  <a:pt x="1314" y="415"/>
                  <a:pt x="1314" y="420"/>
                  <a:pt x="1315" y="424"/>
                </a:cubicBezTo>
                <a:cubicBezTo>
                  <a:pt x="1316" y="426"/>
                  <a:pt x="1317" y="428"/>
                  <a:pt x="1318" y="429"/>
                </a:cubicBezTo>
                <a:cubicBezTo>
                  <a:pt x="1319" y="431"/>
                  <a:pt x="1321" y="433"/>
                  <a:pt x="1325" y="434"/>
                </a:cubicBezTo>
                <a:cubicBezTo>
                  <a:pt x="1326" y="434"/>
                  <a:pt x="1327" y="433"/>
                  <a:pt x="1328" y="433"/>
                </a:cubicBezTo>
                <a:cubicBezTo>
                  <a:pt x="1333" y="431"/>
                  <a:pt x="1338" y="431"/>
                  <a:pt x="1347" y="427"/>
                </a:cubicBezTo>
                <a:cubicBezTo>
                  <a:pt x="1347" y="427"/>
                  <a:pt x="1348" y="427"/>
                  <a:pt x="1351" y="427"/>
                </a:cubicBezTo>
                <a:cubicBezTo>
                  <a:pt x="1359" y="427"/>
                  <a:pt x="1374" y="429"/>
                  <a:pt x="1383" y="429"/>
                </a:cubicBezTo>
                <a:cubicBezTo>
                  <a:pt x="1384" y="429"/>
                  <a:pt x="1385" y="429"/>
                  <a:pt x="1387" y="429"/>
                </a:cubicBezTo>
                <a:cubicBezTo>
                  <a:pt x="1387" y="429"/>
                  <a:pt x="1388" y="429"/>
                  <a:pt x="1389" y="430"/>
                </a:cubicBezTo>
                <a:cubicBezTo>
                  <a:pt x="1391" y="431"/>
                  <a:pt x="1394" y="434"/>
                  <a:pt x="1396" y="436"/>
                </a:cubicBezTo>
                <a:cubicBezTo>
                  <a:pt x="1399" y="438"/>
                  <a:pt x="1401" y="440"/>
                  <a:pt x="1407" y="441"/>
                </a:cubicBezTo>
                <a:cubicBezTo>
                  <a:pt x="1408" y="441"/>
                  <a:pt x="1409" y="440"/>
                  <a:pt x="1410" y="440"/>
                </a:cubicBezTo>
                <a:cubicBezTo>
                  <a:pt x="1412" y="441"/>
                  <a:pt x="1417" y="446"/>
                  <a:pt x="1421" y="450"/>
                </a:cubicBezTo>
                <a:cubicBezTo>
                  <a:pt x="1423" y="451"/>
                  <a:pt x="1425" y="452"/>
                  <a:pt x="1427" y="452"/>
                </a:cubicBezTo>
                <a:cubicBezTo>
                  <a:pt x="1430" y="452"/>
                  <a:pt x="1433" y="451"/>
                  <a:pt x="1434" y="450"/>
                </a:cubicBezTo>
                <a:cubicBezTo>
                  <a:pt x="1435" y="448"/>
                  <a:pt x="1435" y="447"/>
                  <a:pt x="1436" y="447"/>
                </a:cubicBezTo>
                <a:cubicBezTo>
                  <a:pt x="1436" y="447"/>
                  <a:pt x="1437" y="448"/>
                  <a:pt x="1438" y="448"/>
                </a:cubicBezTo>
                <a:cubicBezTo>
                  <a:pt x="1444" y="454"/>
                  <a:pt x="1445" y="455"/>
                  <a:pt x="1445" y="456"/>
                </a:cubicBezTo>
                <a:cubicBezTo>
                  <a:pt x="1445" y="457"/>
                  <a:pt x="1447" y="459"/>
                  <a:pt x="1450" y="460"/>
                </a:cubicBezTo>
                <a:cubicBezTo>
                  <a:pt x="1452" y="460"/>
                  <a:pt x="1453" y="460"/>
                  <a:pt x="1454" y="460"/>
                </a:cubicBezTo>
                <a:cubicBezTo>
                  <a:pt x="1454" y="460"/>
                  <a:pt x="1454" y="460"/>
                  <a:pt x="1455" y="460"/>
                </a:cubicBezTo>
                <a:cubicBezTo>
                  <a:pt x="1461" y="460"/>
                  <a:pt x="1476" y="462"/>
                  <a:pt x="1476" y="462"/>
                </a:cubicBezTo>
                <a:cubicBezTo>
                  <a:pt x="1478" y="462"/>
                  <a:pt x="1479" y="462"/>
                  <a:pt x="1481" y="461"/>
                </a:cubicBezTo>
                <a:cubicBezTo>
                  <a:pt x="1482" y="460"/>
                  <a:pt x="1483" y="458"/>
                  <a:pt x="1483" y="457"/>
                </a:cubicBezTo>
                <a:cubicBezTo>
                  <a:pt x="1483" y="457"/>
                  <a:pt x="1483" y="456"/>
                  <a:pt x="1483" y="456"/>
                </a:cubicBezTo>
                <a:cubicBezTo>
                  <a:pt x="1483" y="455"/>
                  <a:pt x="1484" y="453"/>
                  <a:pt x="1484" y="452"/>
                </a:cubicBezTo>
                <a:cubicBezTo>
                  <a:pt x="1485" y="451"/>
                  <a:pt x="1485" y="451"/>
                  <a:pt x="1486" y="451"/>
                </a:cubicBezTo>
                <a:cubicBezTo>
                  <a:pt x="1487" y="451"/>
                  <a:pt x="1487" y="451"/>
                  <a:pt x="1488" y="451"/>
                </a:cubicBezTo>
                <a:cubicBezTo>
                  <a:pt x="1491" y="452"/>
                  <a:pt x="1494" y="454"/>
                  <a:pt x="1498" y="456"/>
                </a:cubicBezTo>
                <a:cubicBezTo>
                  <a:pt x="1499" y="458"/>
                  <a:pt x="1501" y="459"/>
                  <a:pt x="1502" y="460"/>
                </a:cubicBezTo>
                <a:cubicBezTo>
                  <a:pt x="1504" y="461"/>
                  <a:pt x="1505" y="462"/>
                  <a:pt x="1509" y="462"/>
                </a:cubicBezTo>
                <a:cubicBezTo>
                  <a:pt x="1511" y="462"/>
                  <a:pt x="1514" y="461"/>
                  <a:pt x="1515" y="459"/>
                </a:cubicBezTo>
                <a:cubicBezTo>
                  <a:pt x="1516" y="456"/>
                  <a:pt x="1516" y="455"/>
                  <a:pt x="1516" y="454"/>
                </a:cubicBezTo>
                <a:cubicBezTo>
                  <a:pt x="1516" y="453"/>
                  <a:pt x="1516" y="452"/>
                  <a:pt x="1516" y="452"/>
                </a:cubicBezTo>
                <a:cubicBezTo>
                  <a:pt x="1516" y="447"/>
                  <a:pt x="1516" y="442"/>
                  <a:pt x="1515" y="436"/>
                </a:cubicBezTo>
                <a:cubicBezTo>
                  <a:pt x="1514" y="431"/>
                  <a:pt x="1512" y="425"/>
                  <a:pt x="1506" y="420"/>
                </a:cubicBezTo>
                <a:cubicBezTo>
                  <a:pt x="1501" y="415"/>
                  <a:pt x="1494" y="412"/>
                  <a:pt x="1489" y="409"/>
                </a:cubicBezTo>
                <a:cubicBezTo>
                  <a:pt x="1487" y="407"/>
                  <a:pt x="1484" y="406"/>
                  <a:pt x="1483" y="405"/>
                </a:cubicBezTo>
                <a:cubicBezTo>
                  <a:pt x="1482" y="404"/>
                  <a:pt x="1481" y="404"/>
                  <a:pt x="1481" y="404"/>
                </a:cubicBezTo>
                <a:cubicBezTo>
                  <a:pt x="1481" y="404"/>
                  <a:pt x="1481" y="404"/>
                  <a:pt x="1481" y="404"/>
                </a:cubicBezTo>
                <a:cubicBezTo>
                  <a:pt x="1480" y="402"/>
                  <a:pt x="1479" y="401"/>
                  <a:pt x="1479" y="399"/>
                </a:cubicBezTo>
                <a:cubicBezTo>
                  <a:pt x="1484" y="400"/>
                  <a:pt x="1494" y="403"/>
                  <a:pt x="1499" y="407"/>
                </a:cubicBezTo>
                <a:cubicBezTo>
                  <a:pt x="1506" y="412"/>
                  <a:pt x="1512" y="418"/>
                  <a:pt x="1522" y="419"/>
                </a:cubicBezTo>
                <a:cubicBezTo>
                  <a:pt x="1525" y="419"/>
                  <a:pt x="1528" y="418"/>
                  <a:pt x="1531" y="415"/>
                </a:cubicBezTo>
                <a:cubicBezTo>
                  <a:pt x="1537" y="411"/>
                  <a:pt x="1545" y="408"/>
                  <a:pt x="1550" y="402"/>
                </a:cubicBezTo>
                <a:cubicBezTo>
                  <a:pt x="1554" y="397"/>
                  <a:pt x="1562" y="385"/>
                  <a:pt x="1562" y="385"/>
                </a:cubicBezTo>
                <a:cubicBezTo>
                  <a:pt x="1563" y="383"/>
                  <a:pt x="1564" y="381"/>
                  <a:pt x="1563" y="379"/>
                </a:cubicBezTo>
                <a:cubicBezTo>
                  <a:pt x="1562" y="377"/>
                  <a:pt x="1560" y="376"/>
                  <a:pt x="1558" y="376"/>
                </a:cubicBezTo>
                <a:cubicBezTo>
                  <a:pt x="1558" y="376"/>
                  <a:pt x="1550" y="374"/>
                  <a:pt x="1541" y="372"/>
                </a:cubicBezTo>
                <a:cubicBezTo>
                  <a:pt x="1536" y="371"/>
                  <a:pt x="1532" y="370"/>
                  <a:pt x="1528" y="369"/>
                </a:cubicBezTo>
                <a:cubicBezTo>
                  <a:pt x="1527" y="368"/>
                  <a:pt x="1525" y="368"/>
                  <a:pt x="1524" y="368"/>
                </a:cubicBezTo>
                <a:cubicBezTo>
                  <a:pt x="1524" y="367"/>
                  <a:pt x="1523" y="368"/>
                  <a:pt x="1523" y="368"/>
                </a:cubicBezTo>
                <a:cubicBezTo>
                  <a:pt x="1523" y="368"/>
                  <a:pt x="1523" y="368"/>
                  <a:pt x="1523" y="368"/>
                </a:cubicBezTo>
                <a:cubicBezTo>
                  <a:pt x="1520" y="360"/>
                  <a:pt x="1514" y="358"/>
                  <a:pt x="1509" y="354"/>
                </a:cubicBezTo>
                <a:cubicBezTo>
                  <a:pt x="1503" y="351"/>
                  <a:pt x="1498" y="348"/>
                  <a:pt x="1493" y="347"/>
                </a:cubicBezTo>
                <a:cubicBezTo>
                  <a:pt x="1489" y="347"/>
                  <a:pt x="1487" y="348"/>
                  <a:pt x="1485" y="349"/>
                </a:cubicBezTo>
                <a:cubicBezTo>
                  <a:pt x="1483" y="350"/>
                  <a:pt x="1481" y="350"/>
                  <a:pt x="1480" y="350"/>
                </a:cubicBezTo>
                <a:cubicBezTo>
                  <a:pt x="1478" y="350"/>
                  <a:pt x="1478" y="351"/>
                  <a:pt x="1477" y="347"/>
                </a:cubicBezTo>
                <a:cubicBezTo>
                  <a:pt x="1475" y="341"/>
                  <a:pt x="1473" y="333"/>
                  <a:pt x="1472" y="327"/>
                </a:cubicBezTo>
                <a:cubicBezTo>
                  <a:pt x="1472" y="324"/>
                  <a:pt x="1471" y="321"/>
                  <a:pt x="1470" y="319"/>
                </a:cubicBezTo>
                <a:cubicBezTo>
                  <a:pt x="1469" y="316"/>
                  <a:pt x="1468" y="313"/>
                  <a:pt x="1464" y="311"/>
                </a:cubicBezTo>
                <a:cubicBezTo>
                  <a:pt x="1460" y="310"/>
                  <a:pt x="1448" y="308"/>
                  <a:pt x="1434" y="305"/>
                </a:cubicBezTo>
                <a:cubicBezTo>
                  <a:pt x="1427" y="304"/>
                  <a:pt x="1420" y="302"/>
                  <a:pt x="1415" y="301"/>
                </a:cubicBezTo>
                <a:cubicBezTo>
                  <a:pt x="1410" y="300"/>
                  <a:pt x="1405" y="298"/>
                  <a:pt x="1405" y="298"/>
                </a:cubicBezTo>
                <a:cubicBezTo>
                  <a:pt x="1401" y="295"/>
                  <a:pt x="1392" y="292"/>
                  <a:pt x="1383" y="288"/>
                </a:cubicBezTo>
                <a:cubicBezTo>
                  <a:pt x="1374" y="285"/>
                  <a:pt x="1365" y="280"/>
                  <a:pt x="1360" y="278"/>
                </a:cubicBezTo>
                <a:cubicBezTo>
                  <a:pt x="1350" y="271"/>
                  <a:pt x="1335" y="260"/>
                  <a:pt x="1322" y="260"/>
                </a:cubicBezTo>
                <a:cubicBezTo>
                  <a:pt x="1313" y="260"/>
                  <a:pt x="1283" y="264"/>
                  <a:pt x="1272" y="264"/>
                </a:cubicBezTo>
                <a:cubicBezTo>
                  <a:pt x="1271" y="264"/>
                  <a:pt x="1270" y="264"/>
                  <a:pt x="1270" y="264"/>
                </a:cubicBezTo>
                <a:cubicBezTo>
                  <a:pt x="1268" y="264"/>
                  <a:pt x="1266" y="264"/>
                  <a:pt x="1265" y="264"/>
                </a:cubicBezTo>
                <a:cubicBezTo>
                  <a:pt x="1255" y="264"/>
                  <a:pt x="1239" y="267"/>
                  <a:pt x="1232" y="268"/>
                </a:cubicBezTo>
                <a:cubicBezTo>
                  <a:pt x="1230" y="269"/>
                  <a:pt x="1228" y="270"/>
                  <a:pt x="1226" y="271"/>
                </a:cubicBezTo>
                <a:cubicBezTo>
                  <a:pt x="1225" y="273"/>
                  <a:pt x="1225" y="275"/>
                  <a:pt x="1225" y="277"/>
                </a:cubicBezTo>
                <a:cubicBezTo>
                  <a:pt x="1225" y="283"/>
                  <a:pt x="1228" y="287"/>
                  <a:pt x="1227" y="290"/>
                </a:cubicBezTo>
                <a:cubicBezTo>
                  <a:pt x="1227" y="291"/>
                  <a:pt x="1229" y="290"/>
                  <a:pt x="1224" y="292"/>
                </a:cubicBezTo>
                <a:cubicBezTo>
                  <a:pt x="1222" y="292"/>
                  <a:pt x="1220" y="293"/>
                  <a:pt x="1219" y="293"/>
                </a:cubicBezTo>
                <a:cubicBezTo>
                  <a:pt x="1219" y="291"/>
                  <a:pt x="1220" y="288"/>
                  <a:pt x="1220" y="285"/>
                </a:cubicBezTo>
                <a:cubicBezTo>
                  <a:pt x="1221" y="283"/>
                  <a:pt x="1221" y="280"/>
                  <a:pt x="1221" y="278"/>
                </a:cubicBezTo>
                <a:cubicBezTo>
                  <a:pt x="1221" y="272"/>
                  <a:pt x="1219" y="267"/>
                  <a:pt x="1215" y="263"/>
                </a:cubicBezTo>
                <a:cubicBezTo>
                  <a:pt x="1214" y="261"/>
                  <a:pt x="1212" y="260"/>
                  <a:pt x="1210" y="260"/>
                </a:cubicBezTo>
                <a:cubicBezTo>
                  <a:pt x="1210" y="260"/>
                  <a:pt x="1210" y="260"/>
                  <a:pt x="1211" y="260"/>
                </a:cubicBezTo>
                <a:cubicBezTo>
                  <a:pt x="1213" y="260"/>
                  <a:pt x="1216" y="259"/>
                  <a:pt x="1219" y="260"/>
                </a:cubicBezTo>
                <a:cubicBezTo>
                  <a:pt x="1234" y="261"/>
                  <a:pt x="1256" y="263"/>
                  <a:pt x="1271" y="263"/>
                </a:cubicBezTo>
                <a:cubicBezTo>
                  <a:pt x="1274" y="263"/>
                  <a:pt x="1276" y="263"/>
                  <a:pt x="1278" y="263"/>
                </a:cubicBezTo>
                <a:cubicBezTo>
                  <a:pt x="1286" y="262"/>
                  <a:pt x="1291" y="260"/>
                  <a:pt x="1295" y="257"/>
                </a:cubicBezTo>
                <a:cubicBezTo>
                  <a:pt x="1299" y="254"/>
                  <a:pt x="1301" y="250"/>
                  <a:pt x="1302" y="249"/>
                </a:cubicBezTo>
                <a:cubicBezTo>
                  <a:pt x="1302" y="248"/>
                  <a:pt x="1302" y="247"/>
                  <a:pt x="1302" y="246"/>
                </a:cubicBezTo>
                <a:cubicBezTo>
                  <a:pt x="1302" y="242"/>
                  <a:pt x="1300" y="241"/>
                  <a:pt x="1299" y="240"/>
                </a:cubicBezTo>
                <a:cubicBezTo>
                  <a:pt x="1295" y="237"/>
                  <a:pt x="1289" y="235"/>
                  <a:pt x="1282" y="233"/>
                </a:cubicBezTo>
                <a:cubicBezTo>
                  <a:pt x="1275" y="231"/>
                  <a:pt x="1269" y="230"/>
                  <a:pt x="1264" y="230"/>
                </a:cubicBezTo>
                <a:cubicBezTo>
                  <a:pt x="1263" y="230"/>
                  <a:pt x="1262" y="230"/>
                  <a:pt x="1261" y="230"/>
                </a:cubicBezTo>
                <a:cubicBezTo>
                  <a:pt x="1259" y="231"/>
                  <a:pt x="1247" y="231"/>
                  <a:pt x="1235" y="231"/>
                </a:cubicBezTo>
                <a:cubicBezTo>
                  <a:pt x="1223" y="231"/>
                  <a:pt x="1210" y="231"/>
                  <a:pt x="1205" y="230"/>
                </a:cubicBezTo>
                <a:cubicBezTo>
                  <a:pt x="1199" y="230"/>
                  <a:pt x="1193" y="230"/>
                  <a:pt x="1186" y="230"/>
                </a:cubicBezTo>
                <a:cubicBezTo>
                  <a:pt x="1180" y="230"/>
                  <a:pt x="1174" y="228"/>
                  <a:pt x="1169" y="232"/>
                </a:cubicBezTo>
                <a:cubicBezTo>
                  <a:pt x="1169" y="232"/>
                  <a:pt x="1168" y="232"/>
                  <a:pt x="1168" y="232"/>
                </a:cubicBezTo>
                <a:cubicBezTo>
                  <a:pt x="1163" y="232"/>
                  <a:pt x="1157" y="225"/>
                  <a:pt x="1150" y="220"/>
                </a:cubicBezTo>
                <a:cubicBezTo>
                  <a:pt x="1147" y="218"/>
                  <a:pt x="1141" y="213"/>
                  <a:pt x="1135" y="208"/>
                </a:cubicBezTo>
                <a:cubicBezTo>
                  <a:pt x="1129" y="204"/>
                  <a:pt x="1123" y="199"/>
                  <a:pt x="1116" y="197"/>
                </a:cubicBezTo>
                <a:cubicBezTo>
                  <a:pt x="1107" y="196"/>
                  <a:pt x="1109" y="196"/>
                  <a:pt x="1090" y="190"/>
                </a:cubicBezTo>
                <a:cubicBezTo>
                  <a:pt x="1085" y="189"/>
                  <a:pt x="1078" y="187"/>
                  <a:pt x="1073" y="186"/>
                </a:cubicBezTo>
                <a:cubicBezTo>
                  <a:pt x="1071" y="185"/>
                  <a:pt x="1068" y="184"/>
                  <a:pt x="1067" y="184"/>
                </a:cubicBezTo>
                <a:cubicBezTo>
                  <a:pt x="1067" y="184"/>
                  <a:pt x="1067" y="184"/>
                  <a:pt x="1067" y="184"/>
                </a:cubicBezTo>
                <a:cubicBezTo>
                  <a:pt x="1067" y="184"/>
                  <a:pt x="1067" y="183"/>
                  <a:pt x="1067" y="183"/>
                </a:cubicBezTo>
                <a:cubicBezTo>
                  <a:pt x="1066" y="182"/>
                  <a:pt x="1064" y="180"/>
                  <a:pt x="1062" y="180"/>
                </a:cubicBezTo>
                <a:cubicBezTo>
                  <a:pt x="1059" y="181"/>
                  <a:pt x="1058" y="182"/>
                  <a:pt x="1057" y="182"/>
                </a:cubicBezTo>
                <a:cubicBezTo>
                  <a:pt x="1056" y="184"/>
                  <a:pt x="1056" y="184"/>
                  <a:pt x="1056" y="185"/>
                </a:cubicBezTo>
                <a:cubicBezTo>
                  <a:pt x="1055" y="187"/>
                  <a:pt x="1055" y="190"/>
                  <a:pt x="1055" y="193"/>
                </a:cubicBezTo>
                <a:cubicBezTo>
                  <a:pt x="1055" y="198"/>
                  <a:pt x="1056" y="205"/>
                  <a:pt x="1063" y="209"/>
                </a:cubicBezTo>
                <a:cubicBezTo>
                  <a:pt x="1071" y="214"/>
                  <a:pt x="1085" y="222"/>
                  <a:pt x="1096" y="227"/>
                </a:cubicBezTo>
                <a:cubicBezTo>
                  <a:pt x="1102" y="230"/>
                  <a:pt x="1109" y="231"/>
                  <a:pt x="1115" y="233"/>
                </a:cubicBezTo>
                <a:cubicBezTo>
                  <a:pt x="1122" y="235"/>
                  <a:pt x="1127" y="237"/>
                  <a:pt x="1128" y="240"/>
                </a:cubicBezTo>
                <a:cubicBezTo>
                  <a:pt x="1137" y="252"/>
                  <a:pt x="1158" y="258"/>
                  <a:pt x="1158" y="258"/>
                </a:cubicBezTo>
                <a:cubicBezTo>
                  <a:pt x="1160" y="259"/>
                  <a:pt x="1160" y="259"/>
                  <a:pt x="1160" y="259"/>
                </a:cubicBezTo>
                <a:cubicBezTo>
                  <a:pt x="1184" y="261"/>
                  <a:pt x="1184" y="261"/>
                  <a:pt x="1184" y="261"/>
                </a:cubicBezTo>
                <a:cubicBezTo>
                  <a:pt x="1178" y="265"/>
                  <a:pt x="1170" y="268"/>
                  <a:pt x="1163" y="271"/>
                </a:cubicBezTo>
                <a:cubicBezTo>
                  <a:pt x="1160" y="272"/>
                  <a:pt x="1156" y="274"/>
                  <a:pt x="1153" y="276"/>
                </a:cubicBezTo>
                <a:cubicBezTo>
                  <a:pt x="1151" y="278"/>
                  <a:pt x="1148" y="282"/>
                  <a:pt x="1148" y="287"/>
                </a:cubicBezTo>
                <a:cubicBezTo>
                  <a:pt x="1147" y="289"/>
                  <a:pt x="1148" y="291"/>
                  <a:pt x="1149" y="293"/>
                </a:cubicBezTo>
                <a:cubicBezTo>
                  <a:pt x="1151" y="296"/>
                  <a:pt x="1151" y="298"/>
                  <a:pt x="1151" y="303"/>
                </a:cubicBezTo>
                <a:cubicBezTo>
                  <a:pt x="1152" y="308"/>
                  <a:pt x="1154" y="315"/>
                  <a:pt x="1161" y="320"/>
                </a:cubicBezTo>
                <a:cubicBezTo>
                  <a:pt x="1167" y="326"/>
                  <a:pt x="1172" y="329"/>
                  <a:pt x="1178" y="331"/>
                </a:cubicBezTo>
                <a:cubicBezTo>
                  <a:pt x="1178" y="331"/>
                  <a:pt x="1177" y="331"/>
                  <a:pt x="1177" y="331"/>
                </a:cubicBezTo>
                <a:cubicBezTo>
                  <a:pt x="1172" y="331"/>
                  <a:pt x="1168" y="334"/>
                  <a:pt x="1164" y="337"/>
                </a:cubicBezTo>
                <a:cubicBezTo>
                  <a:pt x="1162" y="338"/>
                  <a:pt x="1160" y="340"/>
                  <a:pt x="1159" y="341"/>
                </a:cubicBezTo>
                <a:cubicBezTo>
                  <a:pt x="1159" y="340"/>
                  <a:pt x="1158" y="339"/>
                  <a:pt x="1158" y="338"/>
                </a:cubicBezTo>
                <a:cubicBezTo>
                  <a:pt x="1153" y="327"/>
                  <a:pt x="1142" y="318"/>
                  <a:pt x="1138" y="316"/>
                </a:cubicBezTo>
                <a:cubicBezTo>
                  <a:pt x="1136" y="312"/>
                  <a:pt x="1128" y="301"/>
                  <a:pt x="1122" y="295"/>
                </a:cubicBezTo>
                <a:cubicBezTo>
                  <a:pt x="1120" y="293"/>
                  <a:pt x="1118" y="292"/>
                  <a:pt x="1116" y="290"/>
                </a:cubicBezTo>
                <a:cubicBezTo>
                  <a:pt x="1122" y="290"/>
                  <a:pt x="1129" y="289"/>
                  <a:pt x="1133" y="288"/>
                </a:cubicBezTo>
                <a:cubicBezTo>
                  <a:pt x="1142" y="287"/>
                  <a:pt x="1144" y="279"/>
                  <a:pt x="1145" y="273"/>
                </a:cubicBezTo>
                <a:cubicBezTo>
                  <a:pt x="1145" y="269"/>
                  <a:pt x="1142" y="261"/>
                  <a:pt x="1134" y="260"/>
                </a:cubicBezTo>
                <a:cubicBezTo>
                  <a:pt x="1132" y="260"/>
                  <a:pt x="1130" y="259"/>
                  <a:pt x="1127" y="257"/>
                </a:cubicBezTo>
                <a:cubicBezTo>
                  <a:pt x="1124" y="256"/>
                  <a:pt x="1121" y="254"/>
                  <a:pt x="1116" y="253"/>
                </a:cubicBezTo>
                <a:cubicBezTo>
                  <a:pt x="1115" y="253"/>
                  <a:pt x="1114" y="253"/>
                  <a:pt x="1113" y="254"/>
                </a:cubicBezTo>
                <a:cubicBezTo>
                  <a:pt x="1114" y="252"/>
                  <a:pt x="1115" y="250"/>
                  <a:pt x="1115" y="248"/>
                </a:cubicBezTo>
                <a:cubicBezTo>
                  <a:pt x="1115" y="247"/>
                  <a:pt x="1115" y="245"/>
                  <a:pt x="1115" y="244"/>
                </a:cubicBezTo>
                <a:cubicBezTo>
                  <a:pt x="1115" y="244"/>
                  <a:pt x="1115" y="244"/>
                  <a:pt x="1115" y="244"/>
                </a:cubicBezTo>
                <a:cubicBezTo>
                  <a:pt x="1111" y="235"/>
                  <a:pt x="1101" y="230"/>
                  <a:pt x="1093" y="230"/>
                </a:cubicBezTo>
                <a:cubicBezTo>
                  <a:pt x="1086" y="230"/>
                  <a:pt x="1079" y="233"/>
                  <a:pt x="1076" y="241"/>
                </a:cubicBezTo>
                <a:cubicBezTo>
                  <a:pt x="1076" y="242"/>
                  <a:pt x="1076" y="243"/>
                  <a:pt x="1076" y="244"/>
                </a:cubicBezTo>
                <a:cubicBezTo>
                  <a:pt x="1076" y="251"/>
                  <a:pt x="1081" y="254"/>
                  <a:pt x="1086" y="256"/>
                </a:cubicBezTo>
                <a:cubicBezTo>
                  <a:pt x="1090" y="258"/>
                  <a:pt x="1095" y="259"/>
                  <a:pt x="1100" y="259"/>
                </a:cubicBezTo>
                <a:cubicBezTo>
                  <a:pt x="1101" y="259"/>
                  <a:pt x="1101" y="259"/>
                  <a:pt x="1102" y="259"/>
                </a:cubicBezTo>
                <a:cubicBezTo>
                  <a:pt x="1099" y="260"/>
                  <a:pt x="1096" y="262"/>
                  <a:pt x="1093" y="263"/>
                </a:cubicBezTo>
                <a:cubicBezTo>
                  <a:pt x="1089" y="266"/>
                  <a:pt x="1086" y="268"/>
                  <a:pt x="1084" y="270"/>
                </a:cubicBezTo>
                <a:cubicBezTo>
                  <a:pt x="1081" y="273"/>
                  <a:pt x="1078" y="275"/>
                  <a:pt x="1078" y="280"/>
                </a:cubicBezTo>
                <a:cubicBezTo>
                  <a:pt x="1078" y="281"/>
                  <a:pt x="1078" y="282"/>
                  <a:pt x="1079" y="283"/>
                </a:cubicBezTo>
                <a:cubicBezTo>
                  <a:pt x="1081" y="289"/>
                  <a:pt x="1086" y="292"/>
                  <a:pt x="1094" y="293"/>
                </a:cubicBezTo>
                <a:cubicBezTo>
                  <a:pt x="1093" y="295"/>
                  <a:pt x="1092" y="297"/>
                  <a:pt x="1091" y="299"/>
                </a:cubicBezTo>
                <a:cubicBezTo>
                  <a:pt x="1091" y="301"/>
                  <a:pt x="1091" y="302"/>
                  <a:pt x="1091" y="303"/>
                </a:cubicBezTo>
                <a:cubicBezTo>
                  <a:pt x="1091" y="311"/>
                  <a:pt x="1094" y="318"/>
                  <a:pt x="1098" y="329"/>
                </a:cubicBezTo>
                <a:cubicBezTo>
                  <a:pt x="1101" y="336"/>
                  <a:pt x="1103" y="347"/>
                  <a:pt x="1103" y="354"/>
                </a:cubicBezTo>
                <a:cubicBezTo>
                  <a:pt x="1103" y="356"/>
                  <a:pt x="1103" y="357"/>
                  <a:pt x="1103" y="358"/>
                </a:cubicBezTo>
                <a:cubicBezTo>
                  <a:pt x="1095" y="360"/>
                  <a:pt x="1093" y="361"/>
                  <a:pt x="1086" y="364"/>
                </a:cubicBezTo>
                <a:cubicBezTo>
                  <a:pt x="1085" y="364"/>
                  <a:pt x="1085" y="364"/>
                  <a:pt x="1084" y="364"/>
                </a:cubicBezTo>
                <a:cubicBezTo>
                  <a:pt x="1084" y="364"/>
                  <a:pt x="1084" y="364"/>
                  <a:pt x="1084" y="364"/>
                </a:cubicBezTo>
                <a:cubicBezTo>
                  <a:pt x="1084" y="364"/>
                  <a:pt x="1084" y="363"/>
                  <a:pt x="1083" y="362"/>
                </a:cubicBezTo>
                <a:cubicBezTo>
                  <a:pt x="1083" y="360"/>
                  <a:pt x="1082" y="357"/>
                  <a:pt x="1082" y="354"/>
                </a:cubicBezTo>
                <a:cubicBezTo>
                  <a:pt x="1082" y="345"/>
                  <a:pt x="1080" y="337"/>
                  <a:pt x="1080" y="333"/>
                </a:cubicBezTo>
                <a:cubicBezTo>
                  <a:pt x="1080" y="333"/>
                  <a:pt x="1080" y="332"/>
                  <a:pt x="1080" y="332"/>
                </a:cubicBezTo>
                <a:cubicBezTo>
                  <a:pt x="1080" y="332"/>
                  <a:pt x="1080" y="332"/>
                  <a:pt x="1080" y="332"/>
                </a:cubicBezTo>
                <a:cubicBezTo>
                  <a:pt x="1081" y="331"/>
                  <a:pt x="1081" y="330"/>
                  <a:pt x="1081" y="329"/>
                </a:cubicBezTo>
                <a:cubicBezTo>
                  <a:pt x="1082" y="327"/>
                  <a:pt x="1080" y="324"/>
                  <a:pt x="1078" y="323"/>
                </a:cubicBezTo>
                <a:cubicBezTo>
                  <a:pt x="1076" y="322"/>
                  <a:pt x="1075" y="322"/>
                  <a:pt x="1075" y="322"/>
                </a:cubicBezTo>
                <a:cubicBezTo>
                  <a:pt x="1070" y="322"/>
                  <a:pt x="1066" y="324"/>
                  <a:pt x="1060" y="324"/>
                </a:cubicBezTo>
                <a:cubicBezTo>
                  <a:pt x="1059" y="324"/>
                  <a:pt x="1057" y="324"/>
                  <a:pt x="1056" y="323"/>
                </a:cubicBezTo>
                <a:cubicBezTo>
                  <a:pt x="1054" y="323"/>
                  <a:pt x="1052" y="323"/>
                  <a:pt x="1050" y="323"/>
                </a:cubicBezTo>
                <a:cubicBezTo>
                  <a:pt x="1046" y="323"/>
                  <a:pt x="1043" y="324"/>
                  <a:pt x="1040" y="325"/>
                </a:cubicBezTo>
                <a:cubicBezTo>
                  <a:pt x="1037" y="327"/>
                  <a:pt x="1034" y="330"/>
                  <a:pt x="1034" y="334"/>
                </a:cubicBezTo>
                <a:cubicBezTo>
                  <a:pt x="1034" y="340"/>
                  <a:pt x="1039" y="343"/>
                  <a:pt x="1043" y="345"/>
                </a:cubicBezTo>
                <a:cubicBezTo>
                  <a:pt x="1047" y="346"/>
                  <a:pt x="1049" y="350"/>
                  <a:pt x="1049" y="353"/>
                </a:cubicBezTo>
                <a:cubicBezTo>
                  <a:pt x="1049" y="356"/>
                  <a:pt x="1048" y="357"/>
                  <a:pt x="1046" y="358"/>
                </a:cubicBezTo>
                <a:cubicBezTo>
                  <a:pt x="1045" y="359"/>
                  <a:pt x="1038" y="360"/>
                  <a:pt x="1031" y="360"/>
                </a:cubicBezTo>
                <a:cubicBezTo>
                  <a:pt x="1015" y="360"/>
                  <a:pt x="995" y="358"/>
                  <a:pt x="987" y="358"/>
                </a:cubicBezTo>
                <a:cubicBezTo>
                  <a:pt x="980" y="358"/>
                  <a:pt x="972" y="359"/>
                  <a:pt x="966" y="359"/>
                </a:cubicBezTo>
                <a:cubicBezTo>
                  <a:pt x="963" y="359"/>
                  <a:pt x="960" y="359"/>
                  <a:pt x="959" y="358"/>
                </a:cubicBezTo>
                <a:cubicBezTo>
                  <a:pt x="957" y="358"/>
                  <a:pt x="958" y="357"/>
                  <a:pt x="958" y="357"/>
                </a:cubicBezTo>
                <a:cubicBezTo>
                  <a:pt x="957" y="357"/>
                  <a:pt x="957" y="357"/>
                  <a:pt x="957" y="357"/>
                </a:cubicBezTo>
                <a:cubicBezTo>
                  <a:pt x="957" y="357"/>
                  <a:pt x="957" y="357"/>
                  <a:pt x="958" y="357"/>
                </a:cubicBezTo>
                <a:cubicBezTo>
                  <a:pt x="959" y="355"/>
                  <a:pt x="967" y="352"/>
                  <a:pt x="970" y="352"/>
                </a:cubicBezTo>
                <a:cubicBezTo>
                  <a:pt x="972" y="352"/>
                  <a:pt x="973" y="352"/>
                  <a:pt x="975" y="352"/>
                </a:cubicBezTo>
                <a:cubicBezTo>
                  <a:pt x="986" y="352"/>
                  <a:pt x="1006" y="352"/>
                  <a:pt x="1017" y="335"/>
                </a:cubicBezTo>
                <a:cubicBezTo>
                  <a:pt x="1019" y="332"/>
                  <a:pt x="1020" y="329"/>
                  <a:pt x="1020" y="325"/>
                </a:cubicBezTo>
                <a:cubicBezTo>
                  <a:pt x="1020" y="317"/>
                  <a:pt x="1013" y="312"/>
                  <a:pt x="1007" y="311"/>
                </a:cubicBezTo>
                <a:cubicBezTo>
                  <a:pt x="1001" y="309"/>
                  <a:pt x="995" y="308"/>
                  <a:pt x="991" y="308"/>
                </a:cubicBezTo>
                <a:cubicBezTo>
                  <a:pt x="984" y="308"/>
                  <a:pt x="980" y="306"/>
                  <a:pt x="969" y="294"/>
                </a:cubicBezTo>
                <a:cubicBezTo>
                  <a:pt x="968" y="292"/>
                  <a:pt x="967" y="291"/>
                  <a:pt x="967" y="290"/>
                </a:cubicBezTo>
                <a:cubicBezTo>
                  <a:pt x="967" y="288"/>
                  <a:pt x="968" y="286"/>
                  <a:pt x="970" y="283"/>
                </a:cubicBezTo>
                <a:cubicBezTo>
                  <a:pt x="972" y="281"/>
                  <a:pt x="975" y="279"/>
                  <a:pt x="975" y="273"/>
                </a:cubicBezTo>
                <a:cubicBezTo>
                  <a:pt x="975" y="272"/>
                  <a:pt x="975" y="270"/>
                  <a:pt x="975" y="269"/>
                </a:cubicBezTo>
                <a:cubicBezTo>
                  <a:pt x="974" y="267"/>
                  <a:pt x="973" y="268"/>
                  <a:pt x="972" y="264"/>
                </a:cubicBezTo>
                <a:cubicBezTo>
                  <a:pt x="972" y="264"/>
                  <a:pt x="972" y="264"/>
                  <a:pt x="972" y="264"/>
                </a:cubicBezTo>
                <a:cubicBezTo>
                  <a:pt x="973" y="264"/>
                  <a:pt x="974" y="265"/>
                  <a:pt x="975" y="264"/>
                </a:cubicBezTo>
                <a:cubicBezTo>
                  <a:pt x="983" y="261"/>
                  <a:pt x="984" y="255"/>
                  <a:pt x="987" y="251"/>
                </a:cubicBezTo>
                <a:cubicBezTo>
                  <a:pt x="988" y="249"/>
                  <a:pt x="989" y="247"/>
                  <a:pt x="990" y="246"/>
                </a:cubicBezTo>
                <a:cubicBezTo>
                  <a:pt x="990" y="246"/>
                  <a:pt x="990" y="246"/>
                  <a:pt x="990" y="246"/>
                </a:cubicBezTo>
                <a:cubicBezTo>
                  <a:pt x="994" y="245"/>
                  <a:pt x="1000" y="244"/>
                  <a:pt x="1007" y="244"/>
                </a:cubicBezTo>
                <a:cubicBezTo>
                  <a:pt x="1009" y="244"/>
                  <a:pt x="1011" y="244"/>
                  <a:pt x="1013" y="245"/>
                </a:cubicBezTo>
                <a:cubicBezTo>
                  <a:pt x="1014" y="245"/>
                  <a:pt x="1014" y="245"/>
                  <a:pt x="1014" y="246"/>
                </a:cubicBezTo>
                <a:cubicBezTo>
                  <a:pt x="1015" y="249"/>
                  <a:pt x="1016" y="251"/>
                  <a:pt x="1018" y="253"/>
                </a:cubicBezTo>
                <a:cubicBezTo>
                  <a:pt x="1019" y="255"/>
                  <a:pt x="1023" y="256"/>
                  <a:pt x="1025" y="256"/>
                </a:cubicBezTo>
                <a:cubicBezTo>
                  <a:pt x="1028" y="256"/>
                  <a:pt x="1029" y="256"/>
                  <a:pt x="1031" y="256"/>
                </a:cubicBezTo>
                <a:cubicBezTo>
                  <a:pt x="1032" y="256"/>
                  <a:pt x="1033" y="256"/>
                  <a:pt x="1034" y="256"/>
                </a:cubicBezTo>
                <a:cubicBezTo>
                  <a:pt x="1034" y="256"/>
                  <a:pt x="1035" y="256"/>
                  <a:pt x="1035" y="256"/>
                </a:cubicBezTo>
                <a:cubicBezTo>
                  <a:pt x="1043" y="256"/>
                  <a:pt x="1049" y="251"/>
                  <a:pt x="1053" y="247"/>
                </a:cubicBezTo>
                <a:cubicBezTo>
                  <a:pt x="1057" y="242"/>
                  <a:pt x="1059" y="238"/>
                  <a:pt x="1060" y="234"/>
                </a:cubicBezTo>
                <a:cubicBezTo>
                  <a:pt x="1060" y="233"/>
                  <a:pt x="1060" y="232"/>
                  <a:pt x="1060" y="232"/>
                </a:cubicBezTo>
                <a:cubicBezTo>
                  <a:pt x="1060" y="223"/>
                  <a:pt x="1052" y="214"/>
                  <a:pt x="1038" y="214"/>
                </a:cubicBezTo>
                <a:cubicBezTo>
                  <a:pt x="1037" y="214"/>
                  <a:pt x="1035" y="214"/>
                  <a:pt x="1034" y="215"/>
                </a:cubicBezTo>
                <a:cubicBezTo>
                  <a:pt x="1031" y="215"/>
                  <a:pt x="1028" y="215"/>
                  <a:pt x="1023" y="215"/>
                </a:cubicBezTo>
                <a:cubicBezTo>
                  <a:pt x="1015" y="215"/>
                  <a:pt x="1005" y="215"/>
                  <a:pt x="995" y="215"/>
                </a:cubicBezTo>
                <a:cubicBezTo>
                  <a:pt x="989" y="215"/>
                  <a:pt x="983" y="215"/>
                  <a:pt x="978" y="215"/>
                </a:cubicBezTo>
                <a:cubicBezTo>
                  <a:pt x="973" y="216"/>
                  <a:pt x="969" y="216"/>
                  <a:pt x="965" y="220"/>
                </a:cubicBezTo>
                <a:cubicBezTo>
                  <a:pt x="965" y="220"/>
                  <a:pt x="965" y="220"/>
                  <a:pt x="965" y="220"/>
                </a:cubicBezTo>
                <a:cubicBezTo>
                  <a:pt x="961" y="224"/>
                  <a:pt x="961" y="230"/>
                  <a:pt x="960" y="234"/>
                </a:cubicBezTo>
                <a:cubicBezTo>
                  <a:pt x="960" y="240"/>
                  <a:pt x="961" y="246"/>
                  <a:pt x="961" y="248"/>
                </a:cubicBezTo>
                <a:cubicBezTo>
                  <a:pt x="960" y="250"/>
                  <a:pt x="960" y="251"/>
                  <a:pt x="960" y="253"/>
                </a:cubicBezTo>
                <a:cubicBezTo>
                  <a:pt x="960" y="256"/>
                  <a:pt x="961" y="258"/>
                  <a:pt x="963" y="261"/>
                </a:cubicBezTo>
                <a:cubicBezTo>
                  <a:pt x="963" y="261"/>
                  <a:pt x="964" y="262"/>
                  <a:pt x="965" y="263"/>
                </a:cubicBezTo>
                <a:cubicBezTo>
                  <a:pt x="964" y="263"/>
                  <a:pt x="963" y="263"/>
                  <a:pt x="963" y="263"/>
                </a:cubicBezTo>
                <a:cubicBezTo>
                  <a:pt x="957" y="263"/>
                  <a:pt x="950" y="264"/>
                  <a:pt x="945" y="264"/>
                </a:cubicBezTo>
                <a:cubicBezTo>
                  <a:pt x="945" y="264"/>
                  <a:pt x="945" y="264"/>
                  <a:pt x="945" y="264"/>
                </a:cubicBezTo>
                <a:cubicBezTo>
                  <a:pt x="945" y="264"/>
                  <a:pt x="946" y="263"/>
                  <a:pt x="948" y="262"/>
                </a:cubicBezTo>
                <a:cubicBezTo>
                  <a:pt x="950" y="260"/>
                  <a:pt x="954" y="257"/>
                  <a:pt x="955" y="252"/>
                </a:cubicBezTo>
                <a:cubicBezTo>
                  <a:pt x="955" y="247"/>
                  <a:pt x="959" y="229"/>
                  <a:pt x="959" y="229"/>
                </a:cubicBezTo>
                <a:cubicBezTo>
                  <a:pt x="959" y="228"/>
                  <a:pt x="959" y="227"/>
                  <a:pt x="959" y="225"/>
                </a:cubicBezTo>
                <a:cubicBezTo>
                  <a:pt x="958" y="225"/>
                  <a:pt x="956" y="216"/>
                  <a:pt x="945" y="215"/>
                </a:cubicBezTo>
                <a:cubicBezTo>
                  <a:pt x="942" y="215"/>
                  <a:pt x="940" y="216"/>
                  <a:pt x="938" y="217"/>
                </a:cubicBezTo>
                <a:cubicBezTo>
                  <a:pt x="931" y="221"/>
                  <a:pt x="928" y="223"/>
                  <a:pt x="927" y="222"/>
                </a:cubicBezTo>
                <a:cubicBezTo>
                  <a:pt x="927" y="222"/>
                  <a:pt x="928" y="222"/>
                  <a:pt x="924" y="222"/>
                </a:cubicBezTo>
                <a:cubicBezTo>
                  <a:pt x="924" y="222"/>
                  <a:pt x="924" y="222"/>
                  <a:pt x="924" y="222"/>
                </a:cubicBezTo>
                <a:cubicBezTo>
                  <a:pt x="924" y="222"/>
                  <a:pt x="923" y="219"/>
                  <a:pt x="920" y="216"/>
                </a:cubicBezTo>
                <a:cubicBezTo>
                  <a:pt x="918" y="212"/>
                  <a:pt x="914" y="208"/>
                  <a:pt x="907" y="208"/>
                </a:cubicBezTo>
                <a:cubicBezTo>
                  <a:pt x="906" y="208"/>
                  <a:pt x="905" y="208"/>
                  <a:pt x="903" y="208"/>
                </a:cubicBezTo>
                <a:cubicBezTo>
                  <a:pt x="888" y="211"/>
                  <a:pt x="884" y="223"/>
                  <a:pt x="882" y="224"/>
                </a:cubicBezTo>
                <a:cubicBezTo>
                  <a:pt x="881" y="226"/>
                  <a:pt x="875" y="228"/>
                  <a:pt x="874" y="228"/>
                </a:cubicBezTo>
                <a:cubicBezTo>
                  <a:pt x="874" y="228"/>
                  <a:pt x="874" y="228"/>
                  <a:pt x="874" y="228"/>
                </a:cubicBezTo>
                <a:cubicBezTo>
                  <a:pt x="870" y="224"/>
                  <a:pt x="854" y="215"/>
                  <a:pt x="854" y="215"/>
                </a:cubicBezTo>
                <a:cubicBezTo>
                  <a:pt x="853" y="214"/>
                  <a:pt x="852" y="214"/>
                  <a:pt x="851" y="214"/>
                </a:cubicBezTo>
                <a:cubicBezTo>
                  <a:pt x="858" y="213"/>
                  <a:pt x="866" y="210"/>
                  <a:pt x="870" y="210"/>
                </a:cubicBezTo>
                <a:cubicBezTo>
                  <a:pt x="871" y="210"/>
                  <a:pt x="871" y="210"/>
                  <a:pt x="872" y="210"/>
                </a:cubicBezTo>
                <a:cubicBezTo>
                  <a:pt x="875" y="213"/>
                  <a:pt x="878" y="214"/>
                  <a:pt x="882" y="214"/>
                </a:cubicBezTo>
                <a:cubicBezTo>
                  <a:pt x="885" y="214"/>
                  <a:pt x="888" y="213"/>
                  <a:pt x="891" y="212"/>
                </a:cubicBezTo>
                <a:cubicBezTo>
                  <a:pt x="893" y="210"/>
                  <a:pt x="896" y="208"/>
                  <a:pt x="897" y="203"/>
                </a:cubicBezTo>
                <a:cubicBezTo>
                  <a:pt x="897" y="202"/>
                  <a:pt x="896" y="202"/>
                  <a:pt x="896" y="201"/>
                </a:cubicBezTo>
                <a:cubicBezTo>
                  <a:pt x="896" y="201"/>
                  <a:pt x="896" y="201"/>
                  <a:pt x="896" y="201"/>
                </a:cubicBezTo>
                <a:cubicBezTo>
                  <a:pt x="896" y="199"/>
                  <a:pt x="897" y="194"/>
                  <a:pt x="897" y="188"/>
                </a:cubicBezTo>
                <a:cubicBezTo>
                  <a:pt x="897" y="185"/>
                  <a:pt x="897" y="182"/>
                  <a:pt x="896" y="179"/>
                </a:cubicBezTo>
                <a:cubicBezTo>
                  <a:pt x="895" y="176"/>
                  <a:pt x="891" y="172"/>
                  <a:pt x="887" y="172"/>
                </a:cubicBezTo>
                <a:cubicBezTo>
                  <a:pt x="886" y="172"/>
                  <a:pt x="886" y="172"/>
                  <a:pt x="885" y="172"/>
                </a:cubicBezTo>
                <a:cubicBezTo>
                  <a:pt x="872" y="173"/>
                  <a:pt x="860" y="184"/>
                  <a:pt x="848" y="188"/>
                </a:cubicBezTo>
                <a:cubicBezTo>
                  <a:pt x="842" y="191"/>
                  <a:pt x="838" y="196"/>
                  <a:pt x="838" y="202"/>
                </a:cubicBezTo>
                <a:cubicBezTo>
                  <a:pt x="838" y="206"/>
                  <a:pt x="841" y="212"/>
                  <a:pt x="847" y="213"/>
                </a:cubicBezTo>
                <a:cubicBezTo>
                  <a:pt x="843" y="213"/>
                  <a:pt x="838" y="213"/>
                  <a:pt x="832" y="212"/>
                </a:cubicBezTo>
                <a:cubicBezTo>
                  <a:pt x="828" y="211"/>
                  <a:pt x="823" y="211"/>
                  <a:pt x="820" y="210"/>
                </a:cubicBezTo>
                <a:cubicBezTo>
                  <a:pt x="819" y="210"/>
                  <a:pt x="818" y="209"/>
                  <a:pt x="817" y="209"/>
                </a:cubicBezTo>
                <a:cubicBezTo>
                  <a:pt x="815" y="202"/>
                  <a:pt x="807" y="193"/>
                  <a:pt x="792" y="193"/>
                </a:cubicBezTo>
                <a:cubicBezTo>
                  <a:pt x="790" y="193"/>
                  <a:pt x="788" y="193"/>
                  <a:pt x="787" y="193"/>
                </a:cubicBezTo>
                <a:cubicBezTo>
                  <a:pt x="777" y="194"/>
                  <a:pt x="766" y="198"/>
                  <a:pt x="756" y="201"/>
                </a:cubicBezTo>
                <a:cubicBezTo>
                  <a:pt x="751" y="203"/>
                  <a:pt x="746" y="204"/>
                  <a:pt x="742" y="206"/>
                </a:cubicBezTo>
                <a:cubicBezTo>
                  <a:pt x="741" y="206"/>
                  <a:pt x="739" y="207"/>
                  <a:pt x="738" y="207"/>
                </a:cubicBezTo>
                <a:cubicBezTo>
                  <a:pt x="737" y="207"/>
                  <a:pt x="737" y="207"/>
                  <a:pt x="737" y="207"/>
                </a:cubicBezTo>
                <a:cubicBezTo>
                  <a:pt x="737" y="207"/>
                  <a:pt x="737" y="207"/>
                  <a:pt x="737" y="207"/>
                </a:cubicBezTo>
                <a:cubicBezTo>
                  <a:pt x="735" y="207"/>
                  <a:pt x="733" y="208"/>
                  <a:pt x="732" y="209"/>
                </a:cubicBezTo>
                <a:cubicBezTo>
                  <a:pt x="730" y="211"/>
                  <a:pt x="729" y="213"/>
                  <a:pt x="729" y="214"/>
                </a:cubicBezTo>
                <a:cubicBezTo>
                  <a:pt x="730" y="216"/>
                  <a:pt x="730" y="217"/>
                  <a:pt x="730" y="218"/>
                </a:cubicBezTo>
                <a:cubicBezTo>
                  <a:pt x="728" y="218"/>
                  <a:pt x="725" y="219"/>
                  <a:pt x="722" y="220"/>
                </a:cubicBezTo>
                <a:cubicBezTo>
                  <a:pt x="719" y="221"/>
                  <a:pt x="715" y="225"/>
                  <a:pt x="714" y="230"/>
                </a:cubicBezTo>
                <a:cubicBezTo>
                  <a:pt x="714" y="231"/>
                  <a:pt x="714" y="232"/>
                  <a:pt x="714" y="233"/>
                </a:cubicBezTo>
                <a:cubicBezTo>
                  <a:pt x="713" y="236"/>
                  <a:pt x="715" y="239"/>
                  <a:pt x="717" y="240"/>
                </a:cubicBezTo>
                <a:cubicBezTo>
                  <a:pt x="723" y="244"/>
                  <a:pt x="729" y="243"/>
                  <a:pt x="736" y="243"/>
                </a:cubicBezTo>
                <a:cubicBezTo>
                  <a:pt x="736" y="243"/>
                  <a:pt x="736" y="243"/>
                  <a:pt x="737" y="243"/>
                </a:cubicBezTo>
                <a:cubicBezTo>
                  <a:pt x="742" y="243"/>
                  <a:pt x="748" y="243"/>
                  <a:pt x="754" y="243"/>
                </a:cubicBezTo>
                <a:cubicBezTo>
                  <a:pt x="761" y="242"/>
                  <a:pt x="766" y="242"/>
                  <a:pt x="771" y="240"/>
                </a:cubicBezTo>
                <a:cubicBezTo>
                  <a:pt x="772" y="239"/>
                  <a:pt x="783" y="236"/>
                  <a:pt x="788" y="236"/>
                </a:cubicBezTo>
                <a:cubicBezTo>
                  <a:pt x="788" y="236"/>
                  <a:pt x="788" y="236"/>
                  <a:pt x="788" y="236"/>
                </a:cubicBezTo>
                <a:cubicBezTo>
                  <a:pt x="788" y="240"/>
                  <a:pt x="789" y="241"/>
                  <a:pt x="790" y="244"/>
                </a:cubicBezTo>
                <a:cubicBezTo>
                  <a:pt x="790" y="244"/>
                  <a:pt x="789" y="244"/>
                  <a:pt x="789" y="244"/>
                </a:cubicBezTo>
                <a:cubicBezTo>
                  <a:pt x="788" y="243"/>
                  <a:pt x="787" y="243"/>
                  <a:pt x="786" y="243"/>
                </a:cubicBezTo>
                <a:cubicBezTo>
                  <a:pt x="779" y="243"/>
                  <a:pt x="774" y="246"/>
                  <a:pt x="771" y="248"/>
                </a:cubicBezTo>
                <a:cubicBezTo>
                  <a:pt x="767" y="250"/>
                  <a:pt x="766" y="251"/>
                  <a:pt x="762" y="251"/>
                </a:cubicBezTo>
                <a:cubicBezTo>
                  <a:pt x="761" y="251"/>
                  <a:pt x="760" y="251"/>
                  <a:pt x="758" y="250"/>
                </a:cubicBezTo>
                <a:cubicBezTo>
                  <a:pt x="754" y="250"/>
                  <a:pt x="750" y="249"/>
                  <a:pt x="747" y="249"/>
                </a:cubicBezTo>
                <a:cubicBezTo>
                  <a:pt x="739" y="249"/>
                  <a:pt x="734" y="251"/>
                  <a:pt x="727" y="251"/>
                </a:cubicBezTo>
                <a:cubicBezTo>
                  <a:pt x="725" y="251"/>
                  <a:pt x="723" y="251"/>
                  <a:pt x="721" y="250"/>
                </a:cubicBezTo>
                <a:cubicBezTo>
                  <a:pt x="715" y="250"/>
                  <a:pt x="711" y="249"/>
                  <a:pt x="706" y="249"/>
                </a:cubicBezTo>
                <a:cubicBezTo>
                  <a:pt x="703" y="249"/>
                  <a:pt x="699" y="250"/>
                  <a:pt x="695" y="252"/>
                </a:cubicBezTo>
                <a:cubicBezTo>
                  <a:pt x="692" y="254"/>
                  <a:pt x="689" y="258"/>
                  <a:pt x="688" y="262"/>
                </a:cubicBezTo>
                <a:cubicBezTo>
                  <a:pt x="687" y="267"/>
                  <a:pt x="685" y="273"/>
                  <a:pt x="683" y="278"/>
                </a:cubicBezTo>
                <a:cubicBezTo>
                  <a:pt x="682" y="280"/>
                  <a:pt x="681" y="282"/>
                  <a:pt x="681" y="283"/>
                </a:cubicBezTo>
                <a:cubicBezTo>
                  <a:pt x="680" y="283"/>
                  <a:pt x="680" y="283"/>
                  <a:pt x="680" y="283"/>
                </a:cubicBezTo>
                <a:cubicBezTo>
                  <a:pt x="677" y="284"/>
                  <a:pt x="674" y="285"/>
                  <a:pt x="672" y="286"/>
                </a:cubicBezTo>
                <a:cubicBezTo>
                  <a:pt x="670" y="288"/>
                  <a:pt x="667" y="290"/>
                  <a:pt x="667" y="295"/>
                </a:cubicBezTo>
                <a:cubicBezTo>
                  <a:pt x="667" y="299"/>
                  <a:pt x="670" y="302"/>
                  <a:pt x="674" y="304"/>
                </a:cubicBezTo>
                <a:cubicBezTo>
                  <a:pt x="677" y="305"/>
                  <a:pt x="681" y="306"/>
                  <a:pt x="687" y="306"/>
                </a:cubicBezTo>
                <a:cubicBezTo>
                  <a:pt x="696" y="308"/>
                  <a:pt x="695" y="309"/>
                  <a:pt x="697" y="311"/>
                </a:cubicBezTo>
                <a:cubicBezTo>
                  <a:pt x="698" y="312"/>
                  <a:pt x="699" y="314"/>
                  <a:pt x="702" y="316"/>
                </a:cubicBezTo>
                <a:cubicBezTo>
                  <a:pt x="705" y="318"/>
                  <a:pt x="709" y="319"/>
                  <a:pt x="713" y="319"/>
                </a:cubicBezTo>
                <a:cubicBezTo>
                  <a:pt x="714" y="319"/>
                  <a:pt x="715" y="319"/>
                  <a:pt x="716" y="319"/>
                </a:cubicBezTo>
                <a:cubicBezTo>
                  <a:pt x="726" y="318"/>
                  <a:pt x="736" y="318"/>
                  <a:pt x="744" y="316"/>
                </a:cubicBezTo>
                <a:cubicBezTo>
                  <a:pt x="752" y="315"/>
                  <a:pt x="760" y="311"/>
                  <a:pt x="763" y="303"/>
                </a:cubicBezTo>
                <a:cubicBezTo>
                  <a:pt x="764" y="302"/>
                  <a:pt x="764" y="301"/>
                  <a:pt x="764" y="300"/>
                </a:cubicBezTo>
                <a:cubicBezTo>
                  <a:pt x="770" y="308"/>
                  <a:pt x="782" y="326"/>
                  <a:pt x="782" y="326"/>
                </a:cubicBezTo>
                <a:cubicBezTo>
                  <a:pt x="783" y="327"/>
                  <a:pt x="783" y="327"/>
                  <a:pt x="783" y="327"/>
                </a:cubicBezTo>
                <a:cubicBezTo>
                  <a:pt x="783" y="327"/>
                  <a:pt x="791" y="335"/>
                  <a:pt x="798" y="340"/>
                </a:cubicBezTo>
                <a:cubicBezTo>
                  <a:pt x="797" y="340"/>
                  <a:pt x="796" y="341"/>
                  <a:pt x="795" y="341"/>
                </a:cubicBezTo>
                <a:cubicBezTo>
                  <a:pt x="795" y="341"/>
                  <a:pt x="794" y="341"/>
                  <a:pt x="793" y="340"/>
                </a:cubicBezTo>
                <a:cubicBezTo>
                  <a:pt x="787" y="335"/>
                  <a:pt x="780" y="334"/>
                  <a:pt x="773" y="332"/>
                </a:cubicBezTo>
                <a:cubicBezTo>
                  <a:pt x="767" y="331"/>
                  <a:pt x="762" y="329"/>
                  <a:pt x="761" y="328"/>
                </a:cubicBezTo>
                <a:cubicBezTo>
                  <a:pt x="756" y="324"/>
                  <a:pt x="750" y="322"/>
                  <a:pt x="743" y="321"/>
                </a:cubicBezTo>
                <a:cubicBezTo>
                  <a:pt x="737" y="320"/>
                  <a:pt x="729" y="320"/>
                  <a:pt x="723" y="320"/>
                </a:cubicBezTo>
                <a:cubicBezTo>
                  <a:pt x="717" y="320"/>
                  <a:pt x="712" y="320"/>
                  <a:pt x="709" y="321"/>
                </a:cubicBezTo>
                <a:cubicBezTo>
                  <a:pt x="709" y="321"/>
                  <a:pt x="708" y="321"/>
                  <a:pt x="707" y="321"/>
                </a:cubicBezTo>
                <a:cubicBezTo>
                  <a:pt x="704" y="321"/>
                  <a:pt x="700" y="320"/>
                  <a:pt x="696" y="319"/>
                </a:cubicBezTo>
                <a:cubicBezTo>
                  <a:pt x="691" y="318"/>
                  <a:pt x="688" y="317"/>
                  <a:pt x="684" y="316"/>
                </a:cubicBezTo>
                <a:cubicBezTo>
                  <a:pt x="680" y="317"/>
                  <a:pt x="678" y="318"/>
                  <a:pt x="676" y="320"/>
                </a:cubicBezTo>
                <a:cubicBezTo>
                  <a:pt x="672" y="322"/>
                  <a:pt x="669" y="324"/>
                  <a:pt x="666" y="327"/>
                </a:cubicBezTo>
                <a:cubicBezTo>
                  <a:pt x="664" y="323"/>
                  <a:pt x="662" y="319"/>
                  <a:pt x="660" y="317"/>
                </a:cubicBezTo>
                <a:cubicBezTo>
                  <a:pt x="659" y="314"/>
                  <a:pt x="656" y="312"/>
                  <a:pt x="653" y="312"/>
                </a:cubicBezTo>
                <a:cubicBezTo>
                  <a:pt x="647" y="313"/>
                  <a:pt x="645" y="316"/>
                  <a:pt x="643" y="318"/>
                </a:cubicBezTo>
                <a:cubicBezTo>
                  <a:pt x="642" y="319"/>
                  <a:pt x="641" y="320"/>
                  <a:pt x="640" y="320"/>
                </a:cubicBezTo>
                <a:cubicBezTo>
                  <a:pt x="640" y="320"/>
                  <a:pt x="640" y="320"/>
                  <a:pt x="640" y="321"/>
                </a:cubicBezTo>
                <a:cubicBezTo>
                  <a:pt x="637" y="320"/>
                  <a:pt x="627" y="314"/>
                  <a:pt x="617" y="314"/>
                </a:cubicBezTo>
                <a:cubicBezTo>
                  <a:pt x="613" y="314"/>
                  <a:pt x="610" y="314"/>
                  <a:pt x="607" y="316"/>
                </a:cubicBezTo>
                <a:cubicBezTo>
                  <a:pt x="600" y="318"/>
                  <a:pt x="596" y="322"/>
                  <a:pt x="594" y="323"/>
                </a:cubicBezTo>
                <a:cubicBezTo>
                  <a:pt x="592" y="324"/>
                  <a:pt x="592" y="325"/>
                  <a:pt x="586" y="325"/>
                </a:cubicBezTo>
                <a:cubicBezTo>
                  <a:pt x="584" y="325"/>
                  <a:pt x="583" y="325"/>
                  <a:pt x="581" y="325"/>
                </a:cubicBezTo>
                <a:cubicBezTo>
                  <a:pt x="564" y="324"/>
                  <a:pt x="560" y="321"/>
                  <a:pt x="552" y="320"/>
                </a:cubicBezTo>
                <a:cubicBezTo>
                  <a:pt x="551" y="320"/>
                  <a:pt x="549" y="320"/>
                  <a:pt x="548" y="321"/>
                </a:cubicBezTo>
                <a:cubicBezTo>
                  <a:pt x="541" y="322"/>
                  <a:pt x="541" y="322"/>
                  <a:pt x="541" y="322"/>
                </a:cubicBezTo>
                <a:cubicBezTo>
                  <a:pt x="538" y="323"/>
                  <a:pt x="536" y="326"/>
                  <a:pt x="536" y="329"/>
                </a:cubicBezTo>
                <a:cubicBezTo>
                  <a:pt x="536" y="329"/>
                  <a:pt x="537" y="331"/>
                  <a:pt x="532" y="334"/>
                </a:cubicBezTo>
                <a:cubicBezTo>
                  <a:pt x="529" y="336"/>
                  <a:pt x="527" y="338"/>
                  <a:pt x="525" y="339"/>
                </a:cubicBezTo>
                <a:cubicBezTo>
                  <a:pt x="524" y="340"/>
                  <a:pt x="523" y="341"/>
                  <a:pt x="522" y="341"/>
                </a:cubicBezTo>
                <a:cubicBezTo>
                  <a:pt x="522" y="341"/>
                  <a:pt x="522" y="341"/>
                  <a:pt x="522" y="341"/>
                </a:cubicBezTo>
                <a:cubicBezTo>
                  <a:pt x="522" y="341"/>
                  <a:pt x="521" y="340"/>
                  <a:pt x="521" y="340"/>
                </a:cubicBezTo>
                <a:cubicBezTo>
                  <a:pt x="515" y="330"/>
                  <a:pt x="507" y="329"/>
                  <a:pt x="505" y="328"/>
                </a:cubicBezTo>
                <a:cubicBezTo>
                  <a:pt x="505" y="328"/>
                  <a:pt x="503" y="327"/>
                  <a:pt x="500" y="325"/>
                </a:cubicBezTo>
                <a:cubicBezTo>
                  <a:pt x="497" y="323"/>
                  <a:pt x="492" y="322"/>
                  <a:pt x="487" y="322"/>
                </a:cubicBezTo>
                <a:cubicBezTo>
                  <a:pt x="484" y="322"/>
                  <a:pt x="480" y="323"/>
                  <a:pt x="476" y="324"/>
                </a:cubicBezTo>
                <a:cubicBezTo>
                  <a:pt x="474" y="324"/>
                  <a:pt x="472" y="324"/>
                  <a:pt x="469" y="324"/>
                </a:cubicBezTo>
                <a:cubicBezTo>
                  <a:pt x="463" y="324"/>
                  <a:pt x="456" y="323"/>
                  <a:pt x="450" y="321"/>
                </a:cubicBezTo>
                <a:cubicBezTo>
                  <a:pt x="444" y="320"/>
                  <a:pt x="440" y="318"/>
                  <a:pt x="435" y="318"/>
                </a:cubicBezTo>
                <a:cubicBezTo>
                  <a:pt x="432" y="318"/>
                  <a:pt x="389" y="315"/>
                  <a:pt x="382" y="313"/>
                </a:cubicBezTo>
                <a:cubicBezTo>
                  <a:pt x="375" y="311"/>
                  <a:pt x="364" y="310"/>
                  <a:pt x="354" y="310"/>
                </a:cubicBezTo>
                <a:cubicBezTo>
                  <a:pt x="347" y="310"/>
                  <a:pt x="341" y="310"/>
                  <a:pt x="337" y="311"/>
                </a:cubicBezTo>
                <a:cubicBezTo>
                  <a:pt x="330" y="312"/>
                  <a:pt x="313" y="312"/>
                  <a:pt x="307" y="312"/>
                </a:cubicBezTo>
                <a:cubicBezTo>
                  <a:pt x="306" y="311"/>
                  <a:pt x="303" y="309"/>
                  <a:pt x="300" y="307"/>
                </a:cubicBezTo>
                <a:cubicBezTo>
                  <a:pt x="297" y="305"/>
                  <a:pt x="295" y="303"/>
                  <a:pt x="292" y="302"/>
                </a:cubicBezTo>
                <a:cubicBezTo>
                  <a:pt x="290" y="300"/>
                  <a:pt x="289" y="299"/>
                  <a:pt x="284" y="299"/>
                </a:cubicBezTo>
                <a:cubicBezTo>
                  <a:pt x="281" y="299"/>
                  <a:pt x="279" y="300"/>
                  <a:pt x="277" y="300"/>
                </a:cubicBezTo>
                <a:cubicBezTo>
                  <a:pt x="274" y="301"/>
                  <a:pt x="272" y="302"/>
                  <a:pt x="270" y="302"/>
                </a:cubicBezTo>
                <a:cubicBezTo>
                  <a:pt x="268" y="302"/>
                  <a:pt x="268" y="301"/>
                  <a:pt x="267" y="301"/>
                </a:cubicBezTo>
                <a:cubicBezTo>
                  <a:pt x="260" y="292"/>
                  <a:pt x="249" y="288"/>
                  <a:pt x="249" y="288"/>
                </a:cubicBezTo>
                <a:cubicBezTo>
                  <a:pt x="247" y="287"/>
                  <a:pt x="245" y="287"/>
                  <a:pt x="244" y="288"/>
                </a:cubicBezTo>
                <a:cubicBezTo>
                  <a:pt x="242" y="289"/>
                  <a:pt x="241" y="290"/>
                  <a:pt x="241" y="292"/>
                </a:cubicBezTo>
                <a:cubicBezTo>
                  <a:pt x="241" y="292"/>
                  <a:pt x="240" y="295"/>
                  <a:pt x="238" y="299"/>
                </a:cubicBezTo>
                <a:cubicBezTo>
                  <a:pt x="236" y="302"/>
                  <a:pt x="233" y="306"/>
                  <a:pt x="232" y="306"/>
                </a:cubicBezTo>
                <a:cubicBezTo>
                  <a:pt x="226" y="308"/>
                  <a:pt x="213" y="312"/>
                  <a:pt x="208" y="312"/>
                </a:cubicBezTo>
                <a:cubicBezTo>
                  <a:pt x="208" y="312"/>
                  <a:pt x="208" y="312"/>
                  <a:pt x="208" y="312"/>
                </a:cubicBezTo>
                <a:cubicBezTo>
                  <a:pt x="206" y="311"/>
                  <a:pt x="205" y="311"/>
                  <a:pt x="204" y="311"/>
                </a:cubicBezTo>
                <a:cubicBezTo>
                  <a:pt x="198" y="311"/>
                  <a:pt x="190" y="314"/>
                  <a:pt x="183" y="317"/>
                </a:cubicBezTo>
                <a:cubicBezTo>
                  <a:pt x="176" y="320"/>
                  <a:pt x="169" y="322"/>
                  <a:pt x="169" y="323"/>
                </a:cubicBezTo>
                <a:cubicBezTo>
                  <a:pt x="168" y="324"/>
                  <a:pt x="168" y="324"/>
                  <a:pt x="168" y="324"/>
                </a:cubicBezTo>
                <a:cubicBezTo>
                  <a:pt x="168" y="324"/>
                  <a:pt x="163" y="328"/>
                  <a:pt x="159" y="332"/>
                </a:cubicBezTo>
                <a:cubicBezTo>
                  <a:pt x="156" y="334"/>
                  <a:pt x="154" y="336"/>
                  <a:pt x="152" y="338"/>
                </a:cubicBezTo>
                <a:cubicBezTo>
                  <a:pt x="151" y="338"/>
                  <a:pt x="150" y="340"/>
                  <a:pt x="149" y="340"/>
                </a:cubicBezTo>
                <a:cubicBezTo>
                  <a:pt x="149" y="340"/>
                  <a:pt x="149" y="340"/>
                  <a:pt x="149" y="340"/>
                </a:cubicBezTo>
                <a:cubicBezTo>
                  <a:pt x="146" y="336"/>
                  <a:pt x="140" y="337"/>
                  <a:pt x="134" y="337"/>
                </a:cubicBezTo>
                <a:cubicBezTo>
                  <a:pt x="132" y="337"/>
                  <a:pt x="130" y="337"/>
                  <a:pt x="128" y="338"/>
                </a:cubicBezTo>
                <a:cubicBezTo>
                  <a:pt x="126" y="338"/>
                  <a:pt x="122" y="340"/>
                  <a:pt x="122" y="345"/>
                </a:cubicBezTo>
                <a:cubicBezTo>
                  <a:pt x="122" y="347"/>
                  <a:pt x="122" y="348"/>
                  <a:pt x="122" y="348"/>
                </a:cubicBezTo>
                <a:cubicBezTo>
                  <a:pt x="123" y="349"/>
                  <a:pt x="123" y="354"/>
                  <a:pt x="126" y="359"/>
                </a:cubicBezTo>
                <a:cubicBezTo>
                  <a:pt x="129" y="365"/>
                  <a:pt x="136" y="369"/>
                  <a:pt x="146" y="369"/>
                </a:cubicBezTo>
                <a:cubicBezTo>
                  <a:pt x="155" y="369"/>
                  <a:pt x="158" y="370"/>
                  <a:pt x="161" y="372"/>
                </a:cubicBezTo>
                <a:cubicBezTo>
                  <a:pt x="163" y="373"/>
                  <a:pt x="166" y="377"/>
                  <a:pt x="172" y="378"/>
                </a:cubicBezTo>
                <a:cubicBezTo>
                  <a:pt x="176" y="379"/>
                  <a:pt x="178" y="379"/>
                  <a:pt x="179" y="379"/>
                </a:cubicBezTo>
                <a:cubicBezTo>
                  <a:pt x="180" y="380"/>
                  <a:pt x="182" y="381"/>
                  <a:pt x="186" y="385"/>
                </a:cubicBezTo>
                <a:cubicBezTo>
                  <a:pt x="188" y="387"/>
                  <a:pt x="189" y="388"/>
                  <a:pt x="189" y="390"/>
                </a:cubicBezTo>
                <a:cubicBezTo>
                  <a:pt x="189" y="390"/>
                  <a:pt x="189" y="390"/>
                  <a:pt x="189" y="390"/>
                </a:cubicBezTo>
                <a:cubicBezTo>
                  <a:pt x="179" y="388"/>
                  <a:pt x="168" y="385"/>
                  <a:pt x="163" y="380"/>
                </a:cubicBezTo>
                <a:cubicBezTo>
                  <a:pt x="156" y="373"/>
                  <a:pt x="156" y="373"/>
                  <a:pt x="156" y="373"/>
                </a:cubicBezTo>
                <a:cubicBezTo>
                  <a:pt x="155" y="372"/>
                  <a:pt x="152" y="371"/>
                  <a:pt x="149" y="372"/>
                </a:cubicBezTo>
                <a:cubicBezTo>
                  <a:pt x="138" y="379"/>
                  <a:pt x="138" y="379"/>
                  <a:pt x="138" y="379"/>
                </a:cubicBezTo>
                <a:cubicBezTo>
                  <a:pt x="120" y="381"/>
                  <a:pt x="100" y="390"/>
                  <a:pt x="100" y="390"/>
                </a:cubicBezTo>
                <a:cubicBezTo>
                  <a:pt x="97" y="392"/>
                  <a:pt x="96" y="395"/>
                  <a:pt x="97" y="398"/>
                </a:cubicBezTo>
                <a:cubicBezTo>
                  <a:pt x="97" y="399"/>
                  <a:pt x="104" y="412"/>
                  <a:pt x="116" y="421"/>
                </a:cubicBezTo>
                <a:cubicBezTo>
                  <a:pt x="129" y="431"/>
                  <a:pt x="152" y="430"/>
                  <a:pt x="156" y="431"/>
                </a:cubicBezTo>
                <a:cubicBezTo>
                  <a:pt x="156" y="431"/>
                  <a:pt x="156" y="431"/>
                  <a:pt x="156" y="431"/>
                </a:cubicBezTo>
                <a:cubicBezTo>
                  <a:pt x="148" y="433"/>
                  <a:pt x="145" y="435"/>
                  <a:pt x="141" y="439"/>
                </a:cubicBezTo>
                <a:cubicBezTo>
                  <a:pt x="137" y="443"/>
                  <a:pt x="133" y="445"/>
                  <a:pt x="130" y="448"/>
                </a:cubicBezTo>
                <a:cubicBezTo>
                  <a:pt x="126" y="451"/>
                  <a:pt x="122" y="455"/>
                  <a:pt x="122" y="461"/>
                </a:cubicBezTo>
                <a:cubicBezTo>
                  <a:pt x="122" y="463"/>
                  <a:pt x="123" y="466"/>
                  <a:pt x="124" y="468"/>
                </a:cubicBezTo>
                <a:cubicBezTo>
                  <a:pt x="126" y="473"/>
                  <a:pt x="129" y="477"/>
                  <a:pt x="132" y="481"/>
                </a:cubicBezTo>
                <a:cubicBezTo>
                  <a:pt x="131" y="480"/>
                  <a:pt x="129" y="480"/>
                  <a:pt x="128" y="480"/>
                </a:cubicBezTo>
                <a:cubicBezTo>
                  <a:pt x="127" y="480"/>
                  <a:pt x="127" y="480"/>
                  <a:pt x="127" y="480"/>
                </a:cubicBezTo>
                <a:cubicBezTo>
                  <a:pt x="123" y="480"/>
                  <a:pt x="121" y="480"/>
                  <a:pt x="119" y="481"/>
                </a:cubicBezTo>
                <a:cubicBezTo>
                  <a:pt x="116" y="482"/>
                  <a:pt x="115" y="483"/>
                  <a:pt x="110" y="485"/>
                </a:cubicBezTo>
                <a:cubicBezTo>
                  <a:pt x="108" y="485"/>
                  <a:pt x="105" y="489"/>
                  <a:pt x="105" y="492"/>
                </a:cubicBezTo>
                <a:cubicBezTo>
                  <a:pt x="105" y="496"/>
                  <a:pt x="107" y="497"/>
                  <a:pt x="108" y="499"/>
                </a:cubicBezTo>
                <a:cubicBezTo>
                  <a:pt x="110" y="501"/>
                  <a:pt x="113" y="503"/>
                  <a:pt x="115" y="505"/>
                </a:cubicBezTo>
                <a:cubicBezTo>
                  <a:pt x="118" y="506"/>
                  <a:pt x="121" y="508"/>
                  <a:pt x="125" y="508"/>
                </a:cubicBezTo>
                <a:cubicBezTo>
                  <a:pt x="130" y="507"/>
                  <a:pt x="132" y="504"/>
                  <a:pt x="135" y="501"/>
                </a:cubicBezTo>
                <a:cubicBezTo>
                  <a:pt x="137" y="498"/>
                  <a:pt x="138" y="495"/>
                  <a:pt x="138" y="491"/>
                </a:cubicBezTo>
                <a:cubicBezTo>
                  <a:pt x="138" y="490"/>
                  <a:pt x="138" y="489"/>
                  <a:pt x="138" y="488"/>
                </a:cubicBezTo>
                <a:cubicBezTo>
                  <a:pt x="140" y="491"/>
                  <a:pt x="142" y="493"/>
                  <a:pt x="144" y="495"/>
                </a:cubicBezTo>
                <a:cubicBezTo>
                  <a:pt x="145" y="496"/>
                  <a:pt x="145" y="497"/>
                  <a:pt x="146" y="498"/>
                </a:cubicBezTo>
                <a:cubicBezTo>
                  <a:pt x="146" y="498"/>
                  <a:pt x="146" y="499"/>
                  <a:pt x="146" y="499"/>
                </a:cubicBezTo>
                <a:cubicBezTo>
                  <a:pt x="147" y="503"/>
                  <a:pt x="152" y="506"/>
                  <a:pt x="155" y="506"/>
                </a:cubicBezTo>
                <a:cubicBezTo>
                  <a:pt x="161" y="506"/>
                  <a:pt x="165" y="503"/>
                  <a:pt x="170" y="500"/>
                </a:cubicBezTo>
                <a:cubicBezTo>
                  <a:pt x="174" y="497"/>
                  <a:pt x="178" y="495"/>
                  <a:pt x="180" y="490"/>
                </a:cubicBezTo>
                <a:cubicBezTo>
                  <a:pt x="180" y="491"/>
                  <a:pt x="180" y="492"/>
                  <a:pt x="180" y="494"/>
                </a:cubicBezTo>
                <a:cubicBezTo>
                  <a:pt x="179" y="495"/>
                  <a:pt x="179" y="497"/>
                  <a:pt x="179" y="499"/>
                </a:cubicBezTo>
                <a:cubicBezTo>
                  <a:pt x="179" y="507"/>
                  <a:pt x="184" y="513"/>
                  <a:pt x="188" y="515"/>
                </a:cubicBezTo>
                <a:cubicBezTo>
                  <a:pt x="192" y="518"/>
                  <a:pt x="196" y="519"/>
                  <a:pt x="196" y="519"/>
                </a:cubicBezTo>
                <a:cubicBezTo>
                  <a:pt x="199" y="519"/>
                  <a:pt x="201" y="518"/>
                  <a:pt x="202" y="515"/>
                </a:cubicBezTo>
                <a:cubicBezTo>
                  <a:pt x="202" y="515"/>
                  <a:pt x="204" y="513"/>
                  <a:pt x="205" y="510"/>
                </a:cubicBezTo>
                <a:cubicBezTo>
                  <a:pt x="206" y="510"/>
                  <a:pt x="206" y="510"/>
                  <a:pt x="206" y="509"/>
                </a:cubicBezTo>
                <a:cubicBezTo>
                  <a:pt x="208" y="511"/>
                  <a:pt x="210" y="513"/>
                  <a:pt x="212" y="515"/>
                </a:cubicBezTo>
                <a:cubicBezTo>
                  <a:pt x="215" y="518"/>
                  <a:pt x="218" y="521"/>
                  <a:pt x="218" y="521"/>
                </a:cubicBezTo>
                <a:cubicBezTo>
                  <a:pt x="220" y="523"/>
                  <a:pt x="224" y="524"/>
                  <a:pt x="226" y="522"/>
                </a:cubicBezTo>
                <a:cubicBezTo>
                  <a:pt x="226" y="522"/>
                  <a:pt x="228" y="520"/>
                  <a:pt x="231" y="519"/>
                </a:cubicBezTo>
                <a:cubicBezTo>
                  <a:pt x="233" y="517"/>
                  <a:pt x="236" y="516"/>
                  <a:pt x="237" y="516"/>
                </a:cubicBezTo>
                <a:cubicBezTo>
                  <a:pt x="237" y="516"/>
                  <a:pt x="237" y="516"/>
                  <a:pt x="237" y="517"/>
                </a:cubicBezTo>
                <a:cubicBezTo>
                  <a:pt x="237" y="517"/>
                  <a:pt x="236" y="519"/>
                  <a:pt x="234" y="521"/>
                </a:cubicBezTo>
                <a:cubicBezTo>
                  <a:pt x="231" y="523"/>
                  <a:pt x="228" y="525"/>
                  <a:pt x="225" y="527"/>
                </a:cubicBezTo>
                <a:cubicBezTo>
                  <a:pt x="222" y="529"/>
                  <a:pt x="214" y="532"/>
                  <a:pt x="206" y="536"/>
                </a:cubicBezTo>
                <a:cubicBezTo>
                  <a:pt x="198" y="540"/>
                  <a:pt x="191" y="544"/>
                  <a:pt x="187" y="546"/>
                </a:cubicBezTo>
                <a:cubicBezTo>
                  <a:pt x="184" y="548"/>
                  <a:pt x="177" y="552"/>
                  <a:pt x="171" y="556"/>
                </a:cubicBezTo>
                <a:cubicBezTo>
                  <a:pt x="167" y="558"/>
                  <a:pt x="164" y="559"/>
                  <a:pt x="161" y="560"/>
                </a:cubicBezTo>
                <a:cubicBezTo>
                  <a:pt x="160" y="561"/>
                  <a:pt x="159" y="560"/>
                  <a:pt x="158" y="561"/>
                </a:cubicBezTo>
                <a:cubicBezTo>
                  <a:pt x="157" y="561"/>
                  <a:pt x="157" y="560"/>
                  <a:pt x="157" y="560"/>
                </a:cubicBezTo>
                <a:cubicBezTo>
                  <a:pt x="157" y="560"/>
                  <a:pt x="157" y="560"/>
                  <a:pt x="157" y="560"/>
                </a:cubicBezTo>
                <a:cubicBezTo>
                  <a:pt x="152" y="560"/>
                  <a:pt x="149" y="564"/>
                  <a:pt x="148" y="567"/>
                </a:cubicBezTo>
                <a:cubicBezTo>
                  <a:pt x="147" y="569"/>
                  <a:pt x="146" y="573"/>
                  <a:pt x="146" y="576"/>
                </a:cubicBezTo>
                <a:cubicBezTo>
                  <a:pt x="146" y="578"/>
                  <a:pt x="146" y="582"/>
                  <a:pt x="148" y="584"/>
                </a:cubicBezTo>
                <a:cubicBezTo>
                  <a:pt x="150" y="587"/>
                  <a:pt x="154" y="589"/>
                  <a:pt x="158" y="589"/>
                </a:cubicBezTo>
                <a:cubicBezTo>
                  <a:pt x="158" y="589"/>
                  <a:pt x="159" y="589"/>
                  <a:pt x="160" y="589"/>
                </a:cubicBezTo>
                <a:cubicBezTo>
                  <a:pt x="172" y="587"/>
                  <a:pt x="200" y="576"/>
                  <a:pt x="209" y="571"/>
                </a:cubicBezTo>
                <a:cubicBezTo>
                  <a:pt x="210" y="571"/>
                  <a:pt x="210" y="572"/>
                  <a:pt x="210" y="572"/>
                </a:cubicBezTo>
                <a:cubicBezTo>
                  <a:pt x="210" y="572"/>
                  <a:pt x="210" y="572"/>
                  <a:pt x="210" y="572"/>
                </a:cubicBezTo>
                <a:cubicBezTo>
                  <a:pt x="210" y="572"/>
                  <a:pt x="210" y="571"/>
                  <a:pt x="211" y="571"/>
                </a:cubicBezTo>
                <a:cubicBezTo>
                  <a:pt x="212" y="571"/>
                  <a:pt x="213" y="571"/>
                  <a:pt x="215" y="571"/>
                </a:cubicBezTo>
                <a:cubicBezTo>
                  <a:pt x="220" y="571"/>
                  <a:pt x="225" y="569"/>
                  <a:pt x="235" y="564"/>
                </a:cubicBezTo>
                <a:cubicBezTo>
                  <a:pt x="245" y="558"/>
                  <a:pt x="253" y="552"/>
                  <a:pt x="259" y="548"/>
                </a:cubicBezTo>
                <a:cubicBezTo>
                  <a:pt x="262" y="546"/>
                  <a:pt x="265" y="544"/>
                  <a:pt x="267" y="543"/>
                </a:cubicBezTo>
                <a:cubicBezTo>
                  <a:pt x="268" y="543"/>
                  <a:pt x="269" y="542"/>
                  <a:pt x="269" y="542"/>
                </a:cubicBezTo>
                <a:cubicBezTo>
                  <a:pt x="270" y="542"/>
                  <a:pt x="270" y="542"/>
                  <a:pt x="270" y="543"/>
                </a:cubicBezTo>
                <a:cubicBezTo>
                  <a:pt x="272" y="544"/>
                  <a:pt x="275" y="553"/>
                  <a:pt x="285" y="556"/>
                </a:cubicBezTo>
                <a:cubicBezTo>
                  <a:pt x="287" y="556"/>
                  <a:pt x="288" y="557"/>
                  <a:pt x="290" y="557"/>
                </a:cubicBezTo>
                <a:cubicBezTo>
                  <a:pt x="302" y="556"/>
                  <a:pt x="309" y="545"/>
                  <a:pt x="313" y="543"/>
                </a:cubicBezTo>
                <a:cubicBezTo>
                  <a:pt x="320" y="537"/>
                  <a:pt x="323" y="529"/>
                  <a:pt x="323" y="522"/>
                </a:cubicBezTo>
                <a:cubicBezTo>
                  <a:pt x="323" y="520"/>
                  <a:pt x="323" y="518"/>
                  <a:pt x="322" y="516"/>
                </a:cubicBezTo>
                <a:cubicBezTo>
                  <a:pt x="321" y="514"/>
                  <a:pt x="318" y="512"/>
                  <a:pt x="315" y="512"/>
                </a:cubicBezTo>
                <a:cubicBezTo>
                  <a:pt x="314" y="512"/>
                  <a:pt x="314" y="512"/>
                  <a:pt x="313" y="512"/>
                </a:cubicBezTo>
                <a:cubicBezTo>
                  <a:pt x="312" y="513"/>
                  <a:pt x="311" y="513"/>
                  <a:pt x="310" y="513"/>
                </a:cubicBezTo>
                <a:cubicBezTo>
                  <a:pt x="313" y="510"/>
                  <a:pt x="315" y="506"/>
                  <a:pt x="316" y="500"/>
                </a:cubicBezTo>
                <a:cubicBezTo>
                  <a:pt x="316" y="496"/>
                  <a:pt x="317" y="489"/>
                  <a:pt x="321" y="486"/>
                </a:cubicBezTo>
                <a:cubicBezTo>
                  <a:pt x="321" y="487"/>
                  <a:pt x="320" y="489"/>
                  <a:pt x="319" y="492"/>
                </a:cubicBezTo>
                <a:cubicBezTo>
                  <a:pt x="318" y="494"/>
                  <a:pt x="318" y="497"/>
                  <a:pt x="318" y="499"/>
                </a:cubicBezTo>
                <a:cubicBezTo>
                  <a:pt x="318" y="502"/>
                  <a:pt x="318" y="505"/>
                  <a:pt x="321" y="507"/>
                </a:cubicBezTo>
                <a:cubicBezTo>
                  <a:pt x="323" y="509"/>
                  <a:pt x="326" y="510"/>
                  <a:pt x="328" y="510"/>
                </a:cubicBezTo>
                <a:cubicBezTo>
                  <a:pt x="336" y="509"/>
                  <a:pt x="342" y="505"/>
                  <a:pt x="347" y="501"/>
                </a:cubicBezTo>
                <a:cubicBezTo>
                  <a:pt x="350" y="498"/>
                  <a:pt x="350" y="499"/>
                  <a:pt x="354" y="498"/>
                </a:cubicBezTo>
                <a:cubicBezTo>
                  <a:pt x="358" y="497"/>
                  <a:pt x="364" y="495"/>
                  <a:pt x="371" y="490"/>
                </a:cubicBezTo>
                <a:cubicBezTo>
                  <a:pt x="378" y="485"/>
                  <a:pt x="381" y="481"/>
                  <a:pt x="384" y="478"/>
                </a:cubicBezTo>
                <a:cubicBezTo>
                  <a:pt x="386" y="476"/>
                  <a:pt x="385" y="476"/>
                  <a:pt x="387" y="476"/>
                </a:cubicBezTo>
                <a:cubicBezTo>
                  <a:pt x="387" y="476"/>
                  <a:pt x="387" y="476"/>
                  <a:pt x="387" y="476"/>
                </a:cubicBezTo>
                <a:cubicBezTo>
                  <a:pt x="389" y="477"/>
                  <a:pt x="392" y="479"/>
                  <a:pt x="396" y="482"/>
                </a:cubicBezTo>
                <a:cubicBezTo>
                  <a:pt x="400" y="484"/>
                  <a:pt x="404" y="487"/>
                  <a:pt x="410" y="487"/>
                </a:cubicBezTo>
                <a:cubicBezTo>
                  <a:pt x="412" y="487"/>
                  <a:pt x="415" y="488"/>
                  <a:pt x="417" y="484"/>
                </a:cubicBezTo>
                <a:cubicBezTo>
                  <a:pt x="417" y="484"/>
                  <a:pt x="417" y="484"/>
                  <a:pt x="417" y="484"/>
                </a:cubicBezTo>
                <a:cubicBezTo>
                  <a:pt x="417" y="484"/>
                  <a:pt x="418" y="484"/>
                  <a:pt x="418" y="484"/>
                </a:cubicBezTo>
                <a:cubicBezTo>
                  <a:pt x="421" y="484"/>
                  <a:pt x="427" y="486"/>
                  <a:pt x="433" y="488"/>
                </a:cubicBezTo>
                <a:cubicBezTo>
                  <a:pt x="439" y="490"/>
                  <a:pt x="445" y="492"/>
                  <a:pt x="451" y="493"/>
                </a:cubicBezTo>
                <a:cubicBezTo>
                  <a:pt x="455" y="492"/>
                  <a:pt x="467" y="497"/>
                  <a:pt x="479" y="501"/>
                </a:cubicBezTo>
                <a:cubicBezTo>
                  <a:pt x="484" y="503"/>
                  <a:pt x="490" y="506"/>
                  <a:pt x="495" y="507"/>
                </a:cubicBezTo>
                <a:cubicBezTo>
                  <a:pt x="500" y="509"/>
                  <a:pt x="503" y="510"/>
                  <a:pt x="507" y="511"/>
                </a:cubicBezTo>
                <a:cubicBezTo>
                  <a:pt x="508" y="510"/>
                  <a:pt x="514" y="512"/>
                  <a:pt x="520" y="516"/>
                </a:cubicBezTo>
                <a:cubicBezTo>
                  <a:pt x="525" y="520"/>
                  <a:pt x="529" y="526"/>
                  <a:pt x="529" y="532"/>
                </a:cubicBezTo>
                <a:cubicBezTo>
                  <a:pt x="530" y="541"/>
                  <a:pt x="531" y="546"/>
                  <a:pt x="535" y="550"/>
                </a:cubicBezTo>
                <a:cubicBezTo>
                  <a:pt x="539" y="555"/>
                  <a:pt x="544" y="555"/>
                  <a:pt x="548" y="555"/>
                </a:cubicBezTo>
                <a:cubicBezTo>
                  <a:pt x="549" y="555"/>
                  <a:pt x="550" y="555"/>
                  <a:pt x="550" y="555"/>
                </a:cubicBezTo>
                <a:cubicBezTo>
                  <a:pt x="552" y="555"/>
                  <a:pt x="558" y="556"/>
                  <a:pt x="562" y="558"/>
                </a:cubicBezTo>
                <a:cubicBezTo>
                  <a:pt x="564" y="559"/>
                  <a:pt x="565" y="561"/>
                  <a:pt x="566" y="562"/>
                </a:cubicBezTo>
                <a:cubicBezTo>
                  <a:pt x="567" y="562"/>
                  <a:pt x="567" y="562"/>
                  <a:pt x="567" y="563"/>
                </a:cubicBezTo>
                <a:cubicBezTo>
                  <a:pt x="567" y="565"/>
                  <a:pt x="566" y="573"/>
                  <a:pt x="566" y="580"/>
                </a:cubicBezTo>
                <a:cubicBezTo>
                  <a:pt x="567" y="590"/>
                  <a:pt x="567" y="602"/>
                  <a:pt x="577" y="609"/>
                </a:cubicBezTo>
                <a:cubicBezTo>
                  <a:pt x="582" y="612"/>
                  <a:pt x="587" y="616"/>
                  <a:pt x="591" y="619"/>
                </a:cubicBezTo>
                <a:cubicBezTo>
                  <a:pt x="596" y="622"/>
                  <a:pt x="599" y="625"/>
                  <a:pt x="605" y="625"/>
                </a:cubicBezTo>
                <a:cubicBezTo>
                  <a:pt x="607" y="625"/>
                  <a:pt x="608" y="625"/>
                  <a:pt x="610" y="624"/>
                </a:cubicBezTo>
                <a:cubicBezTo>
                  <a:pt x="615" y="620"/>
                  <a:pt x="614" y="616"/>
                  <a:pt x="615" y="613"/>
                </a:cubicBezTo>
                <a:cubicBezTo>
                  <a:pt x="615" y="610"/>
                  <a:pt x="614" y="607"/>
                  <a:pt x="614" y="604"/>
                </a:cubicBezTo>
                <a:cubicBezTo>
                  <a:pt x="614" y="605"/>
                  <a:pt x="615" y="605"/>
                  <a:pt x="616" y="606"/>
                </a:cubicBezTo>
                <a:cubicBezTo>
                  <a:pt x="618" y="608"/>
                  <a:pt x="620" y="611"/>
                  <a:pt x="625" y="611"/>
                </a:cubicBezTo>
                <a:cubicBezTo>
                  <a:pt x="625" y="611"/>
                  <a:pt x="626" y="612"/>
                  <a:pt x="627" y="613"/>
                </a:cubicBezTo>
                <a:cubicBezTo>
                  <a:pt x="630" y="616"/>
                  <a:pt x="635" y="624"/>
                  <a:pt x="635" y="628"/>
                </a:cubicBezTo>
                <a:cubicBezTo>
                  <a:pt x="635" y="628"/>
                  <a:pt x="635" y="629"/>
                  <a:pt x="634" y="629"/>
                </a:cubicBezTo>
                <a:cubicBezTo>
                  <a:pt x="634" y="632"/>
                  <a:pt x="633" y="634"/>
                  <a:pt x="633" y="637"/>
                </a:cubicBezTo>
                <a:cubicBezTo>
                  <a:pt x="633" y="648"/>
                  <a:pt x="641" y="660"/>
                  <a:pt x="654" y="661"/>
                </a:cubicBezTo>
                <a:cubicBezTo>
                  <a:pt x="655" y="660"/>
                  <a:pt x="661" y="664"/>
                  <a:pt x="666" y="669"/>
                </a:cubicBezTo>
                <a:cubicBezTo>
                  <a:pt x="668" y="671"/>
                  <a:pt x="670" y="674"/>
                  <a:pt x="672" y="676"/>
                </a:cubicBezTo>
                <a:cubicBezTo>
                  <a:pt x="675" y="678"/>
                  <a:pt x="676" y="680"/>
                  <a:pt x="680" y="681"/>
                </a:cubicBezTo>
                <a:cubicBezTo>
                  <a:pt x="680" y="681"/>
                  <a:pt x="682" y="683"/>
                  <a:pt x="684" y="684"/>
                </a:cubicBezTo>
                <a:cubicBezTo>
                  <a:pt x="685" y="685"/>
                  <a:pt x="685" y="686"/>
                  <a:pt x="685" y="687"/>
                </a:cubicBezTo>
                <a:cubicBezTo>
                  <a:pt x="686" y="687"/>
                  <a:pt x="686" y="688"/>
                  <a:pt x="686" y="688"/>
                </a:cubicBezTo>
                <a:cubicBezTo>
                  <a:pt x="686" y="688"/>
                  <a:pt x="686" y="688"/>
                  <a:pt x="686" y="688"/>
                </a:cubicBezTo>
                <a:cubicBezTo>
                  <a:pt x="686" y="692"/>
                  <a:pt x="687" y="698"/>
                  <a:pt x="689" y="706"/>
                </a:cubicBezTo>
                <a:cubicBezTo>
                  <a:pt x="690" y="713"/>
                  <a:pt x="692" y="721"/>
                  <a:pt x="692" y="725"/>
                </a:cubicBezTo>
                <a:cubicBezTo>
                  <a:pt x="692" y="734"/>
                  <a:pt x="688" y="773"/>
                  <a:pt x="687" y="788"/>
                </a:cubicBezTo>
                <a:cubicBezTo>
                  <a:pt x="687" y="789"/>
                  <a:pt x="687" y="790"/>
                  <a:pt x="687" y="791"/>
                </a:cubicBezTo>
                <a:cubicBezTo>
                  <a:pt x="687" y="809"/>
                  <a:pt x="697" y="833"/>
                  <a:pt x="709" y="847"/>
                </a:cubicBezTo>
                <a:cubicBezTo>
                  <a:pt x="714" y="854"/>
                  <a:pt x="720" y="863"/>
                  <a:pt x="725" y="872"/>
                </a:cubicBezTo>
                <a:cubicBezTo>
                  <a:pt x="730" y="881"/>
                  <a:pt x="733" y="889"/>
                  <a:pt x="739" y="894"/>
                </a:cubicBezTo>
                <a:cubicBezTo>
                  <a:pt x="741" y="895"/>
                  <a:pt x="744" y="900"/>
                  <a:pt x="747" y="904"/>
                </a:cubicBezTo>
                <a:cubicBezTo>
                  <a:pt x="750" y="909"/>
                  <a:pt x="755" y="914"/>
                  <a:pt x="763" y="915"/>
                </a:cubicBezTo>
                <a:cubicBezTo>
                  <a:pt x="764" y="915"/>
                  <a:pt x="764" y="914"/>
                  <a:pt x="765" y="914"/>
                </a:cubicBezTo>
                <a:cubicBezTo>
                  <a:pt x="766" y="914"/>
                  <a:pt x="766" y="914"/>
                  <a:pt x="766" y="914"/>
                </a:cubicBezTo>
                <a:cubicBezTo>
                  <a:pt x="769" y="914"/>
                  <a:pt x="771" y="915"/>
                  <a:pt x="774" y="919"/>
                </a:cubicBezTo>
                <a:cubicBezTo>
                  <a:pt x="777" y="923"/>
                  <a:pt x="781" y="930"/>
                  <a:pt x="785" y="939"/>
                </a:cubicBezTo>
                <a:cubicBezTo>
                  <a:pt x="790" y="948"/>
                  <a:pt x="794" y="961"/>
                  <a:pt x="799" y="971"/>
                </a:cubicBezTo>
                <a:cubicBezTo>
                  <a:pt x="801" y="977"/>
                  <a:pt x="803" y="982"/>
                  <a:pt x="805" y="986"/>
                </a:cubicBezTo>
                <a:cubicBezTo>
                  <a:pt x="808" y="990"/>
                  <a:pt x="809" y="993"/>
                  <a:pt x="814" y="995"/>
                </a:cubicBezTo>
                <a:cubicBezTo>
                  <a:pt x="816" y="996"/>
                  <a:pt x="819" y="998"/>
                  <a:pt x="821" y="1000"/>
                </a:cubicBezTo>
                <a:cubicBezTo>
                  <a:pt x="824" y="1002"/>
                  <a:pt x="824" y="1005"/>
                  <a:pt x="824" y="1005"/>
                </a:cubicBezTo>
                <a:cubicBezTo>
                  <a:pt x="824" y="1005"/>
                  <a:pt x="824" y="1005"/>
                  <a:pt x="824" y="1005"/>
                </a:cubicBezTo>
                <a:cubicBezTo>
                  <a:pt x="820" y="1011"/>
                  <a:pt x="814" y="1018"/>
                  <a:pt x="813" y="1027"/>
                </a:cubicBezTo>
                <a:cubicBezTo>
                  <a:pt x="813" y="1029"/>
                  <a:pt x="814" y="1032"/>
                  <a:pt x="816" y="1034"/>
                </a:cubicBezTo>
                <a:cubicBezTo>
                  <a:pt x="819" y="1037"/>
                  <a:pt x="822" y="1037"/>
                  <a:pt x="824" y="1037"/>
                </a:cubicBezTo>
                <a:cubicBezTo>
                  <a:pt x="831" y="1037"/>
                  <a:pt x="836" y="1035"/>
                  <a:pt x="836" y="1035"/>
                </a:cubicBezTo>
                <a:cubicBezTo>
                  <a:pt x="837" y="1035"/>
                  <a:pt x="837" y="1035"/>
                  <a:pt x="841" y="1040"/>
                </a:cubicBezTo>
                <a:cubicBezTo>
                  <a:pt x="845" y="1046"/>
                  <a:pt x="849" y="1051"/>
                  <a:pt x="852" y="1055"/>
                </a:cubicBezTo>
                <a:cubicBezTo>
                  <a:pt x="856" y="1059"/>
                  <a:pt x="856" y="1062"/>
                  <a:pt x="856" y="1063"/>
                </a:cubicBezTo>
                <a:cubicBezTo>
                  <a:pt x="856" y="1063"/>
                  <a:pt x="856" y="1063"/>
                  <a:pt x="856" y="1063"/>
                </a:cubicBezTo>
                <a:cubicBezTo>
                  <a:pt x="856" y="1064"/>
                  <a:pt x="856" y="1065"/>
                  <a:pt x="856" y="1065"/>
                </a:cubicBezTo>
                <a:cubicBezTo>
                  <a:pt x="856" y="1072"/>
                  <a:pt x="861" y="1076"/>
                  <a:pt x="865" y="1079"/>
                </a:cubicBezTo>
                <a:cubicBezTo>
                  <a:pt x="869" y="1080"/>
                  <a:pt x="872" y="1082"/>
                  <a:pt x="875" y="1082"/>
                </a:cubicBezTo>
                <a:cubicBezTo>
                  <a:pt x="875" y="1082"/>
                  <a:pt x="875" y="1082"/>
                  <a:pt x="875" y="1083"/>
                </a:cubicBezTo>
                <a:cubicBezTo>
                  <a:pt x="877" y="1084"/>
                  <a:pt x="879" y="1088"/>
                  <a:pt x="883" y="1092"/>
                </a:cubicBezTo>
                <a:cubicBezTo>
                  <a:pt x="886" y="1096"/>
                  <a:pt x="890" y="1100"/>
                  <a:pt x="897" y="1101"/>
                </a:cubicBezTo>
                <a:cubicBezTo>
                  <a:pt x="901" y="1101"/>
                  <a:pt x="904" y="1099"/>
                  <a:pt x="907" y="1096"/>
                </a:cubicBezTo>
                <a:cubicBezTo>
                  <a:pt x="910" y="1093"/>
                  <a:pt x="911" y="1089"/>
                  <a:pt x="911" y="1086"/>
                </a:cubicBezTo>
                <a:cubicBezTo>
                  <a:pt x="911" y="1077"/>
                  <a:pt x="905" y="1071"/>
                  <a:pt x="900" y="1065"/>
                </a:cubicBezTo>
                <a:cubicBezTo>
                  <a:pt x="894" y="1060"/>
                  <a:pt x="888" y="1055"/>
                  <a:pt x="886" y="1053"/>
                </a:cubicBezTo>
                <a:cubicBezTo>
                  <a:pt x="885" y="1052"/>
                  <a:pt x="884" y="1048"/>
                  <a:pt x="883" y="1041"/>
                </a:cubicBezTo>
                <a:cubicBezTo>
                  <a:pt x="882" y="1034"/>
                  <a:pt x="879" y="1024"/>
                  <a:pt x="870" y="1016"/>
                </a:cubicBezTo>
                <a:cubicBezTo>
                  <a:pt x="863" y="1009"/>
                  <a:pt x="860" y="1004"/>
                  <a:pt x="857" y="999"/>
                </a:cubicBezTo>
                <a:cubicBezTo>
                  <a:pt x="866" y="1010"/>
                  <a:pt x="877" y="1020"/>
                  <a:pt x="883" y="1027"/>
                </a:cubicBezTo>
                <a:cubicBezTo>
                  <a:pt x="887" y="1031"/>
                  <a:pt x="895" y="1044"/>
                  <a:pt x="901" y="1055"/>
                </a:cubicBezTo>
                <a:cubicBezTo>
                  <a:pt x="905" y="1060"/>
                  <a:pt x="908" y="1066"/>
                  <a:pt x="911" y="1070"/>
                </a:cubicBezTo>
                <a:cubicBezTo>
                  <a:pt x="912" y="1072"/>
                  <a:pt x="914" y="1074"/>
                  <a:pt x="915" y="1075"/>
                </a:cubicBezTo>
                <a:cubicBezTo>
                  <a:pt x="917" y="1076"/>
                  <a:pt x="918" y="1078"/>
                  <a:pt x="921" y="1078"/>
                </a:cubicBezTo>
                <a:cubicBezTo>
                  <a:pt x="923" y="1079"/>
                  <a:pt x="928" y="1084"/>
                  <a:pt x="931" y="1088"/>
                </a:cubicBezTo>
                <a:cubicBezTo>
                  <a:pt x="935" y="1092"/>
                  <a:pt x="938" y="1096"/>
                  <a:pt x="939" y="1098"/>
                </a:cubicBezTo>
                <a:cubicBezTo>
                  <a:pt x="939" y="1099"/>
                  <a:pt x="940" y="1101"/>
                  <a:pt x="942" y="1104"/>
                </a:cubicBezTo>
                <a:cubicBezTo>
                  <a:pt x="943" y="1108"/>
                  <a:pt x="944" y="1113"/>
                  <a:pt x="944" y="1114"/>
                </a:cubicBezTo>
                <a:cubicBezTo>
                  <a:pt x="944" y="1115"/>
                  <a:pt x="944" y="1115"/>
                  <a:pt x="944" y="1115"/>
                </a:cubicBezTo>
                <a:cubicBezTo>
                  <a:pt x="943" y="1117"/>
                  <a:pt x="943" y="1120"/>
                  <a:pt x="943" y="1122"/>
                </a:cubicBezTo>
                <a:cubicBezTo>
                  <a:pt x="943" y="1133"/>
                  <a:pt x="949" y="1147"/>
                  <a:pt x="959" y="1155"/>
                </a:cubicBezTo>
                <a:cubicBezTo>
                  <a:pt x="968" y="1161"/>
                  <a:pt x="999" y="1178"/>
                  <a:pt x="1004" y="1181"/>
                </a:cubicBezTo>
                <a:cubicBezTo>
                  <a:pt x="1005" y="1182"/>
                  <a:pt x="1009" y="1188"/>
                  <a:pt x="1013" y="1193"/>
                </a:cubicBezTo>
                <a:cubicBezTo>
                  <a:pt x="1018" y="1199"/>
                  <a:pt x="1024" y="1205"/>
                  <a:pt x="1034" y="1205"/>
                </a:cubicBezTo>
                <a:cubicBezTo>
                  <a:pt x="1046" y="1205"/>
                  <a:pt x="1054" y="1208"/>
                  <a:pt x="1054" y="1209"/>
                </a:cubicBezTo>
                <a:cubicBezTo>
                  <a:pt x="1055" y="1210"/>
                  <a:pt x="1058" y="1214"/>
                  <a:pt x="1061" y="1217"/>
                </a:cubicBezTo>
                <a:cubicBezTo>
                  <a:pt x="1064" y="1220"/>
                  <a:pt x="1068" y="1224"/>
                  <a:pt x="1075" y="1225"/>
                </a:cubicBezTo>
                <a:cubicBezTo>
                  <a:pt x="1079" y="1225"/>
                  <a:pt x="1082" y="1223"/>
                  <a:pt x="1085" y="1219"/>
                </a:cubicBezTo>
                <a:cubicBezTo>
                  <a:pt x="1088" y="1214"/>
                  <a:pt x="1090" y="1211"/>
                  <a:pt x="1092" y="1210"/>
                </a:cubicBezTo>
                <a:cubicBezTo>
                  <a:pt x="1093" y="1209"/>
                  <a:pt x="1094" y="1208"/>
                  <a:pt x="1098" y="1208"/>
                </a:cubicBezTo>
                <a:cubicBezTo>
                  <a:pt x="1101" y="1208"/>
                  <a:pt x="1103" y="1209"/>
                  <a:pt x="1106" y="1212"/>
                </a:cubicBezTo>
                <a:cubicBezTo>
                  <a:pt x="1108" y="1215"/>
                  <a:pt x="1111" y="1219"/>
                  <a:pt x="1114" y="1222"/>
                </a:cubicBezTo>
                <a:cubicBezTo>
                  <a:pt x="1117" y="1226"/>
                  <a:pt x="1122" y="1232"/>
                  <a:pt x="1128" y="1237"/>
                </a:cubicBezTo>
                <a:cubicBezTo>
                  <a:pt x="1134" y="1243"/>
                  <a:pt x="1140" y="1248"/>
                  <a:pt x="1148" y="1248"/>
                </a:cubicBezTo>
                <a:cubicBezTo>
                  <a:pt x="1148" y="1248"/>
                  <a:pt x="1149" y="1248"/>
                  <a:pt x="1150" y="1248"/>
                </a:cubicBezTo>
                <a:cubicBezTo>
                  <a:pt x="1150" y="1248"/>
                  <a:pt x="1150" y="1248"/>
                  <a:pt x="1150" y="1248"/>
                </a:cubicBezTo>
                <a:cubicBezTo>
                  <a:pt x="1151" y="1248"/>
                  <a:pt x="1154" y="1249"/>
                  <a:pt x="1158" y="1251"/>
                </a:cubicBezTo>
                <a:cubicBezTo>
                  <a:pt x="1161" y="1253"/>
                  <a:pt x="1165" y="1256"/>
                  <a:pt x="1170" y="1256"/>
                </a:cubicBezTo>
                <a:cubicBezTo>
                  <a:pt x="1172" y="1256"/>
                  <a:pt x="1175" y="1255"/>
                  <a:pt x="1176" y="1254"/>
                </a:cubicBezTo>
                <a:cubicBezTo>
                  <a:pt x="1177" y="1254"/>
                  <a:pt x="1177" y="1254"/>
                  <a:pt x="1177" y="1254"/>
                </a:cubicBezTo>
                <a:cubicBezTo>
                  <a:pt x="1179" y="1253"/>
                  <a:pt x="1186" y="1257"/>
                  <a:pt x="1189" y="1260"/>
                </a:cubicBezTo>
                <a:cubicBezTo>
                  <a:pt x="1194" y="1262"/>
                  <a:pt x="1206" y="1271"/>
                  <a:pt x="1206" y="1282"/>
                </a:cubicBezTo>
                <a:cubicBezTo>
                  <a:pt x="1206" y="1282"/>
                  <a:pt x="1206" y="1283"/>
                  <a:pt x="1206" y="1283"/>
                </a:cubicBezTo>
                <a:cubicBezTo>
                  <a:pt x="1206" y="1284"/>
                  <a:pt x="1206" y="1285"/>
                  <a:pt x="1206" y="1286"/>
                </a:cubicBezTo>
                <a:cubicBezTo>
                  <a:pt x="1206" y="1304"/>
                  <a:pt x="1219" y="1310"/>
                  <a:pt x="1225" y="1313"/>
                </a:cubicBezTo>
                <a:cubicBezTo>
                  <a:pt x="1231" y="1317"/>
                  <a:pt x="1240" y="1326"/>
                  <a:pt x="1245" y="1333"/>
                </a:cubicBezTo>
                <a:cubicBezTo>
                  <a:pt x="1250" y="1338"/>
                  <a:pt x="1255" y="1340"/>
                  <a:pt x="1260" y="1342"/>
                </a:cubicBezTo>
                <a:cubicBezTo>
                  <a:pt x="1262" y="1343"/>
                  <a:pt x="1264" y="1343"/>
                  <a:pt x="1265" y="1344"/>
                </a:cubicBezTo>
                <a:cubicBezTo>
                  <a:pt x="1266" y="1344"/>
                  <a:pt x="1267" y="1345"/>
                  <a:pt x="1267" y="1345"/>
                </a:cubicBezTo>
                <a:cubicBezTo>
                  <a:pt x="1267" y="1345"/>
                  <a:pt x="1267" y="1345"/>
                  <a:pt x="1267" y="1345"/>
                </a:cubicBezTo>
                <a:cubicBezTo>
                  <a:pt x="1268" y="1346"/>
                  <a:pt x="1269" y="1348"/>
                  <a:pt x="1271" y="1350"/>
                </a:cubicBezTo>
                <a:cubicBezTo>
                  <a:pt x="1273" y="1353"/>
                  <a:pt x="1276" y="1355"/>
                  <a:pt x="1281" y="1355"/>
                </a:cubicBezTo>
                <a:cubicBezTo>
                  <a:pt x="1285" y="1355"/>
                  <a:pt x="1288" y="1354"/>
                  <a:pt x="1291" y="1351"/>
                </a:cubicBezTo>
                <a:cubicBezTo>
                  <a:pt x="1299" y="1346"/>
                  <a:pt x="1302" y="1340"/>
                  <a:pt x="1302" y="1332"/>
                </a:cubicBezTo>
                <a:cubicBezTo>
                  <a:pt x="1302" y="1332"/>
                  <a:pt x="1302" y="1332"/>
                  <a:pt x="1302" y="1332"/>
                </a:cubicBezTo>
                <a:cubicBezTo>
                  <a:pt x="1305" y="1332"/>
                  <a:pt x="1308" y="1333"/>
                  <a:pt x="1309" y="1334"/>
                </a:cubicBezTo>
                <a:cubicBezTo>
                  <a:pt x="1310" y="1335"/>
                  <a:pt x="1313" y="1341"/>
                  <a:pt x="1315" y="1346"/>
                </a:cubicBezTo>
                <a:cubicBezTo>
                  <a:pt x="1316" y="1349"/>
                  <a:pt x="1317" y="1352"/>
                  <a:pt x="1318" y="1354"/>
                </a:cubicBezTo>
                <a:cubicBezTo>
                  <a:pt x="1319" y="1357"/>
                  <a:pt x="1319" y="1359"/>
                  <a:pt x="1322" y="1361"/>
                </a:cubicBezTo>
                <a:cubicBezTo>
                  <a:pt x="1322" y="1361"/>
                  <a:pt x="1322" y="1361"/>
                  <a:pt x="1322" y="1361"/>
                </a:cubicBezTo>
                <a:cubicBezTo>
                  <a:pt x="1322" y="1362"/>
                  <a:pt x="1324" y="1365"/>
                  <a:pt x="1325" y="1369"/>
                </a:cubicBezTo>
                <a:cubicBezTo>
                  <a:pt x="1326" y="1373"/>
                  <a:pt x="1327" y="1378"/>
                  <a:pt x="1327" y="1384"/>
                </a:cubicBezTo>
                <a:cubicBezTo>
                  <a:pt x="1327" y="1387"/>
                  <a:pt x="1327" y="1390"/>
                  <a:pt x="1326" y="1393"/>
                </a:cubicBezTo>
                <a:cubicBezTo>
                  <a:pt x="1323" y="1402"/>
                  <a:pt x="1323" y="1409"/>
                  <a:pt x="1322" y="1415"/>
                </a:cubicBezTo>
                <a:cubicBezTo>
                  <a:pt x="1321" y="1417"/>
                  <a:pt x="1321" y="1419"/>
                  <a:pt x="1321" y="1420"/>
                </a:cubicBezTo>
                <a:cubicBezTo>
                  <a:pt x="1318" y="1421"/>
                  <a:pt x="1316" y="1423"/>
                  <a:pt x="1315" y="1425"/>
                </a:cubicBezTo>
                <a:cubicBezTo>
                  <a:pt x="1313" y="1428"/>
                  <a:pt x="1311" y="1432"/>
                  <a:pt x="1308" y="1435"/>
                </a:cubicBezTo>
                <a:cubicBezTo>
                  <a:pt x="1306" y="1439"/>
                  <a:pt x="1304" y="1442"/>
                  <a:pt x="1303" y="1442"/>
                </a:cubicBezTo>
                <a:cubicBezTo>
                  <a:pt x="1299" y="1445"/>
                  <a:pt x="1293" y="1451"/>
                  <a:pt x="1287" y="1457"/>
                </a:cubicBezTo>
                <a:cubicBezTo>
                  <a:pt x="1282" y="1464"/>
                  <a:pt x="1277" y="1469"/>
                  <a:pt x="1276" y="1477"/>
                </a:cubicBezTo>
                <a:cubicBezTo>
                  <a:pt x="1276" y="1478"/>
                  <a:pt x="1276" y="1478"/>
                  <a:pt x="1276" y="1479"/>
                </a:cubicBezTo>
                <a:cubicBezTo>
                  <a:pt x="1277" y="1483"/>
                  <a:pt x="1279" y="1489"/>
                  <a:pt x="1282" y="1495"/>
                </a:cubicBezTo>
                <a:cubicBezTo>
                  <a:pt x="1284" y="1501"/>
                  <a:pt x="1286" y="1508"/>
                  <a:pt x="1286" y="1512"/>
                </a:cubicBezTo>
                <a:cubicBezTo>
                  <a:pt x="1286" y="1513"/>
                  <a:pt x="1286" y="1513"/>
                  <a:pt x="1286" y="1514"/>
                </a:cubicBezTo>
                <a:cubicBezTo>
                  <a:pt x="1285" y="1516"/>
                  <a:pt x="1282" y="1520"/>
                  <a:pt x="1278" y="1526"/>
                </a:cubicBezTo>
                <a:cubicBezTo>
                  <a:pt x="1275" y="1531"/>
                  <a:pt x="1271" y="1538"/>
                  <a:pt x="1271" y="1546"/>
                </a:cubicBezTo>
                <a:cubicBezTo>
                  <a:pt x="1271" y="1548"/>
                  <a:pt x="1271" y="1550"/>
                  <a:pt x="1272" y="1552"/>
                </a:cubicBezTo>
                <a:cubicBezTo>
                  <a:pt x="1274" y="1563"/>
                  <a:pt x="1283" y="1568"/>
                  <a:pt x="1289" y="1573"/>
                </a:cubicBezTo>
                <a:cubicBezTo>
                  <a:pt x="1296" y="1577"/>
                  <a:pt x="1300" y="1581"/>
                  <a:pt x="1300" y="1584"/>
                </a:cubicBezTo>
                <a:cubicBezTo>
                  <a:pt x="1301" y="1593"/>
                  <a:pt x="1306" y="1604"/>
                  <a:pt x="1311" y="1615"/>
                </a:cubicBezTo>
                <a:cubicBezTo>
                  <a:pt x="1316" y="1626"/>
                  <a:pt x="1320" y="1637"/>
                  <a:pt x="1321" y="1643"/>
                </a:cubicBezTo>
                <a:cubicBezTo>
                  <a:pt x="1323" y="1652"/>
                  <a:pt x="1329" y="1659"/>
                  <a:pt x="1334" y="1667"/>
                </a:cubicBezTo>
                <a:cubicBezTo>
                  <a:pt x="1339" y="1675"/>
                  <a:pt x="1343" y="1682"/>
                  <a:pt x="1343" y="1690"/>
                </a:cubicBezTo>
                <a:cubicBezTo>
                  <a:pt x="1343" y="1703"/>
                  <a:pt x="1352" y="1712"/>
                  <a:pt x="1360" y="1718"/>
                </a:cubicBezTo>
                <a:cubicBezTo>
                  <a:pt x="1368" y="1724"/>
                  <a:pt x="1377" y="1728"/>
                  <a:pt x="1381" y="1729"/>
                </a:cubicBezTo>
                <a:cubicBezTo>
                  <a:pt x="1381" y="1729"/>
                  <a:pt x="1385" y="1732"/>
                  <a:pt x="1390" y="1736"/>
                </a:cubicBezTo>
                <a:cubicBezTo>
                  <a:pt x="1394" y="1739"/>
                  <a:pt x="1399" y="1744"/>
                  <a:pt x="1404" y="1746"/>
                </a:cubicBezTo>
                <a:cubicBezTo>
                  <a:pt x="1410" y="1750"/>
                  <a:pt x="1416" y="1757"/>
                  <a:pt x="1422" y="1767"/>
                </a:cubicBezTo>
                <a:cubicBezTo>
                  <a:pt x="1425" y="1773"/>
                  <a:pt x="1426" y="1784"/>
                  <a:pt x="1426" y="1790"/>
                </a:cubicBezTo>
                <a:cubicBezTo>
                  <a:pt x="1426" y="1793"/>
                  <a:pt x="1426" y="1795"/>
                  <a:pt x="1426" y="1796"/>
                </a:cubicBezTo>
                <a:cubicBezTo>
                  <a:pt x="1426" y="1799"/>
                  <a:pt x="1422" y="1843"/>
                  <a:pt x="1419" y="1867"/>
                </a:cubicBezTo>
                <a:cubicBezTo>
                  <a:pt x="1418" y="1872"/>
                  <a:pt x="1418" y="1877"/>
                  <a:pt x="1418" y="1882"/>
                </a:cubicBezTo>
                <a:cubicBezTo>
                  <a:pt x="1418" y="1893"/>
                  <a:pt x="1420" y="1902"/>
                  <a:pt x="1419" y="1909"/>
                </a:cubicBezTo>
                <a:cubicBezTo>
                  <a:pt x="1420" y="1913"/>
                  <a:pt x="1419" y="1914"/>
                  <a:pt x="1418" y="1915"/>
                </a:cubicBezTo>
                <a:cubicBezTo>
                  <a:pt x="1414" y="1920"/>
                  <a:pt x="1406" y="1925"/>
                  <a:pt x="1405" y="1935"/>
                </a:cubicBezTo>
                <a:cubicBezTo>
                  <a:pt x="1405" y="1938"/>
                  <a:pt x="1406" y="1942"/>
                  <a:pt x="1409" y="1945"/>
                </a:cubicBezTo>
                <a:cubicBezTo>
                  <a:pt x="1409" y="1945"/>
                  <a:pt x="1409" y="1945"/>
                  <a:pt x="1409" y="1945"/>
                </a:cubicBezTo>
                <a:cubicBezTo>
                  <a:pt x="1409" y="1946"/>
                  <a:pt x="1407" y="1948"/>
                  <a:pt x="1405" y="1949"/>
                </a:cubicBezTo>
                <a:cubicBezTo>
                  <a:pt x="1404" y="1950"/>
                  <a:pt x="1403" y="1951"/>
                  <a:pt x="1402" y="1952"/>
                </a:cubicBezTo>
                <a:cubicBezTo>
                  <a:pt x="1401" y="1954"/>
                  <a:pt x="1399" y="1955"/>
                  <a:pt x="1399" y="1959"/>
                </a:cubicBezTo>
                <a:cubicBezTo>
                  <a:pt x="1399" y="1963"/>
                  <a:pt x="1401" y="1966"/>
                  <a:pt x="1402" y="1972"/>
                </a:cubicBezTo>
                <a:cubicBezTo>
                  <a:pt x="1404" y="1977"/>
                  <a:pt x="1405" y="1983"/>
                  <a:pt x="1405" y="1988"/>
                </a:cubicBezTo>
                <a:cubicBezTo>
                  <a:pt x="1405" y="1990"/>
                  <a:pt x="1405" y="1991"/>
                  <a:pt x="1404" y="1992"/>
                </a:cubicBezTo>
                <a:cubicBezTo>
                  <a:pt x="1399" y="2003"/>
                  <a:pt x="1396" y="2016"/>
                  <a:pt x="1393" y="2024"/>
                </a:cubicBezTo>
                <a:cubicBezTo>
                  <a:pt x="1391" y="2030"/>
                  <a:pt x="1383" y="2038"/>
                  <a:pt x="1383" y="2051"/>
                </a:cubicBezTo>
                <a:cubicBezTo>
                  <a:pt x="1383" y="2053"/>
                  <a:pt x="1383" y="2055"/>
                  <a:pt x="1383" y="2056"/>
                </a:cubicBezTo>
                <a:cubicBezTo>
                  <a:pt x="1383" y="2057"/>
                  <a:pt x="1384" y="2058"/>
                  <a:pt x="1384" y="2058"/>
                </a:cubicBezTo>
                <a:cubicBezTo>
                  <a:pt x="1383" y="2060"/>
                  <a:pt x="1384" y="2059"/>
                  <a:pt x="1381" y="2062"/>
                </a:cubicBezTo>
                <a:cubicBezTo>
                  <a:pt x="1378" y="2063"/>
                  <a:pt x="1374" y="2069"/>
                  <a:pt x="1374" y="2076"/>
                </a:cubicBezTo>
                <a:cubicBezTo>
                  <a:pt x="1374" y="2083"/>
                  <a:pt x="1378" y="2088"/>
                  <a:pt x="1380" y="2090"/>
                </a:cubicBezTo>
                <a:cubicBezTo>
                  <a:pt x="1382" y="2092"/>
                  <a:pt x="1382" y="2091"/>
                  <a:pt x="1382" y="2094"/>
                </a:cubicBezTo>
                <a:cubicBezTo>
                  <a:pt x="1382" y="2095"/>
                  <a:pt x="1382" y="2096"/>
                  <a:pt x="1382" y="2097"/>
                </a:cubicBezTo>
                <a:cubicBezTo>
                  <a:pt x="1381" y="2104"/>
                  <a:pt x="1379" y="2108"/>
                  <a:pt x="1378" y="2113"/>
                </a:cubicBezTo>
                <a:cubicBezTo>
                  <a:pt x="1376" y="2117"/>
                  <a:pt x="1374" y="2122"/>
                  <a:pt x="1374" y="2128"/>
                </a:cubicBezTo>
                <a:cubicBezTo>
                  <a:pt x="1374" y="2135"/>
                  <a:pt x="1376" y="2142"/>
                  <a:pt x="1377" y="2148"/>
                </a:cubicBezTo>
                <a:cubicBezTo>
                  <a:pt x="1379" y="2153"/>
                  <a:pt x="1380" y="2159"/>
                  <a:pt x="1380" y="2159"/>
                </a:cubicBezTo>
                <a:cubicBezTo>
                  <a:pt x="1380" y="2159"/>
                  <a:pt x="1379" y="2163"/>
                  <a:pt x="1376" y="2168"/>
                </a:cubicBezTo>
                <a:cubicBezTo>
                  <a:pt x="1374" y="2173"/>
                  <a:pt x="1371" y="2179"/>
                  <a:pt x="1367" y="2184"/>
                </a:cubicBezTo>
                <a:cubicBezTo>
                  <a:pt x="1360" y="2194"/>
                  <a:pt x="1354" y="2201"/>
                  <a:pt x="1353" y="2211"/>
                </a:cubicBezTo>
                <a:cubicBezTo>
                  <a:pt x="1353" y="2212"/>
                  <a:pt x="1353" y="2213"/>
                  <a:pt x="1353" y="2214"/>
                </a:cubicBezTo>
                <a:cubicBezTo>
                  <a:pt x="1354" y="2218"/>
                  <a:pt x="1357" y="2222"/>
                  <a:pt x="1359" y="2226"/>
                </a:cubicBezTo>
                <a:cubicBezTo>
                  <a:pt x="1360" y="2227"/>
                  <a:pt x="1360" y="2229"/>
                  <a:pt x="1361" y="2230"/>
                </a:cubicBezTo>
                <a:cubicBezTo>
                  <a:pt x="1361" y="2230"/>
                  <a:pt x="1361" y="2231"/>
                  <a:pt x="1361" y="2231"/>
                </a:cubicBezTo>
                <a:cubicBezTo>
                  <a:pt x="1361" y="2232"/>
                  <a:pt x="1358" y="2236"/>
                  <a:pt x="1356" y="2240"/>
                </a:cubicBezTo>
                <a:cubicBezTo>
                  <a:pt x="1354" y="2245"/>
                  <a:pt x="1351" y="2251"/>
                  <a:pt x="1351" y="2258"/>
                </a:cubicBezTo>
                <a:cubicBezTo>
                  <a:pt x="1351" y="2259"/>
                  <a:pt x="1351" y="2259"/>
                  <a:pt x="1351" y="2260"/>
                </a:cubicBezTo>
                <a:cubicBezTo>
                  <a:pt x="1352" y="2268"/>
                  <a:pt x="1358" y="2272"/>
                  <a:pt x="1361" y="2272"/>
                </a:cubicBezTo>
                <a:cubicBezTo>
                  <a:pt x="1363" y="2273"/>
                  <a:pt x="1364" y="2273"/>
                  <a:pt x="1365" y="2273"/>
                </a:cubicBezTo>
                <a:cubicBezTo>
                  <a:pt x="1364" y="2274"/>
                  <a:pt x="1363" y="2276"/>
                  <a:pt x="1361" y="2277"/>
                </a:cubicBezTo>
                <a:cubicBezTo>
                  <a:pt x="1359" y="2279"/>
                  <a:pt x="1356" y="2282"/>
                  <a:pt x="1356" y="2287"/>
                </a:cubicBezTo>
                <a:cubicBezTo>
                  <a:pt x="1356" y="2290"/>
                  <a:pt x="1358" y="2293"/>
                  <a:pt x="1360" y="2295"/>
                </a:cubicBezTo>
                <a:cubicBezTo>
                  <a:pt x="1364" y="2299"/>
                  <a:pt x="1368" y="2301"/>
                  <a:pt x="1370" y="2302"/>
                </a:cubicBezTo>
                <a:cubicBezTo>
                  <a:pt x="1371" y="2304"/>
                  <a:pt x="1372" y="2304"/>
                  <a:pt x="1372" y="2308"/>
                </a:cubicBezTo>
                <a:cubicBezTo>
                  <a:pt x="1372" y="2310"/>
                  <a:pt x="1372" y="2311"/>
                  <a:pt x="1372" y="2312"/>
                </a:cubicBezTo>
                <a:cubicBezTo>
                  <a:pt x="1372" y="2314"/>
                  <a:pt x="1371" y="2315"/>
                  <a:pt x="1371" y="2317"/>
                </a:cubicBezTo>
                <a:cubicBezTo>
                  <a:pt x="1371" y="2335"/>
                  <a:pt x="1390" y="2341"/>
                  <a:pt x="1389" y="2342"/>
                </a:cubicBezTo>
                <a:cubicBezTo>
                  <a:pt x="1391" y="2344"/>
                  <a:pt x="1393" y="2347"/>
                  <a:pt x="1397" y="2351"/>
                </a:cubicBezTo>
                <a:cubicBezTo>
                  <a:pt x="1400" y="2354"/>
                  <a:pt x="1403" y="2357"/>
                  <a:pt x="1409" y="2358"/>
                </a:cubicBezTo>
                <a:cubicBezTo>
                  <a:pt x="1409" y="2359"/>
                  <a:pt x="1410" y="2361"/>
                  <a:pt x="1412" y="2362"/>
                </a:cubicBezTo>
                <a:cubicBezTo>
                  <a:pt x="1413" y="2363"/>
                  <a:pt x="1414" y="2363"/>
                  <a:pt x="1415" y="2363"/>
                </a:cubicBezTo>
                <a:cubicBezTo>
                  <a:pt x="1416" y="2364"/>
                  <a:pt x="1422" y="2366"/>
                  <a:pt x="1427" y="2369"/>
                </a:cubicBezTo>
                <a:cubicBezTo>
                  <a:pt x="1433" y="2371"/>
                  <a:pt x="1439" y="2374"/>
                  <a:pt x="1446" y="2374"/>
                </a:cubicBezTo>
                <a:cubicBezTo>
                  <a:pt x="1457" y="2374"/>
                  <a:pt x="1474" y="2369"/>
                  <a:pt x="1479" y="2367"/>
                </a:cubicBezTo>
                <a:cubicBezTo>
                  <a:pt x="1479" y="2367"/>
                  <a:pt x="1487" y="2365"/>
                  <a:pt x="1494" y="2363"/>
                </a:cubicBezTo>
                <a:cubicBezTo>
                  <a:pt x="1498" y="2363"/>
                  <a:pt x="1501" y="2362"/>
                  <a:pt x="1504" y="2360"/>
                </a:cubicBezTo>
                <a:cubicBezTo>
                  <a:pt x="1508" y="2359"/>
                  <a:pt x="1510" y="2359"/>
                  <a:pt x="1513" y="2355"/>
                </a:cubicBezTo>
                <a:cubicBezTo>
                  <a:pt x="1514" y="2354"/>
                  <a:pt x="1514" y="2352"/>
                  <a:pt x="1514" y="2351"/>
                </a:cubicBezTo>
                <a:cubicBezTo>
                  <a:pt x="1514" y="2347"/>
                  <a:pt x="1511" y="2345"/>
                  <a:pt x="1510" y="2345"/>
                </a:cubicBezTo>
                <a:cubicBezTo>
                  <a:pt x="1505" y="2343"/>
                  <a:pt x="1501" y="2343"/>
                  <a:pt x="1495" y="2342"/>
                </a:cubicBezTo>
                <a:cubicBezTo>
                  <a:pt x="1489" y="2341"/>
                  <a:pt x="1483" y="2340"/>
                  <a:pt x="1480" y="2339"/>
                </a:cubicBezTo>
                <a:cubicBezTo>
                  <a:pt x="1477" y="2338"/>
                  <a:pt x="1469" y="2332"/>
                  <a:pt x="1464" y="2326"/>
                </a:cubicBezTo>
                <a:cubicBezTo>
                  <a:pt x="1458" y="2320"/>
                  <a:pt x="1453" y="2312"/>
                  <a:pt x="1453" y="2310"/>
                </a:cubicBezTo>
                <a:cubicBezTo>
                  <a:pt x="1452" y="2308"/>
                  <a:pt x="1451" y="2304"/>
                  <a:pt x="1451" y="2301"/>
                </a:cubicBezTo>
                <a:cubicBezTo>
                  <a:pt x="1451" y="2294"/>
                  <a:pt x="1454" y="2288"/>
                  <a:pt x="1456" y="2286"/>
                </a:cubicBezTo>
                <a:cubicBezTo>
                  <a:pt x="1465" y="2280"/>
                  <a:pt x="1484" y="2261"/>
                  <a:pt x="1489" y="2257"/>
                </a:cubicBezTo>
                <a:cubicBezTo>
                  <a:pt x="1492" y="2254"/>
                  <a:pt x="1494" y="2249"/>
                  <a:pt x="1496" y="2244"/>
                </a:cubicBezTo>
                <a:cubicBezTo>
                  <a:pt x="1498" y="2239"/>
                  <a:pt x="1500" y="2234"/>
                  <a:pt x="1500" y="2229"/>
                </a:cubicBezTo>
                <a:cubicBezTo>
                  <a:pt x="1500" y="2227"/>
                  <a:pt x="1500" y="2225"/>
                  <a:pt x="1497" y="2221"/>
                </a:cubicBezTo>
                <a:cubicBezTo>
                  <a:pt x="1493" y="2219"/>
                  <a:pt x="1491" y="2219"/>
                  <a:pt x="1489" y="2219"/>
                </a:cubicBezTo>
                <a:cubicBezTo>
                  <a:pt x="1485" y="2219"/>
                  <a:pt x="1481" y="2219"/>
                  <a:pt x="1478" y="2219"/>
                </a:cubicBezTo>
                <a:cubicBezTo>
                  <a:pt x="1477" y="2218"/>
                  <a:pt x="1476" y="2218"/>
                  <a:pt x="1476" y="2218"/>
                </a:cubicBezTo>
                <a:cubicBezTo>
                  <a:pt x="1476" y="2218"/>
                  <a:pt x="1476" y="2218"/>
                  <a:pt x="1476" y="2218"/>
                </a:cubicBezTo>
                <a:cubicBezTo>
                  <a:pt x="1476" y="2217"/>
                  <a:pt x="1476" y="2214"/>
                  <a:pt x="1484" y="2208"/>
                </a:cubicBezTo>
                <a:cubicBezTo>
                  <a:pt x="1490" y="2202"/>
                  <a:pt x="1494" y="2196"/>
                  <a:pt x="1498" y="2190"/>
                </a:cubicBezTo>
                <a:cubicBezTo>
                  <a:pt x="1501" y="2185"/>
                  <a:pt x="1504" y="2180"/>
                  <a:pt x="1505" y="2180"/>
                </a:cubicBezTo>
                <a:cubicBezTo>
                  <a:pt x="1510" y="2176"/>
                  <a:pt x="1520" y="2167"/>
                  <a:pt x="1524" y="2155"/>
                </a:cubicBezTo>
                <a:cubicBezTo>
                  <a:pt x="1525" y="2153"/>
                  <a:pt x="1525" y="2152"/>
                  <a:pt x="1525" y="2149"/>
                </a:cubicBezTo>
                <a:cubicBezTo>
                  <a:pt x="1525" y="2148"/>
                  <a:pt x="1525" y="2145"/>
                  <a:pt x="1523" y="2143"/>
                </a:cubicBezTo>
                <a:cubicBezTo>
                  <a:pt x="1521" y="2142"/>
                  <a:pt x="1519" y="2141"/>
                  <a:pt x="1517" y="2141"/>
                </a:cubicBezTo>
                <a:cubicBezTo>
                  <a:pt x="1513" y="2142"/>
                  <a:pt x="1510" y="2143"/>
                  <a:pt x="1508" y="2143"/>
                </a:cubicBezTo>
                <a:cubicBezTo>
                  <a:pt x="1508" y="2143"/>
                  <a:pt x="1508" y="2142"/>
                  <a:pt x="1507" y="2142"/>
                </a:cubicBezTo>
                <a:cubicBezTo>
                  <a:pt x="1506" y="2139"/>
                  <a:pt x="1504" y="2135"/>
                  <a:pt x="1504" y="2131"/>
                </a:cubicBezTo>
                <a:cubicBezTo>
                  <a:pt x="1506" y="2132"/>
                  <a:pt x="1508" y="2133"/>
                  <a:pt x="1510" y="2133"/>
                </a:cubicBezTo>
                <a:cubicBezTo>
                  <a:pt x="1515" y="2135"/>
                  <a:pt x="1521" y="2137"/>
                  <a:pt x="1526" y="2138"/>
                </a:cubicBezTo>
                <a:cubicBezTo>
                  <a:pt x="1528" y="2139"/>
                  <a:pt x="1529" y="2139"/>
                  <a:pt x="1531" y="2139"/>
                </a:cubicBezTo>
                <a:cubicBezTo>
                  <a:pt x="1534" y="2139"/>
                  <a:pt x="1537" y="2138"/>
                  <a:pt x="1539" y="2136"/>
                </a:cubicBezTo>
                <a:cubicBezTo>
                  <a:pt x="1541" y="2134"/>
                  <a:pt x="1541" y="2131"/>
                  <a:pt x="1541" y="2129"/>
                </a:cubicBezTo>
                <a:cubicBezTo>
                  <a:pt x="1541" y="2124"/>
                  <a:pt x="1539" y="2120"/>
                  <a:pt x="1539" y="2117"/>
                </a:cubicBezTo>
                <a:cubicBezTo>
                  <a:pt x="1539" y="2116"/>
                  <a:pt x="1539" y="2115"/>
                  <a:pt x="1539" y="2114"/>
                </a:cubicBezTo>
                <a:cubicBezTo>
                  <a:pt x="1539" y="2111"/>
                  <a:pt x="1539" y="2108"/>
                  <a:pt x="1540" y="2106"/>
                </a:cubicBezTo>
                <a:cubicBezTo>
                  <a:pt x="1540" y="2106"/>
                  <a:pt x="1540" y="2106"/>
                  <a:pt x="1541" y="2105"/>
                </a:cubicBezTo>
                <a:cubicBezTo>
                  <a:pt x="1544" y="2107"/>
                  <a:pt x="1548" y="2107"/>
                  <a:pt x="1553" y="2107"/>
                </a:cubicBezTo>
                <a:cubicBezTo>
                  <a:pt x="1567" y="2107"/>
                  <a:pt x="1586" y="2104"/>
                  <a:pt x="1591" y="2103"/>
                </a:cubicBezTo>
                <a:cubicBezTo>
                  <a:pt x="1596" y="2101"/>
                  <a:pt x="1597" y="2098"/>
                  <a:pt x="1599" y="2095"/>
                </a:cubicBezTo>
                <a:cubicBezTo>
                  <a:pt x="1605" y="2087"/>
                  <a:pt x="1613" y="2072"/>
                  <a:pt x="1616" y="2067"/>
                </a:cubicBezTo>
                <a:cubicBezTo>
                  <a:pt x="1619" y="2063"/>
                  <a:pt x="1621" y="2058"/>
                  <a:pt x="1621" y="2053"/>
                </a:cubicBezTo>
                <a:cubicBezTo>
                  <a:pt x="1621" y="2049"/>
                  <a:pt x="1619" y="2044"/>
                  <a:pt x="1615" y="2041"/>
                </a:cubicBezTo>
                <a:cubicBezTo>
                  <a:pt x="1614" y="2041"/>
                  <a:pt x="1614" y="2040"/>
                  <a:pt x="1613" y="2039"/>
                </a:cubicBezTo>
                <a:cubicBezTo>
                  <a:pt x="1618" y="2041"/>
                  <a:pt x="1624" y="2042"/>
                  <a:pt x="1629" y="2042"/>
                </a:cubicBezTo>
                <a:cubicBezTo>
                  <a:pt x="1639" y="2042"/>
                  <a:pt x="1647" y="2038"/>
                  <a:pt x="1656" y="2028"/>
                </a:cubicBezTo>
                <a:cubicBezTo>
                  <a:pt x="1671" y="2011"/>
                  <a:pt x="1683" y="2000"/>
                  <a:pt x="1685" y="1986"/>
                </a:cubicBezTo>
                <a:cubicBezTo>
                  <a:pt x="1686" y="1977"/>
                  <a:pt x="1689" y="1968"/>
                  <a:pt x="1692" y="1965"/>
                </a:cubicBezTo>
                <a:cubicBezTo>
                  <a:pt x="1693" y="1965"/>
                  <a:pt x="1695" y="1967"/>
                  <a:pt x="1699" y="1967"/>
                </a:cubicBezTo>
                <a:cubicBezTo>
                  <a:pt x="1702" y="1967"/>
                  <a:pt x="1705" y="1965"/>
                  <a:pt x="1707" y="1963"/>
                </a:cubicBezTo>
                <a:cubicBezTo>
                  <a:pt x="1708" y="1961"/>
                  <a:pt x="1710" y="1958"/>
                  <a:pt x="1711" y="1954"/>
                </a:cubicBezTo>
                <a:cubicBezTo>
                  <a:pt x="1715" y="1946"/>
                  <a:pt x="1717" y="1943"/>
                  <a:pt x="1720" y="1939"/>
                </a:cubicBezTo>
                <a:cubicBezTo>
                  <a:pt x="1724" y="1936"/>
                  <a:pt x="1728" y="1931"/>
                  <a:pt x="1732" y="1923"/>
                </a:cubicBezTo>
                <a:cubicBezTo>
                  <a:pt x="1733" y="1919"/>
                  <a:pt x="1734" y="1916"/>
                  <a:pt x="1734" y="1912"/>
                </a:cubicBezTo>
                <a:cubicBezTo>
                  <a:pt x="1734" y="1902"/>
                  <a:pt x="1729" y="1892"/>
                  <a:pt x="1729" y="1886"/>
                </a:cubicBezTo>
                <a:cubicBezTo>
                  <a:pt x="1730" y="1883"/>
                  <a:pt x="1730" y="1882"/>
                  <a:pt x="1732" y="1880"/>
                </a:cubicBezTo>
                <a:cubicBezTo>
                  <a:pt x="1746" y="1869"/>
                  <a:pt x="1770" y="1855"/>
                  <a:pt x="1770" y="1855"/>
                </a:cubicBezTo>
                <a:cubicBezTo>
                  <a:pt x="1770" y="1855"/>
                  <a:pt x="1771" y="1854"/>
                  <a:pt x="1774" y="1853"/>
                </a:cubicBezTo>
                <a:cubicBezTo>
                  <a:pt x="1778" y="1851"/>
                  <a:pt x="1782" y="1849"/>
                  <a:pt x="1789" y="1847"/>
                </a:cubicBezTo>
                <a:cubicBezTo>
                  <a:pt x="1795" y="1846"/>
                  <a:pt x="1802" y="1845"/>
                  <a:pt x="1808" y="1844"/>
                </a:cubicBezTo>
                <a:cubicBezTo>
                  <a:pt x="1815" y="1844"/>
                  <a:pt x="1822" y="1842"/>
                  <a:pt x="1826" y="1835"/>
                </a:cubicBezTo>
                <a:cubicBezTo>
                  <a:pt x="1831" y="1825"/>
                  <a:pt x="1836" y="1808"/>
                  <a:pt x="1842" y="1800"/>
                </a:cubicBezTo>
                <a:cubicBezTo>
                  <a:pt x="1848" y="1791"/>
                  <a:pt x="1855" y="1779"/>
                  <a:pt x="1855" y="1769"/>
                </a:cubicBezTo>
                <a:cubicBezTo>
                  <a:pt x="1855" y="1766"/>
                  <a:pt x="1855" y="1764"/>
                  <a:pt x="1854" y="1762"/>
                </a:cubicBezTo>
                <a:cubicBezTo>
                  <a:pt x="1854" y="1762"/>
                  <a:pt x="1854" y="1761"/>
                  <a:pt x="1854" y="1761"/>
                </a:cubicBezTo>
                <a:cubicBezTo>
                  <a:pt x="1854" y="1758"/>
                  <a:pt x="1856" y="1749"/>
                  <a:pt x="1858" y="1742"/>
                </a:cubicBezTo>
                <a:cubicBezTo>
                  <a:pt x="1860" y="1734"/>
                  <a:pt x="1862" y="1726"/>
                  <a:pt x="1863" y="1720"/>
                </a:cubicBezTo>
                <a:cubicBezTo>
                  <a:pt x="1863" y="1720"/>
                  <a:pt x="1862" y="1719"/>
                  <a:pt x="1862" y="1718"/>
                </a:cubicBezTo>
                <a:cubicBezTo>
                  <a:pt x="1861" y="1712"/>
                  <a:pt x="1858" y="1705"/>
                  <a:pt x="1858" y="1697"/>
                </a:cubicBezTo>
                <a:cubicBezTo>
                  <a:pt x="1858" y="1691"/>
                  <a:pt x="1860" y="1686"/>
                  <a:pt x="1866" y="1679"/>
                </a:cubicBezTo>
                <a:cubicBezTo>
                  <a:pt x="1875" y="1671"/>
                  <a:pt x="1884" y="1660"/>
                  <a:pt x="1891" y="1651"/>
                </a:cubicBezTo>
                <a:cubicBezTo>
                  <a:pt x="1899" y="1641"/>
                  <a:pt x="1904" y="1634"/>
                  <a:pt x="1905" y="1628"/>
                </a:cubicBezTo>
                <a:cubicBezTo>
                  <a:pt x="1905" y="1626"/>
                  <a:pt x="1909" y="1617"/>
                  <a:pt x="1913" y="1608"/>
                </a:cubicBezTo>
                <a:cubicBezTo>
                  <a:pt x="1916" y="1598"/>
                  <a:pt x="1920" y="1588"/>
                  <a:pt x="1920" y="1579"/>
                </a:cubicBezTo>
                <a:cubicBezTo>
                  <a:pt x="1920" y="1578"/>
                  <a:pt x="1920" y="1577"/>
                  <a:pt x="1920" y="1577"/>
                </a:cubicBezTo>
                <a:cubicBezTo>
                  <a:pt x="1916" y="1560"/>
                  <a:pt x="1905" y="1543"/>
                  <a:pt x="1894" y="1537"/>
                </a:cubicBezTo>
                <a:close/>
                <a:moveTo>
                  <a:pt x="1322" y="737"/>
                </a:moveTo>
                <a:cubicBezTo>
                  <a:pt x="1322" y="736"/>
                  <a:pt x="1322" y="736"/>
                  <a:pt x="1322" y="736"/>
                </a:cubicBezTo>
                <a:cubicBezTo>
                  <a:pt x="1322" y="737"/>
                  <a:pt x="1322" y="737"/>
                  <a:pt x="1322" y="737"/>
                </a:cubicBezTo>
                <a:close/>
                <a:moveTo>
                  <a:pt x="1311" y="755"/>
                </a:moveTo>
                <a:cubicBezTo>
                  <a:pt x="1314" y="751"/>
                  <a:pt x="1318" y="748"/>
                  <a:pt x="1320" y="745"/>
                </a:cubicBezTo>
                <a:cubicBezTo>
                  <a:pt x="1321" y="744"/>
                  <a:pt x="1322" y="743"/>
                  <a:pt x="1323" y="743"/>
                </a:cubicBezTo>
                <a:cubicBezTo>
                  <a:pt x="1324" y="743"/>
                  <a:pt x="1325" y="743"/>
                  <a:pt x="1326" y="743"/>
                </a:cubicBezTo>
                <a:cubicBezTo>
                  <a:pt x="1331" y="743"/>
                  <a:pt x="1338" y="742"/>
                  <a:pt x="1344" y="742"/>
                </a:cubicBezTo>
                <a:cubicBezTo>
                  <a:pt x="1345" y="742"/>
                  <a:pt x="1347" y="742"/>
                  <a:pt x="1348" y="742"/>
                </a:cubicBezTo>
                <a:cubicBezTo>
                  <a:pt x="1345" y="743"/>
                  <a:pt x="1341" y="745"/>
                  <a:pt x="1336" y="747"/>
                </a:cubicBezTo>
                <a:cubicBezTo>
                  <a:pt x="1331" y="750"/>
                  <a:pt x="1327" y="751"/>
                  <a:pt x="1324" y="752"/>
                </a:cubicBezTo>
                <a:cubicBezTo>
                  <a:pt x="1320" y="753"/>
                  <a:pt x="1317" y="756"/>
                  <a:pt x="1314" y="760"/>
                </a:cubicBezTo>
                <a:cubicBezTo>
                  <a:pt x="1313" y="762"/>
                  <a:pt x="1309" y="764"/>
                  <a:pt x="1304" y="767"/>
                </a:cubicBezTo>
                <a:cubicBezTo>
                  <a:pt x="1303" y="767"/>
                  <a:pt x="1302" y="768"/>
                  <a:pt x="1301" y="768"/>
                </a:cubicBezTo>
                <a:cubicBezTo>
                  <a:pt x="1303" y="765"/>
                  <a:pt x="1307" y="760"/>
                  <a:pt x="1311" y="755"/>
                </a:cubicBezTo>
                <a:close/>
                <a:moveTo>
                  <a:pt x="1293" y="718"/>
                </a:moveTo>
                <a:cubicBezTo>
                  <a:pt x="1294" y="720"/>
                  <a:pt x="1295" y="722"/>
                  <a:pt x="1296" y="724"/>
                </a:cubicBezTo>
                <a:cubicBezTo>
                  <a:pt x="1296" y="724"/>
                  <a:pt x="1296" y="724"/>
                  <a:pt x="1296" y="724"/>
                </a:cubicBezTo>
                <a:cubicBezTo>
                  <a:pt x="1294" y="722"/>
                  <a:pt x="1293" y="720"/>
                  <a:pt x="1293" y="717"/>
                </a:cubicBezTo>
                <a:cubicBezTo>
                  <a:pt x="1293" y="718"/>
                  <a:pt x="1293" y="718"/>
                  <a:pt x="1293" y="718"/>
                </a:cubicBezTo>
                <a:close/>
                <a:moveTo>
                  <a:pt x="1290" y="776"/>
                </a:moveTo>
                <a:cubicBezTo>
                  <a:pt x="1289" y="776"/>
                  <a:pt x="1289" y="777"/>
                  <a:pt x="1288" y="778"/>
                </a:cubicBezTo>
                <a:cubicBezTo>
                  <a:pt x="1285" y="781"/>
                  <a:pt x="1280" y="784"/>
                  <a:pt x="1277" y="785"/>
                </a:cubicBezTo>
                <a:cubicBezTo>
                  <a:pt x="1278" y="784"/>
                  <a:pt x="1278" y="784"/>
                  <a:pt x="1279" y="783"/>
                </a:cubicBezTo>
                <a:cubicBezTo>
                  <a:pt x="1279" y="783"/>
                  <a:pt x="1279" y="782"/>
                  <a:pt x="1279" y="782"/>
                </a:cubicBezTo>
                <a:cubicBezTo>
                  <a:pt x="1281" y="781"/>
                  <a:pt x="1286" y="778"/>
                  <a:pt x="1290" y="776"/>
                </a:cubicBezTo>
                <a:close/>
                <a:moveTo>
                  <a:pt x="1259" y="711"/>
                </a:moveTo>
                <a:cubicBezTo>
                  <a:pt x="1260" y="711"/>
                  <a:pt x="1261" y="711"/>
                  <a:pt x="1262" y="710"/>
                </a:cubicBezTo>
                <a:cubicBezTo>
                  <a:pt x="1260" y="704"/>
                  <a:pt x="1260" y="704"/>
                  <a:pt x="1260" y="704"/>
                </a:cubicBezTo>
                <a:cubicBezTo>
                  <a:pt x="1263" y="710"/>
                  <a:pt x="1263" y="710"/>
                  <a:pt x="1263" y="710"/>
                </a:cubicBezTo>
                <a:cubicBezTo>
                  <a:pt x="1263" y="710"/>
                  <a:pt x="1263" y="710"/>
                  <a:pt x="1263" y="710"/>
                </a:cubicBezTo>
                <a:cubicBezTo>
                  <a:pt x="1264" y="710"/>
                  <a:pt x="1268" y="709"/>
                  <a:pt x="1272" y="709"/>
                </a:cubicBezTo>
                <a:cubicBezTo>
                  <a:pt x="1276" y="709"/>
                  <a:pt x="1280" y="710"/>
                  <a:pt x="1283" y="710"/>
                </a:cubicBezTo>
                <a:cubicBezTo>
                  <a:pt x="1281" y="711"/>
                  <a:pt x="1281" y="712"/>
                  <a:pt x="1281" y="712"/>
                </a:cubicBezTo>
                <a:cubicBezTo>
                  <a:pt x="1279" y="715"/>
                  <a:pt x="1278" y="718"/>
                  <a:pt x="1277" y="722"/>
                </a:cubicBezTo>
                <a:cubicBezTo>
                  <a:pt x="1277" y="726"/>
                  <a:pt x="1276" y="731"/>
                  <a:pt x="1276" y="735"/>
                </a:cubicBezTo>
                <a:cubicBezTo>
                  <a:pt x="1276" y="739"/>
                  <a:pt x="1276" y="742"/>
                  <a:pt x="1278" y="746"/>
                </a:cubicBezTo>
                <a:cubicBezTo>
                  <a:pt x="1278" y="746"/>
                  <a:pt x="1278" y="746"/>
                  <a:pt x="1278" y="747"/>
                </a:cubicBezTo>
                <a:cubicBezTo>
                  <a:pt x="1278" y="747"/>
                  <a:pt x="1277" y="751"/>
                  <a:pt x="1274" y="753"/>
                </a:cubicBezTo>
                <a:cubicBezTo>
                  <a:pt x="1273" y="754"/>
                  <a:pt x="1272" y="752"/>
                  <a:pt x="1271" y="756"/>
                </a:cubicBezTo>
                <a:cubicBezTo>
                  <a:pt x="1271" y="756"/>
                  <a:pt x="1271" y="756"/>
                  <a:pt x="1271" y="756"/>
                </a:cubicBezTo>
                <a:cubicBezTo>
                  <a:pt x="1270" y="752"/>
                  <a:pt x="1268" y="747"/>
                  <a:pt x="1268" y="742"/>
                </a:cubicBezTo>
                <a:cubicBezTo>
                  <a:pt x="1268" y="740"/>
                  <a:pt x="1269" y="739"/>
                  <a:pt x="1269" y="737"/>
                </a:cubicBezTo>
                <a:cubicBezTo>
                  <a:pt x="1269" y="736"/>
                  <a:pt x="1269" y="735"/>
                  <a:pt x="1269" y="734"/>
                </a:cubicBezTo>
                <a:cubicBezTo>
                  <a:pt x="1269" y="724"/>
                  <a:pt x="1264" y="714"/>
                  <a:pt x="1255" y="710"/>
                </a:cubicBezTo>
                <a:cubicBezTo>
                  <a:pt x="1257" y="711"/>
                  <a:pt x="1258" y="711"/>
                  <a:pt x="1259" y="711"/>
                </a:cubicBezTo>
                <a:close/>
                <a:moveTo>
                  <a:pt x="1246" y="708"/>
                </a:moveTo>
                <a:cubicBezTo>
                  <a:pt x="1246" y="708"/>
                  <a:pt x="1246" y="708"/>
                  <a:pt x="1245" y="708"/>
                </a:cubicBezTo>
                <a:cubicBezTo>
                  <a:pt x="1244" y="708"/>
                  <a:pt x="1243" y="708"/>
                  <a:pt x="1242" y="708"/>
                </a:cubicBezTo>
                <a:cubicBezTo>
                  <a:pt x="1226" y="710"/>
                  <a:pt x="1219" y="726"/>
                  <a:pt x="1216" y="727"/>
                </a:cubicBezTo>
                <a:cubicBezTo>
                  <a:pt x="1212" y="731"/>
                  <a:pt x="1212" y="736"/>
                  <a:pt x="1211" y="740"/>
                </a:cubicBezTo>
                <a:cubicBezTo>
                  <a:pt x="1210" y="745"/>
                  <a:pt x="1210" y="750"/>
                  <a:pt x="1210" y="755"/>
                </a:cubicBezTo>
                <a:cubicBezTo>
                  <a:pt x="1210" y="760"/>
                  <a:pt x="1210" y="764"/>
                  <a:pt x="1211" y="766"/>
                </a:cubicBezTo>
                <a:cubicBezTo>
                  <a:pt x="1211" y="767"/>
                  <a:pt x="1211" y="769"/>
                  <a:pt x="1211" y="771"/>
                </a:cubicBezTo>
                <a:cubicBezTo>
                  <a:pt x="1211" y="774"/>
                  <a:pt x="1211" y="779"/>
                  <a:pt x="1210" y="781"/>
                </a:cubicBezTo>
                <a:cubicBezTo>
                  <a:pt x="1208" y="783"/>
                  <a:pt x="1208" y="784"/>
                  <a:pt x="1207" y="784"/>
                </a:cubicBezTo>
                <a:cubicBezTo>
                  <a:pt x="1207" y="784"/>
                  <a:pt x="1207" y="784"/>
                  <a:pt x="1207" y="784"/>
                </a:cubicBezTo>
                <a:cubicBezTo>
                  <a:pt x="1207" y="784"/>
                  <a:pt x="1207" y="783"/>
                  <a:pt x="1206" y="781"/>
                </a:cubicBezTo>
                <a:cubicBezTo>
                  <a:pt x="1205" y="778"/>
                  <a:pt x="1204" y="774"/>
                  <a:pt x="1204" y="770"/>
                </a:cubicBezTo>
                <a:cubicBezTo>
                  <a:pt x="1204" y="765"/>
                  <a:pt x="1205" y="759"/>
                  <a:pt x="1205" y="756"/>
                </a:cubicBezTo>
                <a:cubicBezTo>
                  <a:pt x="1206" y="755"/>
                  <a:pt x="1206" y="754"/>
                  <a:pt x="1206" y="752"/>
                </a:cubicBezTo>
                <a:cubicBezTo>
                  <a:pt x="1206" y="746"/>
                  <a:pt x="1204" y="737"/>
                  <a:pt x="1204" y="730"/>
                </a:cubicBezTo>
                <a:cubicBezTo>
                  <a:pt x="1204" y="725"/>
                  <a:pt x="1205" y="720"/>
                  <a:pt x="1206" y="718"/>
                </a:cubicBezTo>
                <a:cubicBezTo>
                  <a:pt x="1209" y="710"/>
                  <a:pt x="1220" y="706"/>
                  <a:pt x="1229" y="705"/>
                </a:cubicBezTo>
                <a:cubicBezTo>
                  <a:pt x="1229" y="705"/>
                  <a:pt x="1230" y="705"/>
                  <a:pt x="1230" y="705"/>
                </a:cubicBezTo>
                <a:cubicBezTo>
                  <a:pt x="1234" y="705"/>
                  <a:pt x="1239" y="706"/>
                  <a:pt x="1245" y="708"/>
                </a:cubicBezTo>
                <a:cubicBezTo>
                  <a:pt x="1245" y="708"/>
                  <a:pt x="1246" y="708"/>
                  <a:pt x="1246" y="708"/>
                </a:cubicBezTo>
                <a:close/>
                <a:moveTo>
                  <a:pt x="1157" y="679"/>
                </a:moveTo>
                <a:cubicBezTo>
                  <a:pt x="1158" y="679"/>
                  <a:pt x="1158" y="679"/>
                  <a:pt x="1158" y="679"/>
                </a:cubicBezTo>
                <a:cubicBezTo>
                  <a:pt x="1158" y="678"/>
                  <a:pt x="1164" y="677"/>
                  <a:pt x="1173" y="673"/>
                </a:cubicBezTo>
                <a:cubicBezTo>
                  <a:pt x="1171" y="667"/>
                  <a:pt x="1171" y="667"/>
                  <a:pt x="1171" y="667"/>
                </a:cubicBezTo>
                <a:cubicBezTo>
                  <a:pt x="1173" y="673"/>
                  <a:pt x="1173" y="673"/>
                  <a:pt x="1173" y="673"/>
                </a:cubicBezTo>
                <a:cubicBezTo>
                  <a:pt x="1180" y="669"/>
                  <a:pt x="1187" y="664"/>
                  <a:pt x="1193" y="660"/>
                </a:cubicBezTo>
                <a:cubicBezTo>
                  <a:pt x="1198" y="656"/>
                  <a:pt x="1203" y="653"/>
                  <a:pt x="1204" y="653"/>
                </a:cubicBezTo>
                <a:cubicBezTo>
                  <a:pt x="1211" y="662"/>
                  <a:pt x="1222" y="671"/>
                  <a:pt x="1233" y="674"/>
                </a:cubicBezTo>
                <a:cubicBezTo>
                  <a:pt x="1232" y="675"/>
                  <a:pt x="1232" y="677"/>
                  <a:pt x="1231" y="679"/>
                </a:cubicBezTo>
                <a:cubicBezTo>
                  <a:pt x="1230" y="680"/>
                  <a:pt x="1229" y="681"/>
                  <a:pt x="1228" y="682"/>
                </a:cubicBezTo>
                <a:cubicBezTo>
                  <a:pt x="1228" y="682"/>
                  <a:pt x="1228" y="682"/>
                  <a:pt x="1228" y="682"/>
                </a:cubicBezTo>
                <a:cubicBezTo>
                  <a:pt x="1224" y="682"/>
                  <a:pt x="1214" y="679"/>
                  <a:pt x="1204" y="679"/>
                </a:cubicBezTo>
                <a:cubicBezTo>
                  <a:pt x="1201" y="679"/>
                  <a:pt x="1201" y="679"/>
                  <a:pt x="1201" y="678"/>
                </a:cubicBezTo>
                <a:cubicBezTo>
                  <a:pt x="1200" y="678"/>
                  <a:pt x="1200" y="677"/>
                  <a:pt x="1199" y="675"/>
                </a:cubicBezTo>
                <a:cubicBezTo>
                  <a:pt x="1198" y="674"/>
                  <a:pt x="1195" y="672"/>
                  <a:pt x="1192" y="672"/>
                </a:cubicBezTo>
                <a:cubicBezTo>
                  <a:pt x="1191" y="672"/>
                  <a:pt x="1190" y="672"/>
                  <a:pt x="1189" y="672"/>
                </a:cubicBezTo>
                <a:cubicBezTo>
                  <a:pt x="1185" y="674"/>
                  <a:pt x="1174" y="677"/>
                  <a:pt x="1166" y="681"/>
                </a:cubicBezTo>
                <a:cubicBezTo>
                  <a:pt x="1165" y="682"/>
                  <a:pt x="1162" y="683"/>
                  <a:pt x="1160" y="683"/>
                </a:cubicBezTo>
                <a:cubicBezTo>
                  <a:pt x="1159" y="683"/>
                  <a:pt x="1157" y="682"/>
                  <a:pt x="1157" y="682"/>
                </a:cubicBezTo>
                <a:cubicBezTo>
                  <a:pt x="1157" y="680"/>
                  <a:pt x="1157" y="679"/>
                  <a:pt x="1157" y="679"/>
                </a:cubicBezTo>
                <a:close/>
                <a:moveTo>
                  <a:pt x="1239" y="392"/>
                </a:moveTo>
                <a:cubicBezTo>
                  <a:pt x="1238" y="392"/>
                  <a:pt x="1238" y="392"/>
                  <a:pt x="1237" y="393"/>
                </a:cubicBezTo>
                <a:cubicBezTo>
                  <a:pt x="1236" y="393"/>
                  <a:pt x="1235" y="393"/>
                  <a:pt x="1234" y="393"/>
                </a:cubicBezTo>
                <a:cubicBezTo>
                  <a:pt x="1233" y="393"/>
                  <a:pt x="1233" y="393"/>
                  <a:pt x="1232" y="392"/>
                </a:cubicBezTo>
                <a:cubicBezTo>
                  <a:pt x="1232" y="392"/>
                  <a:pt x="1232" y="392"/>
                  <a:pt x="1231" y="391"/>
                </a:cubicBezTo>
                <a:cubicBezTo>
                  <a:pt x="1234" y="391"/>
                  <a:pt x="1236" y="392"/>
                  <a:pt x="1239" y="392"/>
                </a:cubicBezTo>
                <a:close/>
                <a:moveTo>
                  <a:pt x="1190" y="333"/>
                </a:moveTo>
                <a:cubicBezTo>
                  <a:pt x="1192" y="333"/>
                  <a:pt x="1194" y="333"/>
                  <a:pt x="1196" y="333"/>
                </a:cubicBezTo>
                <a:cubicBezTo>
                  <a:pt x="1198" y="333"/>
                  <a:pt x="1200" y="332"/>
                  <a:pt x="1202" y="332"/>
                </a:cubicBezTo>
                <a:cubicBezTo>
                  <a:pt x="1208" y="332"/>
                  <a:pt x="1213" y="333"/>
                  <a:pt x="1217" y="334"/>
                </a:cubicBezTo>
                <a:cubicBezTo>
                  <a:pt x="1218" y="334"/>
                  <a:pt x="1219" y="334"/>
                  <a:pt x="1219" y="334"/>
                </a:cubicBezTo>
                <a:cubicBezTo>
                  <a:pt x="1219" y="335"/>
                  <a:pt x="1219" y="336"/>
                  <a:pt x="1219" y="337"/>
                </a:cubicBezTo>
                <a:cubicBezTo>
                  <a:pt x="1219" y="339"/>
                  <a:pt x="1218" y="341"/>
                  <a:pt x="1218" y="342"/>
                </a:cubicBezTo>
                <a:cubicBezTo>
                  <a:pt x="1218" y="343"/>
                  <a:pt x="1217" y="343"/>
                  <a:pt x="1217" y="343"/>
                </a:cubicBezTo>
                <a:cubicBezTo>
                  <a:pt x="1215" y="344"/>
                  <a:pt x="1212" y="345"/>
                  <a:pt x="1208" y="347"/>
                </a:cubicBezTo>
                <a:cubicBezTo>
                  <a:pt x="1204" y="348"/>
                  <a:pt x="1199" y="352"/>
                  <a:pt x="1197" y="358"/>
                </a:cubicBezTo>
                <a:cubicBezTo>
                  <a:pt x="1197" y="358"/>
                  <a:pt x="1197" y="359"/>
                  <a:pt x="1197" y="359"/>
                </a:cubicBezTo>
                <a:cubicBezTo>
                  <a:pt x="1197" y="357"/>
                  <a:pt x="1197" y="356"/>
                  <a:pt x="1197" y="354"/>
                </a:cubicBezTo>
                <a:cubicBezTo>
                  <a:pt x="1197" y="349"/>
                  <a:pt x="1196" y="343"/>
                  <a:pt x="1191" y="339"/>
                </a:cubicBezTo>
                <a:cubicBezTo>
                  <a:pt x="1188" y="336"/>
                  <a:pt x="1185" y="334"/>
                  <a:pt x="1182" y="332"/>
                </a:cubicBezTo>
                <a:cubicBezTo>
                  <a:pt x="1184" y="333"/>
                  <a:pt x="1187" y="333"/>
                  <a:pt x="1190" y="333"/>
                </a:cubicBezTo>
                <a:close/>
                <a:moveTo>
                  <a:pt x="1102" y="289"/>
                </a:moveTo>
                <a:cubicBezTo>
                  <a:pt x="1101" y="287"/>
                  <a:pt x="1101" y="287"/>
                  <a:pt x="1101" y="287"/>
                </a:cubicBezTo>
                <a:cubicBezTo>
                  <a:pt x="1102" y="289"/>
                  <a:pt x="1102" y="289"/>
                  <a:pt x="1102" y="289"/>
                </a:cubicBezTo>
                <a:cubicBezTo>
                  <a:pt x="1102" y="289"/>
                  <a:pt x="1102" y="289"/>
                  <a:pt x="1102" y="289"/>
                </a:cubicBezTo>
                <a:close/>
                <a:moveTo>
                  <a:pt x="190" y="423"/>
                </a:moveTo>
                <a:cubicBezTo>
                  <a:pt x="188" y="425"/>
                  <a:pt x="186" y="427"/>
                  <a:pt x="184" y="427"/>
                </a:cubicBezTo>
                <a:cubicBezTo>
                  <a:pt x="183" y="427"/>
                  <a:pt x="183" y="427"/>
                  <a:pt x="183" y="427"/>
                </a:cubicBezTo>
                <a:cubicBezTo>
                  <a:pt x="181" y="427"/>
                  <a:pt x="180" y="427"/>
                  <a:pt x="179" y="426"/>
                </a:cubicBezTo>
                <a:cubicBezTo>
                  <a:pt x="180" y="426"/>
                  <a:pt x="182" y="425"/>
                  <a:pt x="183" y="423"/>
                </a:cubicBezTo>
                <a:cubicBezTo>
                  <a:pt x="186" y="420"/>
                  <a:pt x="188" y="420"/>
                  <a:pt x="191" y="420"/>
                </a:cubicBezTo>
                <a:cubicBezTo>
                  <a:pt x="192" y="420"/>
                  <a:pt x="192" y="420"/>
                  <a:pt x="193" y="420"/>
                </a:cubicBezTo>
                <a:cubicBezTo>
                  <a:pt x="192" y="421"/>
                  <a:pt x="191" y="422"/>
                  <a:pt x="190" y="423"/>
                </a:cubicBezTo>
                <a:close/>
                <a:moveTo>
                  <a:pt x="692" y="653"/>
                </a:moveTo>
                <a:cubicBezTo>
                  <a:pt x="692" y="653"/>
                  <a:pt x="692" y="652"/>
                  <a:pt x="692" y="652"/>
                </a:cubicBezTo>
                <a:cubicBezTo>
                  <a:pt x="692" y="652"/>
                  <a:pt x="692" y="652"/>
                  <a:pt x="692" y="652"/>
                </a:cubicBezTo>
                <a:cubicBezTo>
                  <a:pt x="692" y="653"/>
                  <a:pt x="693" y="653"/>
                  <a:pt x="693" y="653"/>
                </a:cubicBezTo>
                <a:cubicBezTo>
                  <a:pt x="693" y="653"/>
                  <a:pt x="692" y="653"/>
                  <a:pt x="692" y="653"/>
                </a:cubicBezTo>
                <a:close/>
                <a:moveTo>
                  <a:pt x="714" y="672"/>
                </a:moveTo>
                <a:cubicBezTo>
                  <a:pt x="714" y="673"/>
                  <a:pt x="716" y="676"/>
                  <a:pt x="716" y="680"/>
                </a:cubicBezTo>
                <a:cubicBezTo>
                  <a:pt x="715" y="677"/>
                  <a:pt x="714" y="675"/>
                  <a:pt x="714" y="672"/>
                </a:cubicBezTo>
                <a:close/>
                <a:moveTo>
                  <a:pt x="832" y="962"/>
                </a:moveTo>
                <a:cubicBezTo>
                  <a:pt x="832" y="961"/>
                  <a:pt x="832" y="960"/>
                  <a:pt x="835" y="957"/>
                </a:cubicBezTo>
                <a:cubicBezTo>
                  <a:pt x="835" y="957"/>
                  <a:pt x="836" y="957"/>
                  <a:pt x="836" y="956"/>
                </a:cubicBezTo>
                <a:cubicBezTo>
                  <a:pt x="837" y="957"/>
                  <a:pt x="838" y="960"/>
                  <a:pt x="839" y="963"/>
                </a:cubicBezTo>
                <a:cubicBezTo>
                  <a:pt x="840" y="967"/>
                  <a:pt x="841" y="972"/>
                  <a:pt x="843" y="977"/>
                </a:cubicBezTo>
                <a:cubicBezTo>
                  <a:pt x="843" y="977"/>
                  <a:pt x="843" y="977"/>
                  <a:pt x="843" y="977"/>
                </a:cubicBezTo>
                <a:cubicBezTo>
                  <a:pt x="836" y="970"/>
                  <a:pt x="831" y="964"/>
                  <a:pt x="832" y="962"/>
                </a:cubicBezTo>
                <a:close/>
                <a:moveTo>
                  <a:pt x="897" y="270"/>
                </a:moveTo>
                <a:cubicBezTo>
                  <a:pt x="897" y="270"/>
                  <a:pt x="896" y="270"/>
                  <a:pt x="896" y="270"/>
                </a:cubicBezTo>
                <a:cubicBezTo>
                  <a:pt x="892" y="270"/>
                  <a:pt x="888" y="270"/>
                  <a:pt x="883" y="271"/>
                </a:cubicBezTo>
                <a:cubicBezTo>
                  <a:pt x="873" y="272"/>
                  <a:pt x="857" y="275"/>
                  <a:pt x="850" y="275"/>
                </a:cubicBezTo>
                <a:cubicBezTo>
                  <a:pt x="849" y="275"/>
                  <a:pt x="849" y="275"/>
                  <a:pt x="849" y="275"/>
                </a:cubicBezTo>
                <a:cubicBezTo>
                  <a:pt x="848" y="275"/>
                  <a:pt x="847" y="275"/>
                  <a:pt x="847" y="275"/>
                </a:cubicBezTo>
                <a:cubicBezTo>
                  <a:pt x="846" y="274"/>
                  <a:pt x="844" y="271"/>
                  <a:pt x="836" y="268"/>
                </a:cubicBezTo>
                <a:cubicBezTo>
                  <a:pt x="824" y="261"/>
                  <a:pt x="818" y="261"/>
                  <a:pt x="812" y="258"/>
                </a:cubicBezTo>
                <a:cubicBezTo>
                  <a:pt x="816" y="256"/>
                  <a:pt x="818" y="254"/>
                  <a:pt x="821" y="252"/>
                </a:cubicBezTo>
                <a:cubicBezTo>
                  <a:pt x="823" y="251"/>
                  <a:pt x="824" y="250"/>
                  <a:pt x="825" y="249"/>
                </a:cubicBezTo>
                <a:cubicBezTo>
                  <a:pt x="826" y="249"/>
                  <a:pt x="827" y="249"/>
                  <a:pt x="827" y="249"/>
                </a:cubicBezTo>
                <a:cubicBezTo>
                  <a:pt x="828" y="250"/>
                  <a:pt x="829" y="253"/>
                  <a:pt x="831" y="256"/>
                </a:cubicBezTo>
                <a:cubicBezTo>
                  <a:pt x="832" y="259"/>
                  <a:pt x="834" y="264"/>
                  <a:pt x="839" y="267"/>
                </a:cubicBezTo>
                <a:cubicBezTo>
                  <a:pt x="844" y="269"/>
                  <a:pt x="849" y="270"/>
                  <a:pt x="855" y="270"/>
                </a:cubicBezTo>
                <a:cubicBezTo>
                  <a:pt x="860" y="270"/>
                  <a:pt x="866" y="269"/>
                  <a:pt x="871" y="268"/>
                </a:cubicBezTo>
                <a:cubicBezTo>
                  <a:pt x="873" y="267"/>
                  <a:pt x="881" y="266"/>
                  <a:pt x="887" y="266"/>
                </a:cubicBezTo>
                <a:cubicBezTo>
                  <a:pt x="893" y="266"/>
                  <a:pt x="899" y="266"/>
                  <a:pt x="902" y="267"/>
                </a:cubicBezTo>
                <a:cubicBezTo>
                  <a:pt x="904" y="267"/>
                  <a:pt x="908" y="268"/>
                  <a:pt x="913" y="269"/>
                </a:cubicBezTo>
                <a:cubicBezTo>
                  <a:pt x="913" y="270"/>
                  <a:pt x="913" y="271"/>
                  <a:pt x="913" y="272"/>
                </a:cubicBezTo>
                <a:cubicBezTo>
                  <a:pt x="913" y="273"/>
                  <a:pt x="913" y="274"/>
                  <a:pt x="913" y="276"/>
                </a:cubicBezTo>
                <a:cubicBezTo>
                  <a:pt x="908" y="272"/>
                  <a:pt x="902" y="270"/>
                  <a:pt x="897" y="270"/>
                </a:cubicBezTo>
                <a:close/>
                <a:moveTo>
                  <a:pt x="1692" y="1468"/>
                </a:moveTo>
                <a:cubicBezTo>
                  <a:pt x="1691" y="1470"/>
                  <a:pt x="1691" y="1471"/>
                  <a:pt x="1682" y="1473"/>
                </a:cubicBezTo>
                <a:cubicBezTo>
                  <a:pt x="1680" y="1474"/>
                  <a:pt x="1679" y="1474"/>
                  <a:pt x="1678" y="1474"/>
                </a:cubicBezTo>
                <a:cubicBezTo>
                  <a:pt x="1677" y="1474"/>
                  <a:pt x="1676" y="1474"/>
                  <a:pt x="1676" y="1474"/>
                </a:cubicBezTo>
                <a:cubicBezTo>
                  <a:pt x="1676" y="1473"/>
                  <a:pt x="1677" y="1473"/>
                  <a:pt x="1678" y="1473"/>
                </a:cubicBezTo>
                <a:cubicBezTo>
                  <a:pt x="1683" y="1472"/>
                  <a:pt x="1688" y="1470"/>
                  <a:pt x="1692" y="1467"/>
                </a:cubicBezTo>
                <a:cubicBezTo>
                  <a:pt x="1692" y="1467"/>
                  <a:pt x="1692" y="1468"/>
                  <a:pt x="1692" y="1468"/>
                </a:cubicBezTo>
                <a:close/>
                <a:moveTo>
                  <a:pt x="1712" y="1500"/>
                </a:moveTo>
                <a:cubicBezTo>
                  <a:pt x="1712" y="1500"/>
                  <a:pt x="1712" y="1500"/>
                  <a:pt x="1712" y="1500"/>
                </a:cubicBezTo>
                <a:cubicBezTo>
                  <a:pt x="1712" y="1500"/>
                  <a:pt x="1712" y="1500"/>
                  <a:pt x="1712" y="1500"/>
                </a:cubicBezTo>
                <a:cubicBezTo>
                  <a:pt x="1712" y="1500"/>
                  <a:pt x="1712" y="1500"/>
                  <a:pt x="1712" y="1500"/>
                </a:cubicBezTo>
                <a:cubicBezTo>
                  <a:pt x="1712" y="1500"/>
                  <a:pt x="1712" y="1500"/>
                  <a:pt x="1712" y="1500"/>
                </a:cubicBezTo>
                <a:close/>
                <a:moveTo>
                  <a:pt x="1024" y="266"/>
                </a:moveTo>
                <a:cubicBezTo>
                  <a:pt x="1021" y="266"/>
                  <a:pt x="1014" y="264"/>
                  <a:pt x="1008" y="264"/>
                </a:cubicBezTo>
                <a:cubicBezTo>
                  <a:pt x="1003" y="264"/>
                  <a:pt x="998" y="265"/>
                  <a:pt x="994" y="268"/>
                </a:cubicBezTo>
                <a:cubicBezTo>
                  <a:pt x="990" y="271"/>
                  <a:pt x="989" y="276"/>
                  <a:pt x="989" y="279"/>
                </a:cubicBezTo>
                <a:cubicBezTo>
                  <a:pt x="989" y="287"/>
                  <a:pt x="993" y="296"/>
                  <a:pt x="1003" y="297"/>
                </a:cubicBezTo>
                <a:cubicBezTo>
                  <a:pt x="1004" y="297"/>
                  <a:pt x="1005" y="297"/>
                  <a:pt x="1005" y="297"/>
                </a:cubicBezTo>
                <a:cubicBezTo>
                  <a:pt x="1012" y="297"/>
                  <a:pt x="1019" y="295"/>
                  <a:pt x="1023" y="294"/>
                </a:cubicBezTo>
                <a:cubicBezTo>
                  <a:pt x="1024" y="297"/>
                  <a:pt x="1025" y="302"/>
                  <a:pt x="1027" y="307"/>
                </a:cubicBezTo>
                <a:cubicBezTo>
                  <a:pt x="1030" y="312"/>
                  <a:pt x="1034" y="320"/>
                  <a:pt x="1044" y="320"/>
                </a:cubicBezTo>
                <a:cubicBezTo>
                  <a:pt x="1047" y="320"/>
                  <a:pt x="1049" y="319"/>
                  <a:pt x="1052" y="318"/>
                </a:cubicBezTo>
                <a:cubicBezTo>
                  <a:pt x="1060" y="313"/>
                  <a:pt x="1064" y="308"/>
                  <a:pt x="1066" y="305"/>
                </a:cubicBezTo>
                <a:cubicBezTo>
                  <a:pt x="1067" y="303"/>
                  <a:pt x="1068" y="302"/>
                  <a:pt x="1068" y="301"/>
                </a:cubicBezTo>
                <a:cubicBezTo>
                  <a:pt x="1071" y="300"/>
                  <a:pt x="1072" y="298"/>
                  <a:pt x="1073" y="297"/>
                </a:cubicBezTo>
                <a:cubicBezTo>
                  <a:pt x="1073" y="295"/>
                  <a:pt x="1073" y="294"/>
                  <a:pt x="1073" y="292"/>
                </a:cubicBezTo>
                <a:cubicBezTo>
                  <a:pt x="1073" y="284"/>
                  <a:pt x="1070" y="272"/>
                  <a:pt x="1063" y="265"/>
                </a:cubicBezTo>
                <a:cubicBezTo>
                  <a:pt x="1058" y="262"/>
                  <a:pt x="1053" y="262"/>
                  <a:pt x="1047" y="262"/>
                </a:cubicBezTo>
                <a:cubicBezTo>
                  <a:pt x="1039" y="262"/>
                  <a:pt x="1030" y="263"/>
                  <a:pt x="1025" y="266"/>
                </a:cubicBezTo>
                <a:cubicBezTo>
                  <a:pt x="1025" y="266"/>
                  <a:pt x="1025" y="266"/>
                  <a:pt x="1025" y="266"/>
                </a:cubicBezTo>
                <a:cubicBezTo>
                  <a:pt x="1025" y="266"/>
                  <a:pt x="1024" y="266"/>
                  <a:pt x="1024" y="266"/>
                </a:cubicBezTo>
                <a:close/>
                <a:moveTo>
                  <a:pt x="2576" y="835"/>
                </a:moveTo>
                <a:cubicBezTo>
                  <a:pt x="2575" y="835"/>
                  <a:pt x="2567" y="833"/>
                  <a:pt x="2559" y="833"/>
                </a:cubicBezTo>
                <a:cubicBezTo>
                  <a:pt x="2556" y="833"/>
                  <a:pt x="2552" y="833"/>
                  <a:pt x="2548" y="836"/>
                </a:cubicBezTo>
                <a:cubicBezTo>
                  <a:pt x="2546" y="837"/>
                  <a:pt x="2544" y="840"/>
                  <a:pt x="2544" y="843"/>
                </a:cubicBezTo>
                <a:cubicBezTo>
                  <a:pt x="2545" y="849"/>
                  <a:pt x="2548" y="851"/>
                  <a:pt x="2551" y="854"/>
                </a:cubicBezTo>
                <a:cubicBezTo>
                  <a:pt x="2555" y="857"/>
                  <a:pt x="2558" y="860"/>
                  <a:pt x="2562" y="862"/>
                </a:cubicBezTo>
                <a:cubicBezTo>
                  <a:pt x="2563" y="862"/>
                  <a:pt x="2565" y="864"/>
                  <a:pt x="2568" y="867"/>
                </a:cubicBezTo>
                <a:cubicBezTo>
                  <a:pt x="2570" y="869"/>
                  <a:pt x="2572" y="873"/>
                  <a:pt x="2577" y="874"/>
                </a:cubicBezTo>
                <a:cubicBezTo>
                  <a:pt x="2577" y="874"/>
                  <a:pt x="2577" y="874"/>
                  <a:pt x="2577" y="874"/>
                </a:cubicBezTo>
                <a:cubicBezTo>
                  <a:pt x="2577" y="874"/>
                  <a:pt x="2577" y="874"/>
                  <a:pt x="2577" y="874"/>
                </a:cubicBezTo>
                <a:cubicBezTo>
                  <a:pt x="2577" y="874"/>
                  <a:pt x="2577" y="874"/>
                  <a:pt x="2577" y="874"/>
                </a:cubicBezTo>
                <a:cubicBezTo>
                  <a:pt x="2579" y="875"/>
                  <a:pt x="2581" y="875"/>
                  <a:pt x="2583" y="875"/>
                </a:cubicBezTo>
                <a:cubicBezTo>
                  <a:pt x="2586" y="875"/>
                  <a:pt x="2590" y="874"/>
                  <a:pt x="2594" y="872"/>
                </a:cubicBezTo>
                <a:cubicBezTo>
                  <a:pt x="2598" y="870"/>
                  <a:pt x="2601" y="865"/>
                  <a:pt x="2601" y="859"/>
                </a:cubicBezTo>
                <a:cubicBezTo>
                  <a:pt x="2601" y="857"/>
                  <a:pt x="2600" y="855"/>
                  <a:pt x="2600" y="853"/>
                </a:cubicBezTo>
                <a:cubicBezTo>
                  <a:pt x="2594" y="836"/>
                  <a:pt x="2579" y="834"/>
                  <a:pt x="2576" y="835"/>
                </a:cubicBezTo>
                <a:close/>
                <a:moveTo>
                  <a:pt x="4079" y="1252"/>
                </a:moveTo>
                <a:cubicBezTo>
                  <a:pt x="4079" y="1252"/>
                  <a:pt x="4079" y="1252"/>
                  <a:pt x="4078" y="1252"/>
                </a:cubicBezTo>
                <a:cubicBezTo>
                  <a:pt x="4074" y="1252"/>
                  <a:pt x="4073" y="1255"/>
                  <a:pt x="4071" y="1256"/>
                </a:cubicBezTo>
                <a:cubicBezTo>
                  <a:pt x="4067" y="1261"/>
                  <a:pt x="4063" y="1269"/>
                  <a:pt x="4063" y="1277"/>
                </a:cubicBezTo>
                <a:cubicBezTo>
                  <a:pt x="4063" y="1280"/>
                  <a:pt x="4063" y="1282"/>
                  <a:pt x="4064" y="1284"/>
                </a:cubicBezTo>
                <a:cubicBezTo>
                  <a:pt x="4064" y="1284"/>
                  <a:pt x="4064" y="1284"/>
                  <a:pt x="4064" y="1284"/>
                </a:cubicBezTo>
                <a:cubicBezTo>
                  <a:pt x="4059" y="1279"/>
                  <a:pt x="4054" y="1273"/>
                  <a:pt x="4045" y="1272"/>
                </a:cubicBezTo>
                <a:cubicBezTo>
                  <a:pt x="4042" y="1272"/>
                  <a:pt x="4040" y="1273"/>
                  <a:pt x="4038" y="1274"/>
                </a:cubicBezTo>
                <a:cubicBezTo>
                  <a:pt x="4035" y="1275"/>
                  <a:pt x="4034" y="1277"/>
                  <a:pt x="4033" y="1278"/>
                </a:cubicBezTo>
                <a:cubicBezTo>
                  <a:pt x="4030" y="1283"/>
                  <a:pt x="4027" y="1290"/>
                  <a:pt x="4027" y="1298"/>
                </a:cubicBezTo>
                <a:cubicBezTo>
                  <a:pt x="4027" y="1301"/>
                  <a:pt x="4027" y="1304"/>
                  <a:pt x="4030" y="1307"/>
                </a:cubicBezTo>
                <a:cubicBezTo>
                  <a:pt x="4032" y="1310"/>
                  <a:pt x="4036" y="1312"/>
                  <a:pt x="4039" y="1311"/>
                </a:cubicBezTo>
                <a:cubicBezTo>
                  <a:pt x="4046" y="1311"/>
                  <a:pt x="4055" y="1313"/>
                  <a:pt x="4062" y="1313"/>
                </a:cubicBezTo>
                <a:cubicBezTo>
                  <a:pt x="4065" y="1313"/>
                  <a:pt x="4067" y="1313"/>
                  <a:pt x="4069" y="1312"/>
                </a:cubicBezTo>
                <a:cubicBezTo>
                  <a:pt x="4071" y="1312"/>
                  <a:pt x="4072" y="1311"/>
                  <a:pt x="4073" y="1310"/>
                </a:cubicBezTo>
                <a:cubicBezTo>
                  <a:pt x="4075" y="1309"/>
                  <a:pt x="4076" y="1307"/>
                  <a:pt x="4076" y="1304"/>
                </a:cubicBezTo>
                <a:cubicBezTo>
                  <a:pt x="4076" y="1302"/>
                  <a:pt x="4075" y="1301"/>
                  <a:pt x="4074" y="1299"/>
                </a:cubicBezTo>
                <a:cubicBezTo>
                  <a:pt x="4073" y="1297"/>
                  <a:pt x="4070" y="1293"/>
                  <a:pt x="4067" y="1289"/>
                </a:cubicBezTo>
                <a:cubicBezTo>
                  <a:pt x="4070" y="1291"/>
                  <a:pt x="4074" y="1292"/>
                  <a:pt x="4078" y="1292"/>
                </a:cubicBezTo>
                <a:cubicBezTo>
                  <a:pt x="4079" y="1292"/>
                  <a:pt x="4079" y="1292"/>
                  <a:pt x="4080" y="1292"/>
                </a:cubicBezTo>
                <a:cubicBezTo>
                  <a:pt x="4092" y="1292"/>
                  <a:pt x="4099" y="1283"/>
                  <a:pt x="4099" y="1274"/>
                </a:cubicBezTo>
                <a:cubicBezTo>
                  <a:pt x="4099" y="1264"/>
                  <a:pt x="4091" y="1252"/>
                  <a:pt x="4079" y="1252"/>
                </a:cubicBezTo>
                <a:close/>
                <a:moveTo>
                  <a:pt x="4392" y="2119"/>
                </a:moveTo>
                <a:cubicBezTo>
                  <a:pt x="4385" y="2120"/>
                  <a:pt x="4381" y="2124"/>
                  <a:pt x="4375" y="2127"/>
                </a:cubicBezTo>
                <a:cubicBezTo>
                  <a:pt x="4372" y="2129"/>
                  <a:pt x="4369" y="2131"/>
                  <a:pt x="4367" y="2132"/>
                </a:cubicBezTo>
                <a:cubicBezTo>
                  <a:pt x="4366" y="2133"/>
                  <a:pt x="4365" y="2133"/>
                  <a:pt x="4365" y="2133"/>
                </a:cubicBezTo>
                <a:cubicBezTo>
                  <a:pt x="4365" y="2133"/>
                  <a:pt x="4364" y="2133"/>
                  <a:pt x="4364" y="2133"/>
                </a:cubicBezTo>
                <a:cubicBezTo>
                  <a:pt x="4359" y="2132"/>
                  <a:pt x="4348" y="2127"/>
                  <a:pt x="4348" y="2127"/>
                </a:cubicBezTo>
                <a:cubicBezTo>
                  <a:pt x="4345" y="2126"/>
                  <a:pt x="4343" y="2127"/>
                  <a:pt x="4341" y="2129"/>
                </a:cubicBezTo>
                <a:cubicBezTo>
                  <a:pt x="4338" y="2132"/>
                  <a:pt x="4336" y="2136"/>
                  <a:pt x="4336" y="2140"/>
                </a:cubicBezTo>
                <a:cubicBezTo>
                  <a:pt x="4336" y="2148"/>
                  <a:pt x="4342" y="2151"/>
                  <a:pt x="4344" y="2154"/>
                </a:cubicBezTo>
                <a:cubicBezTo>
                  <a:pt x="4348" y="2157"/>
                  <a:pt x="4349" y="2158"/>
                  <a:pt x="4349" y="2160"/>
                </a:cubicBezTo>
                <a:cubicBezTo>
                  <a:pt x="4349" y="2161"/>
                  <a:pt x="4349" y="2161"/>
                  <a:pt x="4349" y="2162"/>
                </a:cubicBezTo>
                <a:cubicBezTo>
                  <a:pt x="4348" y="2163"/>
                  <a:pt x="4348" y="2165"/>
                  <a:pt x="4348" y="2166"/>
                </a:cubicBezTo>
                <a:cubicBezTo>
                  <a:pt x="4348" y="2170"/>
                  <a:pt x="4350" y="2175"/>
                  <a:pt x="4354" y="2177"/>
                </a:cubicBezTo>
                <a:cubicBezTo>
                  <a:pt x="4357" y="2179"/>
                  <a:pt x="4360" y="2179"/>
                  <a:pt x="4363" y="2179"/>
                </a:cubicBezTo>
                <a:cubicBezTo>
                  <a:pt x="4370" y="2179"/>
                  <a:pt x="4376" y="2177"/>
                  <a:pt x="4380" y="2175"/>
                </a:cubicBezTo>
                <a:cubicBezTo>
                  <a:pt x="4384" y="2173"/>
                  <a:pt x="4385" y="2171"/>
                  <a:pt x="4388" y="2167"/>
                </a:cubicBezTo>
                <a:cubicBezTo>
                  <a:pt x="4394" y="2157"/>
                  <a:pt x="4401" y="2140"/>
                  <a:pt x="4401" y="2129"/>
                </a:cubicBezTo>
                <a:cubicBezTo>
                  <a:pt x="4401" y="2128"/>
                  <a:pt x="4401" y="2127"/>
                  <a:pt x="4401" y="2125"/>
                </a:cubicBezTo>
                <a:cubicBezTo>
                  <a:pt x="4400" y="2122"/>
                  <a:pt x="4395" y="2119"/>
                  <a:pt x="4392" y="2119"/>
                </a:cubicBezTo>
                <a:close/>
                <a:moveTo>
                  <a:pt x="4086" y="1305"/>
                </a:moveTo>
                <a:cubicBezTo>
                  <a:pt x="4085" y="1304"/>
                  <a:pt x="4083" y="1303"/>
                  <a:pt x="4081" y="1304"/>
                </a:cubicBezTo>
                <a:cubicBezTo>
                  <a:pt x="4079" y="1304"/>
                  <a:pt x="4078" y="1305"/>
                  <a:pt x="4077" y="1306"/>
                </a:cubicBezTo>
                <a:cubicBezTo>
                  <a:pt x="4072" y="1313"/>
                  <a:pt x="4069" y="1318"/>
                  <a:pt x="4067" y="1320"/>
                </a:cubicBezTo>
                <a:cubicBezTo>
                  <a:pt x="4066" y="1321"/>
                  <a:pt x="4066" y="1322"/>
                  <a:pt x="4065" y="1322"/>
                </a:cubicBezTo>
                <a:cubicBezTo>
                  <a:pt x="4064" y="1321"/>
                  <a:pt x="4062" y="1320"/>
                  <a:pt x="4058" y="1318"/>
                </a:cubicBezTo>
                <a:cubicBezTo>
                  <a:pt x="4056" y="1317"/>
                  <a:pt x="4053" y="1316"/>
                  <a:pt x="4051" y="1316"/>
                </a:cubicBezTo>
                <a:cubicBezTo>
                  <a:pt x="4043" y="1316"/>
                  <a:pt x="4037" y="1320"/>
                  <a:pt x="4032" y="1324"/>
                </a:cubicBezTo>
                <a:cubicBezTo>
                  <a:pt x="4027" y="1329"/>
                  <a:pt x="4023" y="1334"/>
                  <a:pt x="4022" y="1341"/>
                </a:cubicBezTo>
                <a:cubicBezTo>
                  <a:pt x="4022" y="1342"/>
                  <a:pt x="4023" y="1344"/>
                  <a:pt x="4024" y="1346"/>
                </a:cubicBezTo>
                <a:cubicBezTo>
                  <a:pt x="4026" y="1350"/>
                  <a:pt x="4031" y="1351"/>
                  <a:pt x="4034" y="1352"/>
                </a:cubicBezTo>
                <a:cubicBezTo>
                  <a:pt x="4040" y="1352"/>
                  <a:pt x="4045" y="1352"/>
                  <a:pt x="4050" y="1353"/>
                </a:cubicBezTo>
                <a:cubicBezTo>
                  <a:pt x="4055" y="1353"/>
                  <a:pt x="4057" y="1355"/>
                  <a:pt x="4058" y="1356"/>
                </a:cubicBezTo>
                <a:cubicBezTo>
                  <a:pt x="4060" y="1361"/>
                  <a:pt x="4061" y="1364"/>
                  <a:pt x="4063" y="1367"/>
                </a:cubicBezTo>
                <a:cubicBezTo>
                  <a:pt x="4065" y="1370"/>
                  <a:pt x="4069" y="1372"/>
                  <a:pt x="4073" y="1372"/>
                </a:cubicBezTo>
                <a:cubicBezTo>
                  <a:pt x="4073" y="1372"/>
                  <a:pt x="4073" y="1372"/>
                  <a:pt x="4074" y="1372"/>
                </a:cubicBezTo>
                <a:cubicBezTo>
                  <a:pt x="4076" y="1372"/>
                  <a:pt x="4079" y="1371"/>
                  <a:pt x="4082" y="1371"/>
                </a:cubicBezTo>
                <a:cubicBezTo>
                  <a:pt x="4090" y="1369"/>
                  <a:pt x="4095" y="1363"/>
                  <a:pt x="4100" y="1357"/>
                </a:cubicBezTo>
                <a:cubicBezTo>
                  <a:pt x="4104" y="1351"/>
                  <a:pt x="4107" y="1344"/>
                  <a:pt x="4107" y="1337"/>
                </a:cubicBezTo>
                <a:cubicBezTo>
                  <a:pt x="4107" y="1335"/>
                  <a:pt x="4107" y="1333"/>
                  <a:pt x="4106" y="1331"/>
                </a:cubicBezTo>
                <a:cubicBezTo>
                  <a:pt x="4101" y="1319"/>
                  <a:pt x="4086" y="1306"/>
                  <a:pt x="4086" y="1305"/>
                </a:cubicBezTo>
                <a:close/>
                <a:moveTo>
                  <a:pt x="4425" y="1824"/>
                </a:moveTo>
                <a:cubicBezTo>
                  <a:pt x="4417" y="1815"/>
                  <a:pt x="4412" y="1805"/>
                  <a:pt x="4412" y="1803"/>
                </a:cubicBezTo>
                <a:cubicBezTo>
                  <a:pt x="4412" y="1803"/>
                  <a:pt x="4412" y="1803"/>
                  <a:pt x="4412" y="1803"/>
                </a:cubicBezTo>
                <a:cubicBezTo>
                  <a:pt x="4412" y="1802"/>
                  <a:pt x="4412" y="1802"/>
                  <a:pt x="4412" y="1802"/>
                </a:cubicBezTo>
                <a:cubicBezTo>
                  <a:pt x="4412" y="1802"/>
                  <a:pt x="4412" y="1801"/>
                  <a:pt x="4412" y="1801"/>
                </a:cubicBezTo>
                <a:cubicBezTo>
                  <a:pt x="4413" y="1796"/>
                  <a:pt x="4410" y="1792"/>
                  <a:pt x="4407" y="1789"/>
                </a:cubicBezTo>
                <a:cubicBezTo>
                  <a:pt x="4398" y="1782"/>
                  <a:pt x="4386" y="1781"/>
                  <a:pt x="4381" y="1775"/>
                </a:cubicBezTo>
                <a:cubicBezTo>
                  <a:pt x="4377" y="1772"/>
                  <a:pt x="4374" y="1764"/>
                  <a:pt x="4372" y="1753"/>
                </a:cubicBezTo>
                <a:cubicBezTo>
                  <a:pt x="4370" y="1743"/>
                  <a:pt x="4368" y="1732"/>
                  <a:pt x="4365" y="1722"/>
                </a:cubicBezTo>
                <a:cubicBezTo>
                  <a:pt x="4359" y="1704"/>
                  <a:pt x="4346" y="1693"/>
                  <a:pt x="4335" y="1678"/>
                </a:cubicBezTo>
                <a:cubicBezTo>
                  <a:pt x="4331" y="1672"/>
                  <a:pt x="4326" y="1661"/>
                  <a:pt x="4323" y="1651"/>
                </a:cubicBezTo>
                <a:cubicBezTo>
                  <a:pt x="4322" y="1646"/>
                  <a:pt x="4320" y="1642"/>
                  <a:pt x="4319" y="1638"/>
                </a:cubicBezTo>
                <a:cubicBezTo>
                  <a:pt x="4318" y="1636"/>
                  <a:pt x="4318" y="1635"/>
                  <a:pt x="4317" y="1633"/>
                </a:cubicBezTo>
                <a:cubicBezTo>
                  <a:pt x="4316" y="1633"/>
                  <a:pt x="4316" y="1631"/>
                  <a:pt x="4315" y="1630"/>
                </a:cubicBezTo>
                <a:cubicBezTo>
                  <a:pt x="4320" y="1627"/>
                  <a:pt x="4324" y="1621"/>
                  <a:pt x="4327" y="1615"/>
                </a:cubicBezTo>
                <a:cubicBezTo>
                  <a:pt x="4331" y="1607"/>
                  <a:pt x="4335" y="1599"/>
                  <a:pt x="4336" y="1597"/>
                </a:cubicBezTo>
                <a:cubicBezTo>
                  <a:pt x="4337" y="1596"/>
                  <a:pt x="4344" y="1593"/>
                  <a:pt x="4350" y="1593"/>
                </a:cubicBezTo>
                <a:cubicBezTo>
                  <a:pt x="4352" y="1593"/>
                  <a:pt x="4354" y="1594"/>
                  <a:pt x="4355" y="1594"/>
                </a:cubicBezTo>
                <a:cubicBezTo>
                  <a:pt x="4356" y="1595"/>
                  <a:pt x="4356" y="1595"/>
                  <a:pt x="4357" y="1596"/>
                </a:cubicBezTo>
                <a:cubicBezTo>
                  <a:pt x="4359" y="1610"/>
                  <a:pt x="4367" y="1624"/>
                  <a:pt x="4383" y="1633"/>
                </a:cubicBezTo>
                <a:cubicBezTo>
                  <a:pt x="4393" y="1639"/>
                  <a:pt x="4404" y="1646"/>
                  <a:pt x="4413" y="1646"/>
                </a:cubicBezTo>
                <a:cubicBezTo>
                  <a:pt x="4416" y="1647"/>
                  <a:pt x="4422" y="1644"/>
                  <a:pt x="4423" y="1639"/>
                </a:cubicBezTo>
                <a:cubicBezTo>
                  <a:pt x="4423" y="1638"/>
                  <a:pt x="4423" y="1637"/>
                  <a:pt x="4423" y="1636"/>
                </a:cubicBezTo>
                <a:cubicBezTo>
                  <a:pt x="4423" y="1630"/>
                  <a:pt x="4421" y="1622"/>
                  <a:pt x="4418" y="1614"/>
                </a:cubicBezTo>
                <a:cubicBezTo>
                  <a:pt x="4414" y="1606"/>
                  <a:pt x="4411" y="1599"/>
                  <a:pt x="4403" y="1595"/>
                </a:cubicBezTo>
                <a:cubicBezTo>
                  <a:pt x="4401" y="1594"/>
                  <a:pt x="4394" y="1588"/>
                  <a:pt x="4390" y="1580"/>
                </a:cubicBezTo>
                <a:cubicBezTo>
                  <a:pt x="4385" y="1574"/>
                  <a:pt x="4381" y="1565"/>
                  <a:pt x="4381" y="1563"/>
                </a:cubicBezTo>
                <a:cubicBezTo>
                  <a:pt x="4381" y="1555"/>
                  <a:pt x="4375" y="1550"/>
                  <a:pt x="4371" y="1547"/>
                </a:cubicBezTo>
                <a:cubicBezTo>
                  <a:pt x="4366" y="1544"/>
                  <a:pt x="4361" y="1542"/>
                  <a:pt x="4359" y="1540"/>
                </a:cubicBezTo>
                <a:cubicBezTo>
                  <a:pt x="4354" y="1536"/>
                  <a:pt x="4347" y="1513"/>
                  <a:pt x="4326" y="1508"/>
                </a:cubicBezTo>
                <a:cubicBezTo>
                  <a:pt x="4310" y="1504"/>
                  <a:pt x="4307" y="1498"/>
                  <a:pt x="4288" y="1486"/>
                </a:cubicBezTo>
                <a:cubicBezTo>
                  <a:pt x="4275" y="1479"/>
                  <a:pt x="4258" y="1477"/>
                  <a:pt x="4243" y="1477"/>
                </a:cubicBezTo>
                <a:cubicBezTo>
                  <a:pt x="4237" y="1477"/>
                  <a:pt x="4232" y="1477"/>
                  <a:pt x="4228" y="1478"/>
                </a:cubicBezTo>
                <a:cubicBezTo>
                  <a:pt x="4226" y="1478"/>
                  <a:pt x="4224" y="1479"/>
                  <a:pt x="4222" y="1480"/>
                </a:cubicBezTo>
                <a:cubicBezTo>
                  <a:pt x="4222" y="1480"/>
                  <a:pt x="4221" y="1481"/>
                  <a:pt x="4221" y="1481"/>
                </a:cubicBezTo>
                <a:cubicBezTo>
                  <a:pt x="4219" y="1479"/>
                  <a:pt x="4216" y="1478"/>
                  <a:pt x="4212" y="1476"/>
                </a:cubicBezTo>
                <a:cubicBezTo>
                  <a:pt x="4204" y="1473"/>
                  <a:pt x="4197" y="1473"/>
                  <a:pt x="4193" y="1473"/>
                </a:cubicBezTo>
                <a:cubicBezTo>
                  <a:pt x="4191" y="1472"/>
                  <a:pt x="4189" y="1472"/>
                  <a:pt x="4189" y="1472"/>
                </a:cubicBezTo>
                <a:cubicBezTo>
                  <a:pt x="4188" y="1471"/>
                  <a:pt x="4188" y="1472"/>
                  <a:pt x="4188" y="1470"/>
                </a:cubicBezTo>
                <a:cubicBezTo>
                  <a:pt x="4186" y="1464"/>
                  <a:pt x="4181" y="1458"/>
                  <a:pt x="4173" y="1458"/>
                </a:cubicBezTo>
                <a:cubicBezTo>
                  <a:pt x="4166" y="1458"/>
                  <a:pt x="4161" y="1462"/>
                  <a:pt x="4156" y="1468"/>
                </a:cubicBezTo>
                <a:cubicBezTo>
                  <a:pt x="4154" y="1471"/>
                  <a:pt x="4152" y="1473"/>
                  <a:pt x="4150" y="1474"/>
                </a:cubicBezTo>
                <a:cubicBezTo>
                  <a:pt x="4149" y="1476"/>
                  <a:pt x="4147" y="1478"/>
                  <a:pt x="4147" y="1482"/>
                </a:cubicBezTo>
                <a:cubicBezTo>
                  <a:pt x="4147" y="1484"/>
                  <a:pt x="4148" y="1487"/>
                  <a:pt x="4150" y="1488"/>
                </a:cubicBezTo>
                <a:cubicBezTo>
                  <a:pt x="4154" y="1491"/>
                  <a:pt x="4158" y="1491"/>
                  <a:pt x="4166" y="1493"/>
                </a:cubicBezTo>
                <a:cubicBezTo>
                  <a:pt x="4173" y="1495"/>
                  <a:pt x="4178" y="1496"/>
                  <a:pt x="4181" y="1497"/>
                </a:cubicBezTo>
                <a:cubicBezTo>
                  <a:pt x="4181" y="1497"/>
                  <a:pt x="4181" y="1497"/>
                  <a:pt x="4181" y="1497"/>
                </a:cubicBezTo>
                <a:cubicBezTo>
                  <a:pt x="4181" y="1497"/>
                  <a:pt x="4180" y="1498"/>
                  <a:pt x="4179" y="1499"/>
                </a:cubicBezTo>
                <a:cubicBezTo>
                  <a:pt x="4174" y="1507"/>
                  <a:pt x="4169" y="1516"/>
                  <a:pt x="4168" y="1524"/>
                </a:cubicBezTo>
                <a:cubicBezTo>
                  <a:pt x="4168" y="1528"/>
                  <a:pt x="4171" y="1534"/>
                  <a:pt x="4176" y="1535"/>
                </a:cubicBezTo>
                <a:cubicBezTo>
                  <a:pt x="4177" y="1535"/>
                  <a:pt x="4179" y="1535"/>
                  <a:pt x="4180" y="1535"/>
                </a:cubicBezTo>
                <a:cubicBezTo>
                  <a:pt x="4187" y="1535"/>
                  <a:pt x="4196" y="1533"/>
                  <a:pt x="4201" y="1533"/>
                </a:cubicBezTo>
                <a:cubicBezTo>
                  <a:pt x="4202" y="1533"/>
                  <a:pt x="4202" y="1533"/>
                  <a:pt x="4202" y="1533"/>
                </a:cubicBezTo>
                <a:cubicBezTo>
                  <a:pt x="4202" y="1533"/>
                  <a:pt x="4202" y="1535"/>
                  <a:pt x="4203" y="1537"/>
                </a:cubicBezTo>
                <a:cubicBezTo>
                  <a:pt x="4205" y="1540"/>
                  <a:pt x="4208" y="1541"/>
                  <a:pt x="4211" y="1543"/>
                </a:cubicBezTo>
                <a:cubicBezTo>
                  <a:pt x="4214" y="1544"/>
                  <a:pt x="4218" y="1545"/>
                  <a:pt x="4225" y="1546"/>
                </a:cubicBezTo>
                <a:cubicBezTo>
                  <a:pt x="4246" y="1550"/>
                  <a:pt x="4248" y="1557"/>
                  <a:pt x="4253" y="1563"/>
                </a:cubicBezTo>
                <a:cubicBezTo>
                  <a:pt x="4255" y="1565"/>
                  <a:pt x="4258" y="1569"/>
                  <a:pt x="4260" y="1572"/>
                </a:cubicBezTo>
                <a:cubicBezTo>
                  <a:pt x="4261" y="1574"/>
                  <a:pt x="4262" y="1576"/>
                  <a:pt x="4263" y="1577"/>
                </a:cubicBezTo>
                <a:cubicBezTo>
                  <a:pt x="4259" y="1578"/>
                  <a:pt x="4256" y="1580"/>
                  <a:pt x="4253" y="1583"/>
                </a:cubicBezTo>
                <a:cubicBezTo>
                  <a:pt x="4250" y="1586"/>
                  <a:pt x="4247" y="1590"/>
                  <a:pt x="4246" y="1595"/>
                </a:cubicBezTo>
                <a:cubicBezTo>
                  <a:pt x="4246" y="1599"/>
                  <a:pt x="4250" y="1603"/>
                  <a:pt x="4253" y="1604"/>
                </a:cubicBezTo>
                <a:cubicBezTo>
                  <a:pt x="4255" y="1604"/>
                  <a:pt x="4256" y="1605"/>
                  <a:pt x="4257" y="1605"/>
                </a:cubicBezTo>
                <a:cubicBezTo>
                  <a:pt x="4264" y="1605"/>
                  <a:pt x="4274" y="1604"/>
                  <a:pt x="4278" y="1604"/>
                </a:cubicBezTo>
                <a:cubicBezTo>
                  <a:pt x="4278" y="1604"/>
                  <a:pt x="4278" y="1604"/>
                  <a:pt x="4278" y="1604"/>
                </a:cubicBezTo>
                <a:cubicBezTo>
                  <a:pt x="4280" y="1604"/>
                  <a:pt x="4282" y="1612"/>
                  <a:pt x="4286" y="1618"/>
                </a:cubicBezTo>
                <a:cubicBezTo>
                  <a:pt x="4290" y="1624"/>
                  <a:pt x="4295" y="1631"/>
                  <a:pt x="4304" y="1633"/>
                </a:cubicBezTo>
                <a:cubicBezTo>
                  <a:pt x="4303" y="1635"/>
                  <a:pt x="4303" y="1636"/>
                  <a:pt x="4302" y="1638"/>
                </a:cubicBezTo>
                <a:cubicBezTo>
                  <a:pt x="4299" y="1647"/>
                  <a:pt x="4295" y="1662"/>
                  <a:pt x="4295" y="1675"/>
                </a:cubicBezTo>
                <a:cubicBezTo>
                  <a:pt x="4295" y="1682"/>
                  <a:pt x="4296" y="1688"/>
                  <a:pt x="4299" y="1693"/>
                </a:cubicBezTo>
                <a:cubicBezTo>
                  <a:pt x="4300" y="1695"/>
                  <a:pt x="4301" y="1698"/>
                  <a:pt x="4301" y="1701"/>
                </a:cubicBezTo>
                <a:cubicBezTo>
                  <a:pt x="4301" y="1712"/>
                  <a:pt x="4294" y="1729"/>
                  <a:pt x="4289" y="1742"/>
                </a:cubicBezTo>
                <a:cubicBezTo>
                  <a:pt x="4289" y="1743"/>
                  <a:pt x="4288" y="1744"/>
                  <a:pt x="4288" y="1744"/>
                </a:cubicBezTo>
                <a:cubicBezTo>
                  <a:pt x="4288" y="1744"/>
                  <a:pt x="4287" y="1744"/>
                  <a:pt x="4286" y="1743"/>
                </a:cubicBezTo>
                <a:cubicBezTo>
                  <a:pt x="4281" y="1740"/>
                  <a:pt x="4274" y="1733"/>
                  <a:pt x="4267" y="1728"/>
                </a:cubicBezTo>
                <a:cubicBezTo>
                  <a:pt x="4255" y="1719"/>
                  <a:pt x="4239" y="1713"/>
                  <a:pt x="4233" y="1705"/>
                </a:cubicBezTo>
                <a:cubicBezTo>
                  <a:pt x="4233" y="1705"/>
                  <a:pt x="4232" y="1705"/>
                  <a:pt x="4232" y="1704"/>
                </a:cubicBezTo>
                <a:cubicBezTo>
                  <a:pt x="4232" y="1701"/>
                  <a:pt x="4234" y="1694"/>
                  <a:pt x="4237" y="1688"/>
                </a:cubicBezTo>
                <a:cubicBezTo>
                  <a:pt x="4240" y="1681"/>
                  <a:pt x="4243" y="1675"/>
                  <a:pt x="4243" y="1668"/>
                </a:cubicBezTo>
                <a:cubicBezTo>
                  <a:pt x="4243" y="1666"/>
                  <a:pt x="4243" y="1663"/>
                  <a:pt x="4241" y="1661"/>
                </a:cubicBezTo>
                <a:cubicBezTo>
                  <a:pt x="4236" y="1654"/>
                  <a:pt x="4229" y="1653"/>
                  <a:pt x="4222" y="1653"/>
                </a:cubicBezTo>
                <a:cubicBezTo>
                  <a:pt x="4216" y="1653"/>
                  <a:pt x="4210" y="1654"/>
                  <a:pt x="4205" y="1655"/>
                </a:cubicBezTo>
                <a:cubicBezTo>
                  <a:pt x="4202" y="1655"/>
                  <a:pt x="4200" y="1656"/>
                  <a:pt x="4198" y="1656"/>
                </a:cubicBezTo>
                <a:cubicBezTo>
                  <a:pt x="4198" y="1656"/>
                  <a:pt x="4197" y="1656"/>
                  <a:pt x="4197" y="1656"/>
                </a:cubicBezTo>
                <a:cubicBezTo>
                  <a:pt x="4196" y="1655"/>
                  <a:pt x="4194" y="1653"/>
                  <a:pt x="4192" y="1650"/>
                </a:cubicBezTo>
                <a:cubicBezTo>
                  <a:pt x="4189" y="1647"/>
                  <a:pt x="4185" y="1643"/>
                  <a:pt x="4179" y="1643"/>
                </a:cubicBezTo>
                <a:cubicBezTo>
                  <a:pt x="4174" y="1643"/>
                  <a:pt x="4171" y="1646"/>
                  <a:pt x="4170" y="1649"/>
                </a:cubicBezTo>
                <a:cubicBezTo>
                  <a:pt x="4169" y="1652"/>
                  <a:pt x="4168" y="1655"/>
                  <a:pt x="4167" y="1659"/>
                </a:cubicBezTo>
                <a:cubicBezTo>
                  <a:pt x="4165" y="1656"/>
                  <a:pt x="4163" y="1653"/>
                  <a:pt x="4160" y="1650"/>
                </a:cubicBezTo>
                <a:cubicBezTo>
                  <a:pt x="4159" y="1649"/>
                  <a:pt x="4158" y="1648"/>
                  <a:pt x="4157" y="1647"/>
                </a:cubicBezTo>
                <a:cubicBezTo>
                  <a:pt x="4156" y="1646"/>
                  <a:pt x="4155" y="1645"/>
                  <a:pt x="4151" y="1644"/>
                </a:cubicBezTo>
                <a:cubicBezTo>
                  <a:pt x="4148" y="1644"/>
                  <a:pt x="4145" y="1648"/>
                  <a:pt x="4145" y="1649"/>
                </a:cubicBezTo>
                <a:cubicBezTo>
                  <a:pt x="4145" y="1650"/>
                  <a:pt x="4145" y="1651"/>
                  <a:pt x="4145" y="1652"/>
                </a:cubicBezTo>
                <a:cubicBezTo>
                  <a:pt x="4145" y="1654"/>
                  <a:pt x="4145" y="1657"/>
                  <a:pt x="4145" y="1659"/>
                </a:cubicBezTo>
                <a:cubicBezTo>
                  <a:pt x="4145" y="1663"/>
                  <a:pt x="4144" y="1668"/>
                  <a:pt x="4142" y="1671"/>
                </a:cubicBezTo>
                <a:cubicBezTo>
                  <a:pt x="4137" y="1677"/>
                  <a:pt x="4135" y="1679"/>
                  <a:pt x="4133" y="1683"/>
                </a:cubicBezTo>
                <a:cubicBezTo>
                  <a:pt x="4131" y="1686"/>
                  <a:pt x="4131" y="1688"/>
                  <a:pt x="4129" y="1695"/>
                </a:cubicBezTo>
                <a:cubicBezTo>
                  <a:pt x="4128" y="1697"/>
                  <a:pt x="4128" y="1699"/>
                  <a:pt x="4127" y="1699"/>
                </a:cubicBezTo>
                <a:cubicBezTo>
                  <a:pt x="4127" y="1699"/>
                  <a:pt x="4127" y="1700"/>
                  <a:pt x="4127" y="1700"/>
                </a:cubicBezTo>
                <a:cubicBezTo>
                  <a:pt x="4127" y="1700"/>
                  <a:pt x="4127" y="1700"/>
                  <a:pt x="4127" y="1700"/>
                </a:cubicBezTo>
                <a:cubicBezTo>
                  <a:pt x="4126" y="1700"/>
                  <a:pt x="4120" y="1696"/>
                  <a:pt x="4114" y="1688"/>
                </a:cubicBezTo>
                <a:cubicBezTo>
                  <a:pt x="4110" y="1682"/>
                  <a:pt x="4105" y="1679"/>
                  <a:pt x="4099" y="1678"/>
                </a:cubicBezTo>
                <a:cubicBezTo>
                  <a:pt x="4090" y="1679"/>
                  <a:pt x="4087" y="1685"/>
                  <a:pt x="4083" y="1686"/>
                </a:cubicBezTo>
                <a:cubicBezTo>
                  <a:pt x="4077" y="1691"/>
                  <a:pt x="4074" y="1698"/>
                  <a:pt x="4071" y="1705"/>
                </a:cubicBezTo>
                <a:cubicBezTo>
                  <a:pt x="4068" y="1712"/>
                  <a:pt x="4068" y="1720"/>
                  <a:pt x="4064" y="1721"/>
                </a:cubicBezTo>
                <a:cubicBezTo>
                  <a:pt x="4064" y="1721"/>
                  <a:pt x="4064" y="1721"/>
                  <a:pt x="4064" y="1721"/>
                </a:cubicBezTo>
                <a:cubicBezTo>
                  <a:pt x="4064" y="1722"/>
                  <a:pt x="4057" y="1726"/>
                  <a:pt x="4050" y="1729"/>
                </a:cubicBezTo>
                <a:cubicBezTo>
                  <a:pt x="4043" y="1732"/>
                  <a:pt x="4037" y="1735"/>
                  <a:pt x="4032" y="1740"/>
                </a:cubicBezTo>
                <a:cubicBezTo>
                  <a:pt x="4028" y="1745"/>
                  <a:pt x="4026" y="1753"/>
                  <a:pt x="4025" y="1760"/>
                </a:cubicBezTo>
                <a:cubicBezTo>
                  <a:pt x="4024" y="1766"/>
                  <a:pt x="4023" y="1772"/>
                  <a:pt x="4023" y="1775"/>
                </a:cubicBezTo>
                <a:cubicBezTo>
                  <a:pt x="4021" y="1776"/>
                  <a:pt x="4016" y="1777"/>
                  <a:pt x="4011" y="1777"/>
                </a:cubicBezTo>
                <a:cubicBezTo>
                  <a:pt x="4005" y="1778"/>
                  <a:pt x="3998" y="1779"/>
                  <a:pt x="3993" y="1783"/>
                </a:cubicBezTo>
                <a:cubicBezTo>
                  <a:pt x="3991" y="1785"/>
                  <a:pt x="3988" y="1786"/>
                  <a:pt x="3984" y="1786"/>
                </a:cubicBezTo>
                <a:cubicBezTo>
                  <a:pt x="3979" y="1786"/>
                  <a:pt x="3973" y="1785"/>
                  <a:pt x="3968" y="1785"/>
                </a:cubicBezTo>
                <a:cubicBezTo>
                  <a:pt x="3963" y="1785"/>
                  <a:pt x="3960" y="1787"/>
                  <a:pt x="3956" y="1790"/>
                </a:cubicBezTo>
                <a:cubicBezTo>
                  <a:pt x="3943" y="1798"/>
                  <a:pt x="3926" y="1814"/>
                  <a:pt x="3920" y="1819"/>
                </a:cubicBezTo>
                <a:cubicBezTo>
                  <a:pt x="3911" y="1826"/>
                  <a:pt x="3910" y="1837"/>
                  <a:pt x="3909" y="1847"/>
                </a:cubicBezTo>
                <a:cubicBezTo>
                  <a:pt x="3910" y="1854"/>
                  <a:pt x="3910" y="1861"/>
                  <a:pt x="3914" y="1866"/>
                </a:cubicBezTo>
                <a:cubicBezTo>
                  <a:pt x="3917" y="1870"/>
                  <a:pt x="3922" y="1881"/>
                  <a:pt x="3922" y="1884"/>
                </a:cubicBezTo>
                <a:cubicBezTo>
                  <a:pt x="3917" y="1888"/>
                  <a:pt x="3916" y="1895"/>
                  <a:pt x="3915" y="1902"/>
                </a:cubicBezTo>
                <a:cubicBezTo>
                  <a:pt x="3915" y="1911"/>
                  <a:pt x="3918" y="1921"/>
                  <a:pt x="3927" y="1931"/>
                </a:cubicBezTo>
                <a:cubicBezTo>
                  <a:pt x="3935" y="1942"/>
                  <a:pt x="3935" y="1945"/>
                  <a:pt x="3935" y="1949"/>
                </a:cubicBezTo>
                <a:cubicBezTo>
                  <a:pt x="3935" y="1950"/>
                  <a:pt x="3935" y="1951"/>
                  <a:pt x="3935" y="1953"/>
                </a:cubicBezTo>
                <a:cubicBezTo>
                  <a:pt x="3935" y="1954"/>
                  <a:pt x="3935" y="1955"/>
                  <a:pt x="3936" y="1957"/>
                </a:cubicBezTo>
                <a:cubicBezTo>
                  <a:pt x="3936" y="1962"/>
                  <a:pt x="3939" y="1967"/>
                  <a:pt x="3942" y="1970"/>
                </a:cubicBezTo>
                <a:cubicBezTo>
                  <a:pt x="3945" y="1974"/>
                  <a:pt x="3948" y="1978"/>
                  <a:pt x="3953" y="1984"/>
                </a:cubicBezTo>
                <a:cubicBezTo>
                  <a:pt x="3953" y="1985"/>
                  <a:pt x="3954" y="1986"/>
                  <a:pt x="3954" y="1987"/>
                </a:cubicBezTo>
                <a:cubicBezTo>
                  <a:pt x="3954" y="1989"/>
                  <a:pt x="3951" y="1993"/>
                  <a:pt x="3946" y="1997"/>
                </a:cubicBezTo>
                <a:cubicBezTo>
                  <a:pt x="3941" y="2002"/>
                  <a:pt x="3936" y="2005"/>
                  <a:pt x="3932" y="2012"/>
                </a:cubicBezTo>
                <a:cubicBezTo>
                  <a:pt x="3932" y="2013"/>
                  <a:pt x="3931" y="2015"/>
                  <a:pt x="3931" y="2017"/>
                </a:cubicBezTo>
                <a:cubicBezTo>
                  <a:pt x="3932" y="2030"/>
                  <a:pt x="3943" y="2039"/>
                  <a:pt x="3949" y="2046"/>
                </a:cubicBezTo>
                <a:cubicBezTo>
                  <a:pt x="3953" y="2050"/>
                  <a:pt x="3959" y="2051"/>
                  <a:pt x="3965" y="2051"/>
                </a:cubicBezTo>
                <a:cubicBezTo>
                  <a:pt x="3974" y="2051"/>
                  <a:pt x="3983" y="2049"/>
                  <a:pt x="3990" y="2046"/>
                </a:cubicBezTo>
                <a:cubicBezTo>
                  <a:pt x="3996" y="2043"/>
                  <a:pt x="4002" y="2039"/>
                  <a:pt x="4007" y="2036"/>
                </a:cubicBezTo>
                <a:cubicBezTo>
                  <a:pt x="4012" y="2032"/>
                  <a:pt x="4016" y="2030"/>
                  <a:pt x="4017" y="2030"/>
                </a:cubicBezTo>
                <a:cubicBezTo>
                  <a:pt x="4020" y="2029"/>
                  <a:pt x="4030" y="2028"/>
                  <a:pt x="4039" y="2028"/>
                </a:cubicBezTo>
                <a:cubicBezTo>
                  <a:pt x="4048" y="2027"/>
                  <a:pt x="4056" y="2027"/>
                  <a:pt x="4056" y="2027"/>
                </a:cubicBezTo>
                <a:cubicBezTo>
                  <a:pt x="4058" y="2027"/>
                  <a:pt x="4060" y="2026"/>
                  <a:pt x="4061" y="2024"/>
                </a:cubicBezTo>
                <a:cubicBezTo>
                  <a:pt x="4061" y="2024"/>
                  <a:pt x="4072" y="2003"/>
                  <a:pt x="4080" y="1993"/>
                </a:cubicBezTo>
                <a:cubicBezTo>
                  <a:pt x="4081" y="1991"/>
                  <a:pt x="4084" y="1990"/>
                  <a:pt x="4089" y="1990"/>
                </a:cubicBezTo>
                <a:cubicBezTo>
                  <a:pt x="4093" y="1990"/>
                  <a:pt x="4097" y="1991"/>
                  <a:pt x="4101" y="1992"/>
                </a:cubicBezTo>
                <a:cubicBezTo>
                  <a:pt x="4104" y="1993"/>
                  <a:pt x="4106" y="1993"/>
                  <a:pt x="4106" y="1993"/>
                </a:cubicBezTo>
                <a:cubicBezTo>
                  <a:pt x="4108" y="1994"/>
                  <a:pt x="4110" y="1994"/>
                  <a:pt x="4112" y="1993"/>
                </a:cubicBezTo>
                <a:cubicBezTo>
                  <a:pt x="4112" y="1993"/>
                  <a:pt x="4113" y="1992"/>
                  <a:pt x="4114" y="1992"/>
                </a:cubicBezTo>
                <a:cubicBezTo>
                  <a:pt x="4117" y="1989"/>
                  <a:pt x="4128" y="1984"/>
                  <a:pt x="4148" y="1978"/>
                </a:cubicBezTo>
                <a:cubicBezTo>
                  <a:pt x="4153" y="1977"/>
                  <a:pt x="4156" y="1977"/>
                  <a:pt x="4158" y="1977"/>
                </a:cubicBezTo>
                <a:cubicBezTo>
                  <a:pt x="4161" y="1977"/>
                  <a:pt x="4161" y="1977"/>
                  <a:pt x="4161" y="1977"/>
                </a:cubicBezTo>
                <a:cubicBezTo>
                  <a:pt x="4161" y="1977"/>
                  <a:pt x="4161" y="1977"/>
                  <a:pt x="4161" y="1977"/>
                </a:cubicBezTo>
                <a:cubicBezTo>
                  <a:pt x="4162" y="1978"/>
                  <a:pt x="4163" y="1986"/>
                  <a:pt x="4171" y="1989"/>
                </a:cubicBezTo>
                <a:cubicBezTo>
                  <a:pt x="4182" y="1994"/>
                  <a:pt x="4195" y="1997"/>
                  <a:pt x="4201" y="2002"/>
                </a:cubicBezTo>
                <a:cubicBezTo>
                  <a:pt x="4202" y="2003"/>
                  <a:pt x="4202" y="2004"/>
                  <a:pt x="4203" y="2007"/>
                </a:cubicBezTo>
                <a:cubicBezTo>
                  <a:pt x="4203" y="2012"/>
                  <a:pt x="4199" y="2021"/>
                  <a:pt x="4198" y="2027"/>
                </a:cubicBezTo>
                <a:cubicBezTo>
                  <a:pt x="4198" y="2027"/>
                  <a:pt x="4198" y="2028"/>
                  <a:pt x="4198" y="2028"/>
                </a:cubicBezTo>
                <a:cubicBezTo>
                  <a:pt x="4198" y="2032"/>
                  <a:pt x="4201" y="2036"/>
                  <a:pt x="4203" y="2036"/>
                </a:cubicBezTo>
                <a:cubicBezTo>
                  <a:pt x="4206" y="2038"/>
                  <a:pt x="4208" y="2038"/>
                  <a:pt x="4210" y="2038"/>
                </a:cubicBezTo>
                <a:cubicBezTo>
                  <a:pt x="4214" y="2038"/>
                  <a:pt x="4218" y="2037"/>
                  <a:pt x="4222" y="2036"/>
                </a:cubicBezTo>
                <a:cubicBezTo>
                  <a:pt x="4225" y="2034"/>
                  <a:pt x="4229" y="2032"/>
                  <a:pt x="4231" y="2026"/>
                </a:cubicBezTo>
                <a:cubicBezTo>
                  <a:pt x="4231" y="2022"/>
                  <a:pt x="4234" y="2017"/>
                  <a:pt x="4243" y="2011"/>
                </a:cubicBezTo>
                <a:cubicBezTo>
                  <a:pt x="4243" y="2013"/>
                  <a:pt x="4242" y="2015"/>
                  <a:pt x="4242" y="2018"/>
                </a:cubicBezTo>
                <a:cubicBezTo>
                  <a:pt x="4242" y="2022"/>
                  <a:pt x="4243" y="2026"/>
                  <a:pt x="4244" y="2030"/>
                </a:cubicBezTo>
                <a:cubicBezTo>
                  <a:pt x="4245" y="2032"/>
                  <a:pt x="4246" y="2033"/>
                  <a:pt x="4247" y="2034"/>
                </a:cubicBezTo>
                <a:cubicBezTo>
                  <a:pt x="4248" y="2036"/>
                  <a:pt x="4250" y="2037"/>
                  <a:pt x="4253" y="2037"/>
                </a:cubicBezTo>
                <a:cubicBezTo>
                  <a:pt x="4255" y="2037"/>
                  <a:pt x="4257" y="2036"/>
                  <a:pt x="4258" y="2035"/>
                </a:cubicBezTo>
                <a:cubicBezTo>
                  <a:pt x="4259" y="2037"/>
                  <a:pt x="4260" y="2038"/>
                  <a:pt x="4260" y="2039"/>
                </a:cubicBezTo>
                <a:cubicBezTo>
                  <a:pt x="4262" y="2043"/>
                  <a:pt x="4264" y="2044"/>
                  <a:pt x="4266" y="2045"/>
                </a:cubicBezTo>
                <a:cubicBezTo>
                  <a:pt x="4269" y="2047"/>
                  <a:pt x="4271" y="2048"/>
                  <a:pt x="4273" y="2050"/>
                </a:cubicBezTo>
                <a:cubicBezTo>
                  <a:pt x="4275" y="2052"/>
                  <a:pt x="4276" y="2053"/>
                  <a:pt x="4276" y="2057"/>
                </a:cubicBezTo>
                <a:cubicBezTo>
                  <a:pt x="4276" y="2064"/>
                  <a:pt x="4276" y="2069"/>
                  <a:pt x="4277" y="2074"/>
                </a:cubicBezTo>
                <a:cubicBezTo>
                  <a:pt x="4277" y="2078"/>
                  <a:pt x="4278" y="2083"/>
                  <a:pt x="4282" y="2086"/>
                </a:cubicBezTo>
                <a:cubicBezTo>
                  <a:pt x="4285" y="2089"/>
                  <a:pt x="4287" y="2088"/>
                  <a:pt x="4290" y="2089"/>
                </a:cubicBezTo>
                <a:cubicBezTo>
                  <a:pt x="4297" y="2090"/>
                  <a:pt x="4305" y="2091"/>
                  <a:pt x="4310" y="2101"/>
                </a:cubicBezTo>
                <a:cubicBezTo>
                  <a:pt x="4313" y="2107"/>
                  <a:pt x="4316" y="2111"/>
                  <a:pt x="4323" y="2112"/>
                </a:cubicBezTo>
                <a:cubicBezTo>
                  <a:pt x="4329" y="2111"/>
                  <a:pt x="4332" y="2107"/>
                  <a:pt x="4334" y="2104"/>
                </a:cubicBezTo>
                <a:cubicBezTo>
                  <a:pt x="4336" y="2101"/>
                  <a:pt x="4338" y="2100"/>
                  <a:pt x="4339" y="2096"/>
                </a:cubicBezTo>
                <a:cubicBezTo>
                  <a:pt x="4339" y="2096"/>
                  <a:pt x="4339" y="2096"/>
                  <a:pt x="4339" y="2096"/>
                </a:cubicBezTo>
                <a:cubicBezTo>
                  <a:pt x="4342" y="2096"/>
                  <a:pt x="4353" y="2102"/>
                  <a:pt x="4355" y="2105"/>
                </a:cubicBezTo>
                <a:cubicBezTo>
                  <a:pt x="4356" y="2107"/>
                  <a:pt x="4359" y="2108"/>
                  <a:pt x="4362" y="2108"/>
                </a:cubicBezTo>
                <a:cubicBezTo>
                  <a:pt x="4369" y="2107"/>
                  <a:pt x="4372" y="2103"/>
                  <a:pt x="4378" y="2100"/>
                </a:cubicBezTo>
                <a:cubicBezTo>
                  <a:pt x="4383" y="2096"/>
                  <a:pt x="4389" y="2092"/>
                  <a:pt x="4396" y="2090"/>
                </a:cubicBezTo>
                <a:cubicBezTo>
                  <a:pt x="4404" y="2087"/>
                  <a:pt x="4408" y="2086"/>
                  <a:pt x="4412" y="2084"/>
                </a:cubicBezTo>
                <a:cubicBezTo>
                  <a:pt x="4416" y="2082"/>
                  <a:pt x="4417" y="2078"/>
                  <a:pt x="4419" y="2075"/>
                </a:cubicBezTo>
                <a:cubicBezTo>
                  <a:pt x="4424" y="2064"/>
                  <a:pt x="4427" y="2043"/>
                  <a:pt x="4437" y="2028"/>
                </a:cubicBezTo>
                <a:cubicBezTo>
                  <a:pt x="4447" y="2011"/>
                  <a:pt x="4462" y="1982"/>
                  <a:pt x="4462" y="1957"/>
                </a:cubicBezTo>
                <a:cubicBezTo>
                  <a:pt x="4462" y="1935"/>
                  <a:pt x="4461" y="1884"/>
                  <a:pt x="4447" y="1858"/>
                </a:cubicBezTo>
                <a:cubicBezTo>
                  <a:pt x="4441" y="1846"/>
                  <a:pt x="4432" y="1834"/>
                  <a:pt x="4425" y="1824"/>
                </a:cubicBezTo>
                <a:close/>
                <a:moveTo>
                  <a:pt x="4055" y="1637"/>
                </a:moveTo>
                <a:cubicBezTo>
                  <a:pt x="4057" y="1639"/>
                  <a:pt x="4060" y="1640"/>
                  <a:pt x="4062" y="1640"/>
                </a:cubicBezTo>
                <a:cubicBezTo>
                  <a:pt x="4062" y="1640"/>
                  <a:pt x="4062" y="1640"/>
                  <a:pt x="4062" y="1640"/>
                </a:cubicBezTo>
                <a:cubicBezTo>
                  <a:pt x="4069" y="1640"/>
                  <a:pt x="4074" y="1635"/>
                  <a:pt x="4079" y="1632"/>
                </a:cubicBezTo>
                <a:cubicBezTo>
                  <a:pt x="4082" y="1629"/>
                  <a:pt x="4085" y="1627"/>
                  <a:pt x="4086" y="1626"/>
                </a:cubicBezTo>
                <a:cubicBezTo>
                  <a:pt x="4088" y="1625"/>
                  <a:pt x="4091" y="1624"/>
                  <a:pt x="4095" y="1623"/>
                </a:cubicBezTo>
                <a:cubicBezTo>
                  <a:pt x="4097" y="1622"/>
                  <a:pt x="4100" y="1620"/>
                  <a:pt x="4103" y="1618"/>
                </a:cubicBezTo>
                <a:cubicBezTo>
                  <a:pt x="4105" y="1616"/>
                  <a:pt x="4108" y="1612"/>
                  <a:pt x="4108" y="1607"/>
                </a:cubicBezTo>
                <a:cubicBezTo>
                  <a:pt x="4107" y="1601"/>
                  <a:pt x="4104" y="1596"/>
                  <a:pt x="4100" y="1592"/>
                </a:cubicBezTo>
                <a:cubicBezTo>
                  <a:pt x="4095" y="1589"/>
                  <a:pt x="4090" y="1586"/>
                  <a:pt x="4084" y="1586"/>
                </a:cubicBezTo>
                <a:cubicBezTo>
                  <a:pt x="4079" y="1586"/>
                  <a:pt x="4074" y="1588"/>
                  <a:pt x="4071" y="1593"/>
                </a:cubicBezTo>
                <a:cubicBezTo>
                  <a:pt x="4068" y="1598"/>
                  <a:pt x="4064" y="1603"/>
                  <a:pt x="4060" y="1608"/>
                </a:cubicBezTo>
                <a:cubicBezTo>
                  <a:pt x="4056" y="1614"/>
                  <a:pt x="4052" y="1619"/>
                  <a:pt x="4052" y="1627"/>
                </a:cubicBezTo>
                <a:cubicBezTo>
                  <a:pt x="4052" y="1627"/>
                  <a:pt x="4052" y="1628"/>
                  <a:pt x="4052" y="1629"/>
                </a:cubicBezTo>
                <a:cubicBezTo>
                  <a:pt x="4052" y="1632"/>
                  <a:pt x="4053" y="1634"/>
                  <a:pt x="4055" y="1637"/>
                </a:cubicBezTo>
                <a:close/>
                <a:moveTo>
                  <a:pt x="4022" y="1470"/>
                </a:moveTo>
                <a:cubicBezTo>
                  <a:pt x="4023" y="1470"/>
                  <a:pt x="4024" y="1470"/>
                  <a:pt x="4025" y="1470"/>
                </a:cubicBezTo>
                <a:cubicBezTo>
                  <a:pt x="4038" y="1469"/>
                  <a:pt x="4065" y="1464"/>
                  <a:pt x="4069" y="1464"/>
                </a:cubicBezTo>
                <a:cubicBezTo>
                  <a:pt x="4076" y="1464"/>
                  <a:pt x="4079" y="1459"/>
                  <a:pt x="4081" y="1455"/>
                </a:cubicBezTo>
                <a:cubicBezTo>
                  <a:pt x="4084" y="1451"/>
                  <a:pt x="4086" y="1447"/>
                  <a:pt x="4086" y="1442"/>
                </a:cubicBezTo>
                <a:cubicBezTo>
                  <a:pt x="4086" y="1441"/>
                  <a:pt x="4086" y="1440"/>
                  <a:pt x="4085" y="1438"/>
                </a:cubicBezTo>
                <a:cubicBezTo>
                  <a:pt x="4083" y="1436"/>
                  <a:pt x="4081" y="1434"/>
                  <a:pt x="4078" y="1434"/>
                </a:cubicBezTo>
                <a:cubicBezTo>
                  <a:pt x="4072" y="1435"/>
                  <a:pt x="4043" y="1441"/>
                  <a:pt x="4036" y="1443"/>
                </a:cubicBezTo>
                <a:cubicBezTo>
                  <a:pt x="4036" y="1443"/>
                  <a:pt x="4036" y="1443"/>
                  <a:pt x="4036" y="1443"/>
                </a:cubicBezTo>
                <a:cubicBezTo>
                  <a:pt x="4033" y="1443"/>
                  <a:pt x="4028" y="1442"/>
                  <a:pt x="4023" y="1442"/>
                </a:cubicBezTo>
                <a:cubicBezTo>
                  <a:pt x="4019" y="1441"/>
                  <a:pt x="4015" y="1440"/>
                  <a:pt x="4015" y="1440"/>
                </a:cubicBezTo>
                <a:cubicBezTo>
                  <a:pt x="4013" y="1440"/>
                  <a:pt x="4011" y="1440"/>
                  <a:pt x="4009" y="1442"/>
                </a:cubicBezTo>
                <a:cubicBezTo>
                  <a:pt x="4006" y="1446"/>
                  <a:pt x="4004" y="1450"/>
                  <a:pt x="4004" y="1455"/>
                </a:cubicBezTo>
                <a:cubicBezTo>
                  <a:pt x="4004" y="1459"/>
                  <a:pt x="4006" y="1463"/>
                  <a:pt x="4010" y="1466"/>
                </a:cubicBezTo>
                <a:cubicBezTo>
                  <a:pt x="4013" y="1469"/>
                  <a:pt x="4017" y="1470"/>
                  <a:pt x="4022" y="1470"/>
                </a:cubicBezTo>
                <a:close/>
                <a:moveTo>
                  <a:pt x="4825" y="1720"/>
                </a:moveTo>
                <a:cubicBezTo>
                  <a:pt x="4825" y="1720"/>
                  <a:pt x="4825" y="1720"/>
                  <a:pt x="4825" y="1720"/>
                </a:cubicBezTo>
                <a:cubicBezTo>
                  <a:pt x="4824" y="1720"/>
                  <a:pt x="4822" y="1719"/>
                  <a:pt x="4821" y="1719"/>
                </a:cubicBezTo>
                <a:cubicBezTo>
                  <a:pt x="4816" y="1720"/>
                  <a:pt x="4812" y="1722"/>
                  <a:pt x="4808" y="1725"/>
                </a:cubicBezTo>
                <a:cubicBezTo>
                  <a:pt x="4797" y="1735"/>
                  <a:pt x="4787" y="1751"/>
                  <a:pt x="4787" y="1752"/>
                </a:cubicBezTo>
                <a:cubicBezTo>
                  <a:pt x="4786" y="1753"/>
                  <a:pt x="4786" y="1755"/>
                  <a:pt x="4786" y="1757"/>
                </a:cubicBezTo>
                <a:cubicBezTo>
                  <a:pt x="4787" y="1758"/>
                  <a:pt x="4788" y="1759"/>
                  <a:pt x="4789" y="1759"/>
                </a:cubicBezTo>
                <a:cubicBezTo>
                  <a:pt x="4792" y="1760"/>
                  <a:pt x="4794" y="1760"/>
                  <a:pt x="4796" y="1760"/>
                </a:cubicBezTo>
                <a:cubicBezTo>
                  <a:pt x="4797" y="1760"/>
                  <a:pt x="4797" y="1760"/>
                  <a:pt x="4797" y="1760"/>
                </a:cubicBezTo>
                <a:cubicBezTo>
                  <a:pt x="4806" y="1760"/>
                  <a:pt x="4813" y="1755"/>
                  <a:pt x="4820" y="1749"/>
                </a:cubicBezTo>
                <a:cubicBezTo>
                  <a:pt x="4826" y="1743"/>
                  <a:pt x="4831" y="1737"/>
                  <a:pt x="4831" y="1729"/>
                </a:cubicBezTo>
                <a:cubicBezTo>
                  <a:pt x="4832" y="1726"/>
                  <a:pt x="4829" y="1722"/>
                  <a:pt x="4825" y="1720"/>
                </a:cubicBezTo>
                <a:close/>
                <a:moveTo>
                  <a:pt x="4791" y="2070"/>
                </a:moveTo>
                <a:cubicBezTo>
                  <a:pt x="4787" y="2070"/>
                  <a:pt x="4785" y="2072"/>
                  <a:pt x="4784" y="2072"/>
                </a:cubicBezTo>
                <a:cubicBezTo>
                  <a:pt x="4782" y="2073"/>
                  <a:pt x="4782" y="2073"/>
                  <a:pt x="4782" y="2073"/>
                </a:cubicBezTo>
                <a:cubicBezTo>
                  <a:pt x="4781" y="2073"/>
                  <a:pt x="4780" y="2073"/>
                  <a:pt x="4777" y="2071"/>
                </a:cubicBezTo>
                <a:cubicBezTo>
                  <a:pt x="4771" y="2067"/>
                  <a:pt x="4770" y="2066"/>
                  <a:pt x="4769" y="2066"/>
                </a:cubicBezTo>
                <a:cubicBezTo>
                  <a:pt x="4769" y="2065"/>
                  <a:pt x="4767" y="2062"/>
                  <a:pt x="4764" y="2055"/>
                </a:cubicBezTo>
                <a:cubicBezTo>
                  <a:pt x="4761" y="2050"/>
                  <a:pt x="4759" y="2044"/>
                  <a:pt x="4757" y="2038"/>
                </a:cubicBezTo>
                <a:cubicBezTo>
                  <a:pt x="4756" y="2035"/>
                  <a:pt x="4755" y="2033"/>
                  <a:pt x="4753" y="2030"/>
                </a:cubicBezTo>
                <a:cubicBezTo>
                  <a:pt x="4751" y="2028"/>
                  <a:pt x="4748" y="2026"/>
                  <a:pt x="4744" y="2026"/>
                </a:cubicBezTo>
                <a:cubicBezTo>
                  <a:pt x="4741" y="2026"/>
                  <a:pt x="4738" y="2027"/>
                  <a:pt x="4736" y="2028"/>
                </a:cubicBezTo>
                <a:cubicBezTo>
                  <a:pt x="4731" y="2031"/>
                  <a:pt x="4731" y="2035"/>
                  <a:pt x="4731" y="2038"/>
                </a:cubicBezTo>
                <a:cubicBezTo>
                  <a:pt x="4731" y="2046"/>
                  <a:pt x="4734" y="2055"/>
                  <a:pt x="4739" y="2061"/>
                </a:cubicBezTo>
                <a:cubicBezTo>
                  <a:pt x="4740" y="2061"/>
                  <a:pt x="4741" y="2065"/>
                  <a:pt x="4742" y="2070"/>
                </a:cubicBezTo>
                <a:cubicBezTo>
                  <a:pt x="4743" y="2074"/>
                  <a:pt x="4744" y="2080"/>
                  <a:pt x="4744" y="2083"/>
                </a:cubicBezTo>
                <a:cubicBezTo>
                  <a:pt x="4744" y="2084"/>
                  <a:pt x="4743" y="2085"/>
                  <a:pt x="4743" y="2085"/>
                </a:cubicBezTo>
                <a:cubicBezTo>
                  <a:pt x="4743" y="2086"/>
                  <a:pt x="4740" y="2088"/>
                  <a:pt x="4737" y="2091"/>
                </a:cubicBezTo>
                <a:cubicBezTo>
                  <a:pt x="4734" y="2093"/>
                  <a:pt x="4730" y="2096"/>
                  <a:pt x="4729" y="2102"/>
                </a:cubicBezTo>
                <a:cubicBezTo>
                  <a:pt x="4729" y="2106"/>
                  <a:pt x="4732" y="2109"/>
                  <a:pt x="4734" y="2111"/>
                </a:cubicBezTo>
                <a:cubicBezTo>
                  <a:pt x="4741" y="2116"/>
                  <a:pt x="4748" y="2116"/>
                  <a:pt x="4753" y="2116"/>
                </a:cubicBezTo>
                <a:cubicBezTo>
                  <a:pt x="4754" y="2116"/>
                  <a:pt x="4754" y="2116"/>
                  <a:pt x="4755" y="2116"/>
                </a:cubicBezTo>
                <a:cubicBezTo>
                  <a:pt x="4753" y="2120"/>
                  <a:pt x="4750" y="2125"/>
                  <a:pt x="4750" y="2131"/>
                </a:cubicBezTo>
                <a:cubicBezTo>
                  <a:pt x="4749" y="2129"/>
                  <a:pt x="4747" y="2127"/>
                  <a:pt x="4744" y="2125"/>
                </a:cubicBezTo>
                <a:cubicBezTo>
                  <a:pt x="4743" y="2123"/>
                  <a:pt x="4740" y="2121"/>
                  <a:pt x="4738" y="2119"/>
                </a:cubicBezTo>
                <a:cubicBezTo>
                  <a:pt x="4736" y="2117"/>
                  <a:pt x="4735" y="2115"/>
                  <a:pt x="4730" y="2115"/>
                </a:cubicBezTo>
                <a:cubicBezTo>
                  <a:pt x="4728" y="2114"/>
                  <a:pt x="4724" y="2118"/>
                  <a:pt x="4724" y="2120"/>
                </a:cubicBezTo>
                <a:cubicBezTo>
                  <a:pt x="4724" y="2121"/>
                  <a:pt x="4722" y="2122"/>
                  <a:pt x="4719" y="2124"/>
                </a:cubicBezTo>
                <a:cubicBezTo>
                  <a:pt x="4716" y="2126"/>
                  <a:pt x="4711" y="2128"/>
                  <a:pt x="4707" y="2132"/>
                </a:cubicBezTo>
                <a:cubicBezTo>
                  <a:pt x="4703" y="2137"/>
                  <a:pt x="4702" y="2141"/>
                  <a:pt x="4701" y="2143"/>
                </a:cubicBezTo>
                <a:cubicBezTo>
                  <a:pt x="4700" y="2145"/>
                  <a:pt x="4698" y="2148"/>
                  <a:pt x="4688" y="2155"/>
                </a:cubicBezTo>
                <a:cubicBezTo>
                  <a:pt x="4669" y="2169"/>
                  <a:pt x="4645" y="2183"/>
                  <a:pt x="4638" y="2199"/>
                </a:cubicBezTo>
                <a:cubicBezTo>
                  <a:pt x="4637" y="2202"/>
                  <a:pt x="4636" y="2205"/>
                  <a:pt x="4636" y="2207"/>
                </a:cubicBezTo>
                <a:cubicBezTo>
                  <a:pt x="4636" y="2214"/>
                  <a:pt x="4640" y="2220"/>
                  <a:pt x="4646" y="2223"/>
                </a:cubicBezTo>
                <a:cubicBezTo>
                  <a:pt x="4651" y="2226"/>
                  <a:pt x="4658" y="2228"/>
                  <a:pt x="4666" y="2228"/>
                </a:cubicBezTo>
                <a:cubicBezTo>
                  <a:pt x="4673" y="2229"/>
                  <a:pt x="4676" y="2230"/>
                  <a:pt x="4680" y="2230"/>
                </a:cubicBezTo>
                <a:cubicBezTo>
                  <a:pt x="4680" y="2230"/>
                  <a:pt x="4680" y="2230"/>
                  <a:pt x="4680" y="2230"/>
                </a:cubicBezTo>
                <a:cubicBezTo>
                  <a:pt x="4684" y="2230"/>
                  <a:pt x="4687" y="2228"/>
                  <a:pt x="4689" y="2225"/>
                </a:cubicBezTo>
                <a:cubicBezTo>
                  <a:pt x="4692" y="2223"/>
                  <a:pt x="4694" y="2220"/>
                  <a:pt x="4698" y="2215"/>
                </a:cubicBezTo>
                <a:cubicBezTo>
                  <a:pt x="4710" y="2199"/>
                  <a:pt x="4721" y="2189"/>
                  <a:pt x="4736" y="2176"/>
                </a:cubicBezTo>
                <a:cubicBezTo>
                  <a:pt x="4750" y="2162"/>
                  <a:pt x="4753" y="2145"/>
                  <a:pt x="4753" y="2139"/>
                </a:cubicBezTo>
                <a:cubicBezTo>
                  <a:pt x="4755" y="2141"/>
                  <a:pt x="4757" y="2142"/>
                  <a:pt x="4759" y="2143"/>
                </a:cubicBezTo>
                <a:cubicBezTo>
                  <a:pt x="4761" y="2143"/>
                  <a:pt x="4762" y="2143"/>
                  <a:pt x="4764" y="2143"/>
                </a:cubicBezTo>
                <a:cubicBezTo>
                  <a:pt x="4771" y="2143"/>
                  <a:pt x="4775" y="2138"/>
                  <a:pt x="4778" y="2134"/>
                </a:cubicBezTo>
                <a:cubicBezTo>
                  <a:pt x="4781" y="2129"/>
                  <a:pt x="4783" y="2124"/>
                  <a:pt x="4785" y="2120"/>
                </a:cubicBezTo>
                <a:cubicBezTo>
                  <a:pt x="4789" y="2110"/>
                  <a:pt x="4793" y="2103"/>
                  <a:pt x="4799" y="2099"/>
                </a:cubicBezTo>
                <a:cubicBezTo>
                  <a:pt x="4803" y="2096"/>
                  <a:pt x="4805" y="2091"/>
                  <a:pt x="4805" y="2088"/>
                </a:cubicBezTo>
                <a:cubicBezTo>
                  <a:pt x="4805" y="2083"/>
                  <a:pt x="4803" y="2079"/>
                  <a:pt x="4801" y="2076"/>
                </a:cubicBezTo>
                <a:cubicBezTo>
                  <a:pt x="4798" y="2073"/>
                  <a:pt x="4796" y="2070"/>
                  <a:pt x="4791" y="2070"/>
                </a:cubicBezTo>
                <a:close/>
                <a:moveTo>
                  <a:pt x="4639" y="1836"/>
                </a:moveTo>
                <a:cubicBezTo>
                  <a:pt x="4646" y="1836"/>
                  <a:pt x="4651" y="1831"/>
                  <a:pt x="4652" y="1824"/>
                </a:cubicBezTo>
                <a:cubicBezTo>
                  <a:pt x="4646" y="1823"/>
                  <a:pt x="4646" y="1823"/>
                  <a:pt x="4646" y="1823"/>
                </a:cubicBezTo>
                <a:cubicBezTo>
                  <a:pt x="4652" y="1825"/>
                  <a:pt x="4652" y="1825"/>
                  <a:pt x="4652" y="1825"/>
                </a:cubicBezTo>
                <a:cubicBezTo>
                  <a:pt x="4652" y="1823"/>
                  <a:pt x="4652" y="1822"/>
                  <a:pt x="4652" y="1821"/>
                </a:cubicBezTo>
                <a:cubicBezTo>
                  <a:pt x="4652" y="1811"/>
                  <a:pt x="4644" y="1801"/>
                  <a:pt x="4624" y="1796"/>
                </a:cubicBezTo>
                <a:cubicBezTo>
                  <a:pt x="4620" y="1795"/>
                  <a:pt x="4617" y="1794"/>
                  <a:pt x="4614" y="1794"/>
                </a:cubicBezTo>
                <a:cubicBezTo>
                  <a:pt x="4613" y="1794"/>
                  <a:pt x="4611" y="1794"/>
                  <a:pt x="4609" y="1795"/>
                </a:cubicBezTo>
                <a:cubicBezTo>
                  <a:pt x="4607" y="1796"/>
                  <a:pt x="4606" y="1799"/>
                  <a:pt x="4606" y="1802"/>
                </a:cubicBezTo>
                <a:cubicBezTo>
                  <a:pt x="4606" y="1805"/>
                  <a:pt x="4607" y="1806"/>
                  <a:pt x="4608" y="1807"/>
                </a:cubicBezTo>
                <a:cubicBezTo>
                  <a:pt x="4610" y="1812"/>
                  <a:pt x="4615" y="1816"/>
                  <a:pt x="4617" y="1821"/>
                </a:cubicBezTo>
                <a:cubicBezTo>
                  <a:pt x="4623" y="1829"/>
                  <a:pt x="4630" y="1836"/>
                  <a:pt x="4639" y="1836"/>
                </a:cubicBezTo>
                <a:cubicBezTo>
                  <a:pt x="4639" y="1836"/>
                  <a:pt x="4639" y="1836"/>
                  <a:pt x="4639" y="1836"/>
                </a:cubicBezTo>
                <a:close/>
                <a:moveTo>
                  <a:pt x="2422" y="804"/>
                </a:moveTo>
                <a:cubicBezTo>
                  <a:pt x="2416" y="804"/>
                  <a:pt x="2413" y="808"/>
                  <a:pt x="2409" y="815"/>
                </a:cubicBezTo>
                <a:cubicBezTo>
                  <a:pt x="2409" y="816"/>
                  <a:pt x="2408" y="817"/>
                  <a:pt x="2408" y="819"/>
                </a:cubicBezTo>
                <a:cubicBezTo>
                  <a:pt x="2408" y="823"/>
                  <a:pt x="2411" y="826"/>
                  <a:pt x="2413" y="827"/>
                </a:cubicBezTo>
                <a:cubicBezTo>
                  <a:pt x="2415" y="828"/>
                  <a:pt x="2417" y="828"/>
                  <a:pt x="2420" y="828"/>
                </a:cubicBezTo>
                <a:cubicBezTo>
                  <a:pt x="2424" y="828"/>
                  <a:pt x="2429" y="827"/>
                  <a:pt x="2432" y="821"/>
                </a:cubicBezTo>
                <a:cubicBezTo>
                  <a:pt x="2432" y="821"/>
                  <a:pt x="2432" y="821"/>
                  <a:pt x="2432" y="821"/>
                </a:cubicBezTo>
                <a:cubicBezTo>
                  <a:pt x="2432" y="819"/>
                  <a:pt x="2433" y="818"/>
                  <a:pt x="2433" y="816"/>
                </a:cubicBezTo>
                <a:cubicBezTo>
                  <a:pt x="2433" y="813"/>
                  <a:pt x="2432" y="811"/>
                  <a:pt x="2430" y="809"/>
                </a:cubicBezTo>
                <a:cubicBezTo>
                  <a:pt x="2429" y="806"/>
                  <a:pt x="2426" y="804"/>
                  <a:pt x="2422" y="804"/>
                </a:cubicBezTo>
                <a:close/>
                <a:moveTo>
                  <a:pt x="4023" y="1526"/>
                </a:moveTo>
                <a:cubicBezTo>
                  <a:pt x="4023" y="1530"/>
                  <a:pt x="4024" y="1536"/>
                  <a:pt x="4028" y="1543"/>
                </a:cubicBezTo>
                <a:cubicBezTo>
                  <a:pt x="4037" y="1556"/>
                  <a:pt x="4051" y="1557"/>
                  <a:pt x="4055" y="1557"/>
                </a:cubicBezTo>
                <a:cubicBezTo>
                  <a:pt x="4056" y="1557"/>
                  <a:pt x="4057" y="1557"/>
                  <a:pt x="4057" y="1557"/>
                </a:cubicBezTo>
                <a:cubicBezTo>
                  <a:pt x="4060" y="1557"/>
                  <a:pt x="4063" y="1554"/>
                  <a:pt x="4063" y="1551"/>
                </a:cubicBezTo>
                <a:cubicBezTo>
                  <a:pt x="4063" y="1550"/>
                  <a:pt x="4062" y="1542"/>
                  <a:pt x="4060" y="1532"/>
                </a:cubicBezTo>
                <a:cubicBezTo>
                  <a:pt x="4058" y="1522"/>
                  <a:pt x="4055" y="1511"/>
                  <a:pt x="4046" y="1504"/>
                </a:cubicBezTo>
                <a:cubicBezTo>
                  <a:pt x="4044" y="1503"/>
                  <a:pt x="4043" y="1502"/>
                  <a:pt x="4041" y="1501"/>
                </a:cubicBezTo>
                <a:cubicBezTo>
                  <a:pt x="4042" y="1501"/>
                  <a:pt x="4043" y="1501"/>
                  <a:pt x="4043" y="1501"/>
                </a:cubicBezTo>
                <a:cubicBezTo>
                  <a:pt x="4049" y="1501"/>
                  <a:pt x="4053" y="1500"/>
                  <a:pt x="4057" y="1497"/>
                </a:cubicBezTo>
                <a:cubicBezTo>
                  <a:pt x="4061" y="1495"/>
                  <a:pt x="4063" y="1490"/>
                  <a:pt x="4063" y="1486"/>
                </a:cubicBezTo>
                <a:cubicBezTo>
                  <a:pt x="4063" y="1484"/>
                  <a:pt x="4063" y="1482"/>
                  <a:pt x="4062" y="1480"/>
                </a:cubicBezTo>
                <a:cubicBezTo>
                  <a:pt x="4058" y="1471"/>
                  <a:pt x="4050" y="1471"/>
                  <a:pt x="4043" y="1471"/>
                </a:cubicBezTo>
                <a:cubicBezTo>
                  <a:pt x="4035" y="1471"/>
                  <a:pt x="4027" y="1472"/>
                  <a:pt x="4023" y="1473"/>
                </a:cubicBezTo>
                <a:cubicBezTo>
                  <a:pt x="4023" y="1473"/>
                  <a:pt x="4023" y="1473"/>
                  <a:pt x="4022" y="1473"/>
                </a:cubicBezTo>
                <a:cubicBezTo>
                  <a:pt x="4021" y="1473"/>
                  <a:pt x="4017" y="1472"/>
                  <a:pt x="4015" y="1471"/>
                </a:cubicBezTo>
                <a:cubicBezTo>
                  <a:pt x="4012" y="1470"/>
                  <a:pt x="4010" y="1469"/>
                  <a:pt x="4010" y="1469"/>
                </a:cubicBezTo>
                <a:cubicBezTo>
                  <a:pt x="4009" y="1467"/>
                  <a:pt x="4007" y="1467"/>
                  <a:pt x="4005" y="1468"/>
                </a:cubicBezTo>
                <a:cubicBezTo>
                  <a:pt x="3999" y="1470"/>
                  <a:pt x="3996" y="1475"/>
                  <a:pt x="3995" y="1480"/>
                </a:cubicBezTo>
                <a:cubicBezTo>
                  <a:pt x="3994" y="1485"/>
                  <a:pt x="3994" y="1489"/>
                  <a:pt x="3993" y="1496"/>
                </a:cubicBezTo>
                <a:cubicBezTo>
                  <a:pt x="3992" y="1504"/>
                  <a:pt x="3986" y="1511"/>
                  <a:pt x="3986" y="1520"/>
                </a:cubicBezTo>
                <a:cubicBezTo>
                  <a:pt x="3986" y="1525"/>
                  <a:pt x="3988" y="1529"/>
                  <a:pt x="3992" y="1532"/>
                </a:cubicBezTo>
                <a:cubicBezTo>
                  <a:pt x="3994" y="1534"/>
                  <a:pt x="3996" y="1534"/>
                  <a:pt x="3999" y="1534"/>
                </a:cubicBezTo>
                <a:cubicBezTo>
                  <a:pt x="4007" y="1534"/>
                  <a:pt x="4011" y="1529"/>
                  <a:pt x="4016" y="1525"/>
                </a:cubicBezTo>
                <a:cubicBezTo>
                  <a:pt x="4019" y="1522"/>
                  <a:pt x="4021" y="1520"/>
                  <a:pt x="4022" y="1519"/>
                </a:cubicBezTo>
                <a:cubicBezTo>
                  <a:pt x="4023" y="1521"/>
                  <a:pt x="4023" y="1523"/>
                  <a:pt x="4023" y="1526"/>
                </a:cubicBezTo>
                <a:close/>
                <a:moveTo>
                  <a:pt x="4598" y="517"/>
                </a:moveTo>
                <a:cubicBezTo>
                  <a:pt x="4598" y="516"/>
                  <a:pt x="4598" y="514"/>
                  <a:pt x="4599" y="511"/>
                </a:cubicBezTo>
                <a:cubicBezTo>
                  <a:pt x="4603" y="504"/>
                  <a:pt x="4605" y="498"/>
                  <a:pt x="4608" y="496"/>
                </a:cubicBezTo>
                <a:cubicBezTo>
                  <a:pt x="4611" y="493"/>
                  <a:pt x="4618" y="490"/>
                  <a:pt x="4634" y="490"/>
                </a:cubicBezTo>
                <a:cubicBezTo>
                  <a:pt x="4662" y="490"/>
                  <a:pt x="4659" y="492"/>
                  <a:pt x="4672" y="492"/>
                </a:cubicBezTo>
                <a:cubicBezTo>
                  <a:pt x="4676" y="492"/>
                  <a:pt x="4680" y="492"/>
                  <a:pt x="4685" y="491"/>
                </a:cubicBezTo>
                <a:cubicBezTo>
                  <a:pt x="4700" y="491"/>
                  <a:pt x="4711" y="485"/>
                  <a:pt x="4721" y="480"/>
                </a:cubicBezTo>
                <a:cubicBezTo>
                  <a:pt x="4730" y="474"/>
                  <a:pt x="4739" y="469"/>
                  <a:pt x="4751" y="465"/>
                </a:cubicBezTo>
                <a:cubicBezTo>
                  <a:pt x="4771" y="458"/>
                  <a:pt x="4788" y="454"/>
                  <a:pt x="4797" y="454"/>
                </a:cubicBezTo>
                <a:cubicBezTo>
                  <a:pt x="4800" y="454"/>
                  <a:pt x="4801" y="454"/>
                  <a:pt x="4802" y="455"/>
                </a:cubicBezTo>
                <a:cubicBezTo>
                  <a:pt x="4805" y="456"/>
                  <a:pt x="4809" y="457"/>
                  <a:pt x="4812" y="457"/>
                </a:cubicBezTo>
                <a:cubicBezTo>
                  <a:pt x="4815" y="457"/>
                  <a:pt x="4818" y="457"/>
                  <a:pt x="4821" y="455"/>
                </a:cubicBezTo>
                <a:cubicBezTo>
                  <a:pt x="4823" y="454"/>
                  <a:pt x="4826" y="450"/>
                  <a:pt x="4826" y="447"/>
                </a:cubicBezTo>
                <a:cubicBezTo>
                  <a:pt x="4826" y="443"/>
                  <a:pt x="4824" y="440"/>
                  <a:pt x="4822" y="437"/>
                </a:cubicBezTo>
                <a:cubicBezTo>
                  <a:pt x="4818" y="433"/>
                  <a:pt x="4813" y="428"/>
                  <a:pt x="4809" y="424"/>
                </a:cubicBezTo>
                <a:cubicBezTo>
                  <a:pt x="4808" y="423"/>
                  <a:pt x="4806" y="421"/>
                  <a:pt x="4805" y="420"/>
                </a:cubicBezTo>
                <a:cubicBezTo>
                  <a:pt x="4809" y="419"/>
                  <a:pt x="4812" y="418"/>
                  <a:pt x="4816" y="416"/>
                </a:cubicBezTo>
                <a:cubicBezTo>
                  <a:pt x="4821" y="413"/>
                  <a:pt x="4826" y="409"/>
                  <a:pt x="4828" y="402"/>
                </a:cubicBezTo>
                <a:cubicBezTo>
                  <a:pt x="4828" y="400"/>
                  <a:pt x="4828" y="398"/>
                  <a:pt x="4828" y="396"/>
                </a:cubicBezTo>
                <a:cubicBezTo>
                  <a:pt x="4828" y="385"/>
                  <a:pt x="4821" y="374"/>
                  <a:pt x="4822" y="367"/>
                </a:cubicBezTo>
                <a:cubicBezTo>
                  <a:pt x="4822" y="365"/>
                  <a:pt x="4822" y="364"/>
                  <a:pt x="4823" y="362"/>
                </a:cubicBezTo>
                <a:cubicBezTo>
                  <a:pt x="4826" y="359"/>
                  <a:pt x="4827" y="355"/>
                  <a:pt x="4827" y="351"/>
                </a:cubicBezTo>
                <a:cubicBezTo>
                  <a:pt x="4827" y="344"/>
                  <a:pt x="4823" y="338"/>
                  <a:pt x="4818" y="334"/>
                </a:cubicBezTo>
                <a:cubicBezTo>
                  <a:pt x="4813" y="330"/>
                  <a:pt x="4807" y="326"/>
                  <a:pt x="4801" y="325"/>
                </a:cubicBezTo>
                <a:cubicBezTo>
                  <a:pt x="4798" y="324"/>
                  <a:pt x="4793" y="324"/>
                  <a:pt x="4788" y="324"/>
                </a:cubicBezTo>
                <a:cubicBezTo>
                  <a:pt x="4778" y="324"/>
                  <a:pt x="4766" y="325"/>
                  <a:pt x="4756" y="325"/>
                </a:cubicBezTo>
                <a:cubicBezTo>
                  <a:pt x="4746" y="325"/>
                  <a:pt x="4738" y="323"/>
                  <a:pt x="4737" y="323"/>
                </a:cubicBezTo>
                <a:cubicBezTo>
                  <a:pt x="4730" y="318"/>
                  <a:pt x="4719" y="313"/>
                  <a:pt x="4710" y="312"/>
                </a:cubicBezTo>
                <a:cubicBezTo>
                  <a:pt x="4707" y="312"/>
                  <a:pt x="4704" y="313"/>
                  <a:pt x="4702" y="315"/>
                </a:cubicBezTo>
                <a:cubicBezTo>
                  <a:pt x="4698" y="319"/>
                  <a:pt x="4695" y="325"/>
                  <a:pt x="4691" y="332"/>
                </a:cubicBezTo>
                <a:cubicBezTo>
                  <a:pt x="4689" y="335"/>
                  <a:pt x="4688" y="338"/>
                  <a:pt x="4687" y="340"/>
                </a:cubicBezTo>
                <a:cubicBezTo>
                  <a:pt x="4686" y="339"/>
                  <a:pt x="4684" y="338"/>
                  <a:pt x="4681" y="333"/>
                </a:cubicBezTo>
                <a:cubicBezTo>
                  <a:pt x="4676" y="325"/>
                  <a:pt x="4666" y="323"/>
                  <a:pt x="4657" y="321"/>
                </a:cubicBezTo>
                <a:cubicBezTo>
                  <a:pt x="4647" y="319"/>
                  <a:pt x="4636" y="319"/>
                  <a:pt x="4628" y="319"/>
                </a:cubicBezTo>
                <a:cubicBezTo>
                  <a:pt x="4624" y="319"/>
                  <a:pt x="4621" y="319"/>
                  <a:pt x="4619" y="319"/>
                </a:cubicBezTo>
                <a:cubicBezTo>
                  <a:pt x="4607" y="319"/>
                  <a:pt x="4594" y="322"/>
                  <a:pt x="4582" y="323"/>
                </a:cubicBezTo>
                <a:cubicBezTo>
                  <a:pt x="4575" y="324"/>
                  <a:pt x="4570" y="326"/>
                  <a:pt x="4567" y="325"/>
                </a:cubicBezTo>
                <a:cubicBezTo>
                  <a:pt x="4564" y="325"/>
                  <a:pt x="4562" y="325"/>
                  <a:pt x="4558" y="321"/>
                </a:cubicBezTo>
                <a:cubicBezTo>
                  <a:pt x="4548" y="310"/>
                  <a:pt x="4534" y="306"/>
                  <a:pt x="4531" y="303"/>
                </a:cubicBezTo>
                <a:cubicBezTo>
                  <a:pt x="4528" y="300"/>
                  <a:pt x="4524" y="300"/>
                  <a:pt x="4520" y="299"/>
                </a:cubicBezTo>
                <a:cubicBezTo>
                  <a:pt x="4516" y="298"/>
                  <a:pt x="4511" y="298"/>
                  <a:pt x="4505" y="298"/>
                </a:cubicBezTo>
                <a:cubicBezTo>
                  <a:pt x="4496" y="298"/>
                  <a:pt x="4486" y="299"/>
                  <a:pt x="4477" y="300"/>
                </a:cubicBezTo>
                <a:cubicBezTo>
                  <a:pt x="4461" y="302"/>
                  <a:pt x="4445" y="303"/>
                  <a:pt x="4440" y="303"/>
                </a:cubicBezTo>
                <a:cubicBezTo>
                  <a:pt x="4439" y="302"/>
                  <a:pt x="4437" y="301"/>
                  <a:pt x="4435" y="300"/>
                </a:cubicBezTo>
                <a:cubicBezTo>
                  <a:pt x="4431" y="298"/>
                  <a:pt x="4426" y="295"/>
                  <a:pt x="4419" y="290"/>
                </a:cubicBezTo>
                <a:cubicBezTo>
                  <a:pt x="4412" y="285"/>
                  <a:pt x="4405" y="281"/>
                  <a:pt x="4399" y="278"/>
                </a:cubicBezTo>
                <a:cubicBezTo>
                  <a:pt x="4393" y="275"/>
                  <a:pt x="4388" y="273"/>
                  <a:pt x="4383" y="272"/>
                </a:cubicBezTo>
                <a:cubicBezTo>
                  <a:pt x="4379" y="272"/>
                  <a:pt x="4363" y="275"/>
                  <a:pt x="4350" y="275"/>
                </a:cubicBezTo>
                <a:cubicBezTo>
                  <a:pt x="4344" y="276"/>
                  <a:pt x="4339" y="274"/>
                  <a:pt x="4339" y="274"/>
                </a:cubicBezTo>
                <a:cubicBezTo>
                  <a:pt x="4331" y="267"/>
                  <a:pt x="4324" y="263"/>
                  <a:pt x="4316" y="262"/>
                </a:cubicBezTo>
                <a:cubicBezTo>
                  <a:pt x="4321" y="260"/>
                  <a:pt x="4327" y="259"/>
                  <a:pt x="4334" y="257"/>
                </a:cubicBezTo>
                <a:cubicBezTo>
                  <a:pt x="4343" y="254"/>
                  <a:pt x="4351" y="251"/>
                  <a:pt x="4351" y="251"/>
                </a:cubicBezTo>
                <a:cubicBezTo>
                  <a:pt x="4353" y="250"/>
                  <a:pt x="4354" y="249"/>
                  <a:pt x="4355" y="247"/>
                </a:cubicBezTo>
                <a:cubicBezTo>
                  <a:pt x="4355" y="246"/>
                  <a:pt x="4355" y="244"/>
                  <a:pt x="4354" y="242"/>
                </a:cubicBezTo>
                <a:cubicBezTo>
                  <a:pt x="4354" y="242"/>
                  <a:pt x="4351" y="238"/>
                  <a:pt x="4347" y="234"/>
                </a:cubicBezTo>
                <a:cubicBezTo>
                  <a:pt x="4343" y="229"/>
                  <a:pt x="4337" y="224"/>
                  <a:pt x="4328" y="224"/>
                </a:cubicBezTo>
                <a:cubicBezTo>
                  <a:pt x="4324" y="224"/>
                  <a:pt x="4316" y="223"/>
                  <a:pt x="4308" y="221"/>
                </a:cubicBezTo>
                <a:cubicBezTo>
                  <a:pt x="4301" y="219"/>
                  <a:pt x="4295" y="217"/>
                  <a:pt x="4290" y="217"/>
                </a:cubicBezTo>
                <a:cubicBezTo>
                  <a:pt x="4288" y="217"/>
                  <a:pt x="4285" y="218"/>
                  <a:pt x="4284" y="219"/>
                </a:cubicBezTo>
                <a:cubicBezTo>
                  <a:pt x="4283" y="220"/>
                  <a:pt x="4282" y="221"/>
                  <a:pt x="4282" y="222"/>
                </a:cubicBezTo>
                <a:cubicBezTo>
                  <a:pt x="4281" y="222"/>
                  <a:pt x="4280" y="222"/>
                  <a:pt x="4279" y="222"/>
                </a:cubicBezTo>
                <a:cubicBezTo>
                  <a:pt x="4271" y="220"/>
                  <a:pt x="4264" y="216"/>
                  <a:pt x="4255" y="216"/>
                </a:cubicBezTo>
                <a:cubicBezTo>
                  <a:pt x="4251" y="216"/>
                  <a:pt x="4247" y="217"/>
                  <a:pt x="4244" y="220"/>
                </a:cubicBezTo>
                <a:cubicBezTo>
                  <a:pt x="4242" y="222"/>
                  <a:pt x="4239" y="224"/>
                  <a:pt x="4235" y="226"/>
                </a:cubicBezTo>
                <a:cubicBezTo>
                  <a:pt x="4232" y="229"/>
                  <a:pt x="4229" y="232"/>
                  <a:pt x="4228" y="238"/>
                </a:cubicBezTo>
                <a:cubicBezTo>
                  <a:pt x="4228" y="241"/>
                  <a:pt x="4230" y="244"/>
                  <a:pt x="4232" y="246"/>
                </a:cubicBezTo>
                <a:cubicBezTo>
                  <a:pt x="4234" y="248"/>
                  <a:pt x="4237" y="249"/>
                  <a:pt x="4240" y="250"/>
                </a:cubicBezTo>
                <a:cubicBezTo>
                  <a:pt x="4250" y="253"/>
                  <a:pt x="4259" y="253"/>
                  <a:pt x="4265" y="253"/>
                </a:cubicBezTo>
                <a:cubicBezTo>
                  <a:pt x="4272" y="253"/>
                  <a:pt x="4275" y="255"/>
                  <a:pt x="4275" y="255"/>
                </a:cubicBezTo>
                <a:cubicBezTo>
                  <a:pt x="4276" y="257"/>
                  <a:pt x="4276" y="258"/>
                  <a:pt x="4276" y="259"/>
                </a:cubicBezTo>
                <a:cubicBezTo>
                  <a:pt x="4276" y="261"/>
                  <a:pt x="4274" y="264"/>
                  <a:pt x="4274" y="270"/>
                </a:cubicBezTo>
                <a:cubicBezTo>
                  <a:pt x="4274" y="270"/>
                  <a:pt x="4272" y="276"/>
                  <a:pt x="4269" y="280"/>
                </a:cubicBezTo>
                <a:cubicBezTo>
                  <a:pt x="4267" y="284"/>
                  <a:pt x="4263" y="288"/>
                  <a:pt x="4262" y="288"/>
                </a:cubicBezTo>
                <a:cubicBezTo>
                  <a:pt x="4262" y="288"/>
                  <a:pt x="4262" y="288"/>
                  <a:pt x="4262" y="288"/>
                </a:cubicBezTo>
                <a:cubicBezTo>
                  <a:pt x="4260" y="288"/>
                  <a:pt x="4257" y="287"/>
                  <a:pt x="4251" y="287"/>
                </a:cubicBezTo>
                <a:cubicBezTo>
                  <a:pt x="4248" y="287"/>
                  <a:pt x="4243" y="289"/>
                  <a:pt x="4238" y="292"/>
                </a:cubicBezTo>
                <a:cubicBezTo>
                  <a:pt x="4234" y="294"/>
                  <a:pt x="4224" y="296"/>
                  <a:pt x="4216" y="296"/>
                </a:cubicBezTo>
                <a:cubicBezTo>
                  <a:pt x="4213" y="296"/>
                  <a:pt x="4211" y="296"/>
                  <a:pt x="4210" y="296"/>
                </a:cubicBezTo>
                <a:cubicBezTo>
                  <a:pt x="4206" y="296"/>
                  <a:pt x="4203" y="295"/>
                  <a:pt x="4201" y="295"/>
                </a:cubicBezTo>
                <a:cubicBezTo>
                  <a:pt x="4199" y="296"/>
                  <a:pt x="4197" y="295"/>
                  <a:pt x="4196" y="296"/>
                </a:cubicBezTo>
                <a:cubicBezTo>
                  <a:pt x="4195" y="295"/>
                  <a:pt x="4194" y="294"/>
                  <a:pt x="4193" y="293"/>
                </a:cubicBezTo>
                <a:cubicBezTo>
                  <a:pt x="4190" y="291"/>
                  <a:pt x="4188" y="288"/>
                  <a:pt x="4182" y="287"/>
                </a:cubicBezTo>
                <a:cubicBezTo>
                  <a:pt x="4181" y="287"/>
                  <a:pt x="4180" y="288"/>
                  <a:pt x="4178" y="288"/>
                </a:cubicBezTo>
                <a:cubicBezTo>
                  <a:pt x="4174" y="291"/>
                  <a:pt x="4169" y="295"/>
                  <a:pt x="4164" y="300"/>
                </a:cubicBezTo>
                <a:cubicBezTo>
                  <a:pt x="4159" y="304"/>
                  <a:pt x="4152" y="307"/>
                  <a:pt x="4152" y="307"/>
                </a:cubicBezTo>
                <a:cubicBezTo>
                  <a:pt x="4152" y="307"/>
                  <a:pt x="4152" y="307"/>
                  <a:pt x="4152" y="307"/>
                </a:cubicBezTo>
                <a:cubicBezTo>
                  <a:pt x="4148" y="306"/>
                  <a:pt x="4139" y="298"/>
                  <a:pt x="4139" y="291"/>
                </a:cubicBezTo>
                <a:cubicBezTo>
                  <a:pt x="4139" y="285"/>
                  <a:pt x="4139" y="278"/>
                  <a:pt x="4137" y="272"/>
                </a:cubicBezTo>
                <a:cubicBezTo>
                  <a:pt x="4136" y="267"/>
                  <a:pt x="4135" y="262"/>
                  <a:pt x="4130" y="258"/>
                </a:cubicBezTo>
                <a:cubicBezTo>
                  <a:pt x="4128" y="257"/>
                  <a:pt x="4126" y="257"/>
                  <a:pt x="4124" y="256"/>
                </a:cubicBezTo>
                <a:cubicBezTo>
                  <a:pt x="4118" y="255"/>
                  <a:pt x="4108" y="254"/>
                  <a:pt x="4099" y="254"/>
                </a:cubicBezTo>
                <a:cubicBezTo>
                  <a:pt x="4095" y="254"/>
                  <a:pt x="4091" y="254"/>
                  <a:pt x="4088" y="255"/>
                </a:cubicBezTo>
                <a:cubicBezTo>
                  <a:pt x="4084" y="255"/>
                  <a:pt x="4074" y="256"/>
                  <a:pt x="4065" y="258"/>
                </a:cubicBezTo>
                <a:cubicBezTo>
                  <a:pt x="4060" y="259"/>
                  <a:pt x="4056" y="260"/>
                  <a:pt x="4052" y="261"/>
                </a:cubicBezTo>
                <a:cubicBezTo>
                  <a:pt x="4048" y="262"/>
                  <a:pt x="4045" y="263"/>
                  <a:pt x="4042" y="266"/>
                </a:cubicBezTo>
                <a:cubicBezTo>
                  <a:pt x="4040" y="269"/>
                  <a:pt x="4027" y="274"/>
                  <a:pt x="4021" y="274"/>
                </a:cubicBezTo>
                <a:cubicBezTo>
                  <a:pt x="4020" y="274"/>
                  <a:pt x="4016" y="272"/>
                  <a:pt x="4011" y="269"/>
                </a:cubicBezTo>
                <a:cubicBezTo>
                  <a:pt x="4006" y="267"/>
                  <a:pt x="3999" y="263"/>
                  <a:pt x="3990" y="261"/>
                </a:cubicBezTo>
                <a:cubicBezTo>
                  <a:pt x="3976" y="259"/>
                  <a:pt x="3953" y="259"/>
                  <a:pt x="3939" y="259"/>
                </a:cubicBezTo>
                <a:cubicBezTo>
                  <a:pt x="3933" y="259"/>
                  <a:pt x="3930" y="260"/>
                  <a:pt x="3927" y="260"/>
                </a:cubicBezTo>
                <a:cubicBezTo>
                  <a:pt x="3927" y="260"/>
                  <a:pt x="3927" y="260"/>
                  <a:pt x="3927" y="260"/>
                </a:cubicBezTo>
                <a:cubicBezTo>
                  <a:pt x="3926" y="260"/>
                  <a:pt x="3923" y="259"/>
                  <a:pt x="3922" y="259"/>
                </a:cubicBezTo>
                <a:cubicBezTo>
                  <a:pt x="3924" y="256"/>
                  <a:pt x="3927" y="253"/>
                  <a:pt x="3930" y="250"/>
                </a:cubicBezTo>
                <a:cubicBezTo>
                  <a:pt x="3933" y="244"/>
                  <a:pt x="3937" y="239"/>
                  <a:pt x="3937" y="232"/>
                </a:cubicBezTo>
                <a:cubicBezTo>
                  <a:pt x="3937" y="227"/>
                  <a:pt x="3935" y="223"/>
                  <a:pt x="3931" y="220"/>
                </a:cubicBezTo>
                <a:cubicBezTo>
                  <a:pt x="3918" y="210"/>
                  <a:pt x="3895" y="211"/>
                  <a:pt x="3885" y="209"/>
                </a:cubicBezTo>
                <a:cubicBezTo>
                  <a:pt x="3878" y="208"/>
                  <a:pt x="3870" y="206"/>
                  <a:pt x="3861" y="206"/>
                </a:cubicBezTo>
                <a:cubicBezTo>
                  <a:pt x="3856" y="206"/>
                  <a:pt x="3851" y="207"/>
                  <a:pt x="3846" y="208"/>
                </a:cubicBezTo>
                <a:cubicBezTo>
                  <a:pt x="3840" y="209"/>
                  <a:pt x="3835" y="211"/>
                  <a:pt x="3831" y="213"/>
                </a:cubicBezTo>
                <a:cubicBezTo>
                  <a:pt x="3830" y="213"/>
                  <a:pt x="3830" y="213"/>
                  <a:pt x="3830" y="213"/>
                </a:cubicBezTo>
                <a:cubicBezTo>
                  <a:pt x="3830" y="212"/>
                  <a:pt x="3829" y="211"/>
                  <a:pt x="3829" y="211"/>
                </a:cubicBezTo>
                <a:cubicBezTo>
                  <a:pt x="3828" y="210"/>
                  <a:pt x="3828" y="210"/>
                  <a:pt x="3827" y="210"/>
                </a:cubicBezTo>
                <a:cubicBezTo>
                  <a:pt x="3826" y="209"/>
                  <a:pt x="3823" y="207"/>
                  <a:pt x="3817" y="204"/>
                </a:cubicBezTo>
                <a:cubicBezTo>
                  <a:pt x="3802" y="197"/>
                  <a:pt x="3791" y="194"/>
                  <a:pt x="3783" y="194"/>
                </a:cubicBezTo>
                <a:cubicBezTo>
                  <a:pt x="3777" y="194"/>
                  <a:pt x="3772" y="195"/>
                  <a:pt x="3768" y="197"/>
                </a:cubicBezTo>
                <a:cubicBezTo>
                  <a:pt x="3766" y="199"/>
                  <a:pt x="3765" y="200"/>
                  <a:pt x="3764" y="201"/>
                </a:cubicBezTo>
                <a:cubicBezTo>
                  <a:pt x="3762" y="203"/>
                  <a:pt x="3763" y="202"/>
                  <a:pt x="3762" y="203"/>
                </a:cubicBezTo>
                <a:cubicBezTo>
                  <a:pt x="3761" y="203"/>
                  <a:pt x="3758" y="204"/>
                  <a:pt x="3752" y="207"/>
                </a:cubicBezTo>
                <a:cubicBezTo>
                  <a:pt x="3734" y="215"/>
                  <a:pt x="3723" y="220"/>
                  <a:pt x="3719" y="220"/>
                </a:cubicBezTo>
                <a:cubicBezTo>
                  <a:pt x="3719" y="220"/>
                  <a:pt x="3719" y="220"/>
                  <a:pt x="3719" y="220"/>
                </a:cubicBezTo>
                <a:cubicBezTo>
                  <a:pt x="3717" y="220"/>
                  <a:pt x="3709" y="219"/>
                  <a:pt x="3702" y="217"/>
                </a:cubicBezTo>
                <a:cubicBezTo>
                  <a:pt x="3698" y="216"/>
                  <a:pt x="3694" y="215"/>
                  <a:pt x="3692" y="214"/>
                </a:cubicBezTo>
                <a:cubicBezTo>
                  <a:pt x="3690" y="214"/>
                  <a:pt x="3689" y="214"/>
                  <a:pt x="3689" y="213"/>
                </a:cubicBezTo>
                <a:cubicBezTo>
                  <a:pt x="3688" y="213"/>
                  <a:pt x="3688" y="213"/>
                  <a:pt x="3688" y="213"/>
                </a:cubicBezTo>
                <a:cubicBezTo>
                  <a:pt x="3688" y="213"/>
                  <a:pt x="3688" y="213"/>
                  <a:pt x="3688" y="213"/>
                </a:cubicBezTo>
                <a:cubicBezTo>
                  <a:pt x="3684" y="211"/>
                  <a:pt x="3683" y="211"/>
                  <a:pt x="3681" y="211"/>
                </a:cubicBezTo>
                <a:cubicBezTo>
                  <a:pt x="3673" y="211"/>
                  <a:pt x="3663" y="215"/>
                  <a:pt x="3654" y="219"/>
                </a:cubicBezTo>
                <a:cubicBezTo>
                  <a:pt x="3643" y="225"/>
                  <a:pt x="3636" y="231"/>
                  <a:pt x="3630" y="230"/>
                </a:cubicBezTo>
                <a:cubicBezTo>
                  <a:pt x="3629" y="230"/>
                  <a:pt x="3628" y="230"/>
                  <a:pt x="3626" y="230"/>
                </a:cubicBezTo>
                <a:cubicBezTo>
                  <a:pt x="3621" y="228"/>
                  <a:pt x="3615" y="228"/>
                  <a:pt x="3608" y="228"/>
                </a:cubicBezTo>
                <a:cubicBezTo>
                  <a:pt x="3599" y="228"/>
                  <a:pt x="3589" y="229"/>
                  <a:pt x="3581" y="233"/>
                </a:cubicBezTo>
                <a:cubicBezTo>
                  <a:pt x="3571" y="238"/>
                  <a:pt x="3562" y="238"/>
                  <a:pt x="3549" y="249"/>
                </a:cubicBezTo>
                <a:cubicBezTo>
                  <a:pt x="3544" y="253"/>
                  <a:pt x="3536" y="257"/>
                  <a:pt x="3529" y="259"/>
                </a:cubicBezTo>
                <a:cubicBezTo>
                  <a:pt x="3525" y="261"/>
                  <a:pt x="3520" y="262"/>
                  <a:pt x="3519" y="263"/>
                </a:cubicBezTo>
                <a:cubicBezTo>
                  <a:pt x="3514" y="262"/>
                  <a:pt x="3499" y="261"/>
                  <a:pt x="3489" y="261"/>
                </a:cubicBezTo>
                <a:cubicBezTo>
                  <a:pt x="3485" y="261"/>
                  <a:pt x="3481" y="261"/>
                  <a:pt x="3476" y="262"/>
                </a:cubicBezTo>
                <a:cubicBezTo>
                  <a:pt x="3474" y="262"/>
                  <a:pt x="3472" y="263"/>
                  <a:pt x="3470" y="264"/>
                </a:cubicBezTo>
                <a:cubicBezTo>
                  <a:pt x="3468" y="265"/>
                  <a:pt x="3465" y="268"/>
                  <a:pt x="3465" y="272"/>
                </a:cubicBezTo>
                <a:cubicBezTo>
                  <a:pt x="3465" y="276"/>
                  <a:pt x="3467" y="278"/>
                  <a:pt x="3470" y="281"/>
                </a:cubicBezTo>
                <a:cubicBezTo>
                  <a:pt x="3476" y="287"/>
                  <a:pt x="3485" y="292"/>
                  <a:pt x="3494" y="296"/>
                </a:cubicBezTo>
                <a:cubicBezTo>
                  <a:pt x="3494" y="296"/>
                  <a:pt x="3494" y="297"/>
                  <a:pt x="3494" y="297"/>
                </a:cubicBezTo>
                <a:cubicBezTo>
                  <a:pt x="3492" y="296"/>
                  <a:pt x="3490" y="295"/>
                  <a:pt x="3487" y="293"/>
                </a:cubicBezTo>
                <a:cubicBezTo>
                  <a:pt x="3480" y="291"/>
                  <a:pt x="3476" y="290"/>
                  <a:pt x="3474" y="289"/>
                </a:cubicBezTo>
                <a:cubicBezTo>
                  <a:pt x="3473" y="289"/>
                  <a:pt x="3471" y="287"/>
                  <a:pt x="3465" y="281"/>
                </a:cubicBezTo>
                <a:cubicBezTo>
                  <a:pt x="3458" y="274"/>
                  <a:pt x="3450" y="270"/>
                  <a:pt x="3443" y="270"/>
                </a:cubicBezTo>
                <a:cubicBezTo>
                  <a:pt x="3436" y="270"/>
                  <a:pt x="3429" y="274"/>
                  <a:pt x="3426" y="279"/>
                </a:cubicBezTo>
                <a:cubicBezTo>
                  <a:pt x="3421" y="285"/>
                  <a:pt x="3421" y="292"/>
                  <a:pt x="3420" y="297"/>
                </a:cubicBezTo>
                <a:cubicBezTo>
                  <a:pt x="3420" y="300"/>
                  <a:pt x="3420" y="302"/>
                  <a:pt x="3419" y="303"/>
                </a:cubicBezTo>
                <a:cubicBezTo>
                  <a:pt x="3419" y="303"/>
                  <a:pt x="3419" y="303"/>
                  <a:pt x="3419" y="303"/>
                </a:cubicBezTo>
                <a:cubicBezTo>
                  <a:pt x="3416" y="304"/>
                  <a:pt x="3413" y="305"/>
                  <a:pt x="3412" y="305"/>
                </a:cubicBezTo>
                <a:cubicBezTo>
                  <a:pt x="3412" y="305"/>
                  <a:pt x="3411" y="304"/>
                  <a:pt x="3411" y="303"/>
                </a:cubicBezTo>
                <a:cubicBezTo>
                  <a:pt x="3411" y="298"/>
                  <a:pt x="3411" y="291"/>
                  <a:pt x="3410" y="286"/>
                </a:cubicBezTo>
                <a:cubicBezTo>
                  <a:pt x="3410" y="283"/>
                  <a:pt x="3409" y="280"/>
                  <a:pt x="3408" y="278"/>
                </a:cubicBezTo>
                <a:cubicBezTo>
                  <a:pt x="3408" y="276"/>
                  <a:pt x="3407" y="275"/>
                  <a:pt x="3406" y="274"/>
                </a:cubicBezTo>
                <a:cubicBezTo>
                  <a:pt x="3405" y="273"/>
                  <a:pt x="3403" y="271"/>
                  <a:pt x="3400" y="271"/>
                </a:cubicBezTo>
                <a:cubicBezTo>
                  <a:pt x="3394" y="272"/>
                  <a:pt x="3393" y="275"/>
                  <a:pt x="3391" y="278"/>
                </a:cubicBezTo>
                <a:cubicBezTo>
                  <a:pt x="3387" y="285"/>
                  <a:pt x="3384" y="288"/>
                  <a:pt x="3382" y="291"/>
                </a:cubicBezTo>
                <a:cubicBezTo>
                  <a:pt x="3380" y="293"/>
                  <a:pt x="3378" y="297"/>
                  <a:pt x="3379" y="302"/>
                </a:cubicBezTo>
                <a:cubicBezTo>
                  <a:pt x="3379" y="311"/>
                  <a:pt x="3384" y="316"/>
                  <a:pt x="3384" y="323"/>
                </a:cubicBezTo>
                <a:cubicBezTo>
                  <a:pt x="3384" y="324"/>
                  <a:pt x="3384" y="326"/>
                  <a:pt x="3383" y="327"/>
                </a:cubicBezTo>
                <a:cubicBezTo>
                  <a:pt x="3382" y="333"/>
                  <a:pt x="3382" y="338"/>
                  <a:pt x="3382" y="342"/>
                </a:cubicBezTo>
                <a:cubicBezTo>
                  <a:pt x="3382" y="344"/>
                  <a:pt x="3382" y="347"/>
                  <a:pt x="3383" y="349"/>
                </a:cubicBezTo>
                <a:cubicBezTo>
                  <a:pt x="3383" y="351"/>
                  <a:pt x="3385" y="353"/>
                  <a:pt x="3387" y="354"/>
                </a:cubicBezTo>
                <a:cubicBezTo>
                  <a:pt x="3380" y="363"/>
                  <a:pt x="3372" y="375"/>
                  <a:pt x="3369" y="378"/>
                </a:cubicBezTo>
                <a:cubicBezTo>
                  <a:pt x="3367" y="380"/>
                  <a:pt x="3363" y="382"/>
                  <a:pt x="3358" y="384"/>
                </a:cubicBezTo>
                <a:cubicBezTo>
                  <a:pt x="3356" y="385"/>
                  <a:pt x="3355" y="386"/>
                  <a:pt x="3353" y="387"/>
                </a:cubicBezTo>
                <a:cubicBezTo>
                  <a:pt x="3356" y="382"/>
                  <a:pt x="3361" y="378"/>
                  <a:pt x="3364" y="376"/>
                </a:cubicBezTo>
                <a:cubicBezTo>
                  <a:pt x="3373" y="368"/>
                  <a:pt x="3380" y="357"/>
                  <a:pt x="3380" y="348"/>
                </a:cubicBezTo>
                <a:cubicBezTo>
                  <a:pt x="3380" y="346"/>
                  <a:pt x="3380" y="343"/>
                  <a:pt x="3378" y="341"/>
                </a:cubicBezTo>
                <a:cubicBezTo>
                  <a:pt x="3378" y="341"/>
                  <a:pt x="3378" y="341"/>
                  <a:pt x="3378" y="341"/>
                </a:cubicBezTo>
                <a:cubicBezTo>
                  <a:pt x="3376" y="339"/>
                  <a:pt x="3373" y="321"/>
                  <a:pt x="3373" y="313"/>
                </a:cubicBezTo>
                <a:cubicBezTo>
                  <a:pt x="3373" y="311"/>
                  <a:pt x="3373" y="309"/>
                  <a:pt x="3373" y="309"/>
                </a:cubicBezTo>
                <a:cubicBezTo>
                  <a:pt x="3374" y="306"/>
                  <a:pt x="3379" y="301"/>
                  <a:pt x="3380" y="292"/>
                </a:cubicBezTo>
                <a:cubicBezTo>
                  <a:pt x="3380" y="287"/>
                  <a:pt x="3377" y="282"/>
                  <a:pt x="3372" y="279"/>
                </a:cubicBezTo>
                <a:cubicBezTo>
                  <a:pt x="3361" y="272"/>
                  <a:pt x="3353" y="264"/>
                  <a:pt x="3342" y="259"/>
                </a:cubicBezTo>
                <a:cubicBezTo>
                  <a:pt x="3341" y="258"/>
                  <a:pt x="3339" y="258"/>
                  <a:pt x="3337" y="258"/>
                </a:cubicBezTo>
                <a:cubicBezTo>
                  <a:pt x="3329" y="259"/>
                  <a:pt x="3324" y="265"/>
                  <a:pt x="3320" y="270"/>
                </a:cubicBezTo>
                <a:cubicBezTo>
                  <a:pt x="3315" y="275"/>
                  <a:pt x="3311" y="280"/>
                  <a:pt x="3309" y="282"/>
                </a:cubicBezTo>
                <a:cubicBezTo>
                  <a:pt x="3304" y="285"/>
                  <a:pt x="3301" y="289"/>
                  <a:pt x="3300" y="291"/>
                </a:cubicBezTo>
                <a:cubicBezTo>
                  <a:pt x="3298" y="293"/>
                  <a:pt x="3298" y="294"/>
                  <a:pt x="3294" y="294"/>
                </a:cubicBezTo>
                <a:cubicBezTo>
                  <a:pt x="3285" y="296"/>
                  <a:pt x="3278" y="304"/>
                  <a:pt x="3278" y="313"/>
                </a:cubicBezTo>
                <a:cubicBezTo>
                  <a:pt x="3278" y="321"/>
                  <a:pt x="3283" y="328"/>
                  <a:pt x="3292" y="333"/>
                </a:cubicBezTo>
                <a:cubicBezTo>
                  <a:pt x="3298" y="337"/>
                  <a:pt x="3303" y="340"/>
                  <a:pt x="3306" y="343"/>
                </a:cubicBezTo>
                <a:cubicBezTo>
                  <a:pt x="3307" y="344"/>
                  <a:pt x="3308" y="345"/>
                  <a:pt x="3308" y="346"/>
                </a:cubicBezTo>
                <a:cubicBezTo>
                  <a:pt x="3308" y="346"/>
                  <a:pt x="3308" y="346"/>
                  <a:pt x="3308" y="346"/>
                </a:cubicBezTo>
                <a:cubicBezTo>
                  <a:pt x="3308" y="346"/>
                  <a:pt x="3308" y="346"/>
                  <a:pt x="3307" y="346"/>
                </a:cubicBezTo>
                <a:cubicBezTo>
                  <a:pt x="3305" y="346"/>
                  <a:pt x="3301" y="345"/>
                  <a:pt x="3297" y="344"/>
                </a:cubicBezTo>
                <a:cubicBezTo>
                  <a:pt x="3294" y="343"/>
                  <a:pt x="3291" y="342"/>
                  <a:pt x="3291" y="342"/>
                </a:cubicBezTo>
                <a:cubicBezTo>
                  <a:pt x="3291" y="342"/>
                  <a:pt x="3291" y="342"/>
                  <a:pt x="3291" y="342"/>
                </a:cubicBezTo>
                <a:cubicBezTo>
                  <a:pt x="3289" y="340"/>
                  <a:pt x="3276" y="333"/>
                  <a:pt x="3265" y="333"/>
                </a:cubicBezTo>
                <a:cubicBezTo>
                  <a:pt x="3258" y="333"/>
                  <a:pt x="3247" y="327"/>
                  <a:pt x="3236" y="325"/>
                </a:cubicBezTo>
                <a:cubicBezTo>
                  <a:pt x="3232" y="324"/>
                  <a:pt x="3228" y="324"/>
                  <a:pt x="3223" y="324"/>
                </a:cubicBezTo>
                <a:cubicBezTo>
                  <a:pt x="3214" y="324"/>
                  <a:pt x="3205" y="324"/>
                  <a:pt x="3198" y="331"/>
                </a:cubicBezTo>
                <a:cubicBezTo>
                  <a:pt x="3196" y="334"/>
                  <a:pt x="3193" y="338"/>
                  <a:pt x="3189" y="341"/>
                </a:cubicBezTo>
                <a:cubicBezTo>
                  <a:pt x="3186" y="345"/>
                  <a:pt x="3182" y="347"/>
                  <a:pt x="3181" y="347"/>
                </a:cubicBezTo>
                <a:cubicBezTo>
                  <a:pt x="3181" y="347"/>
                  <a:pt x="3181" y="346"/>
                  <a:pt x="3181" y="346"/>
                </a:cubicBezTo>
                <a:cubicBezTo>
                  <a:pt x="3178" y="345"/>
                  <a:pt x="3176" y="343"/>
                  <a:pt x="3174" y="341"/>
                </a:cubicBezTo>
                <a:cubicBezTo>
                  <a:pt x="3172" y="340"/>
                  <a:pt x="3168" y="338"/>
                  <a:pt x="3164" y="338"/>
                </a:cubicBezTo>
                <a:cubicBezTo>
                  <a:pt x="3161" y="338"/>
                  <a:pt x="3157" y="339"/>
                  <a:pt x="3153" y="340"/>
                </a:cubicBezTo>
                <a:cubicBezTo>
                  <a:pt x="3151" y="341"/>
                  <a:pt x="3149" y="342"/>
                  <a:pt x="3146" y="342"/>
                </a:cubicBezTo>
                <a:cubicBezTo>
                  <a:pt x="3142" y="342"/>
                  <a:pt x="3137" y="341"/>
                  <a:pt x="3132" y="341"/>
                </a:cubicBezTo>
                <a:cubicBezTo>
                  <a:pt x="3128" y="340"/>
                  <a:pt x="3122" y="342"/>
                  <a:pt x="3119" y="346"/>
                </a:cubicBezTo>
                <a:cubicBezTo>
                  <a:pt x="3118" y="348"/>
                  <a:pt x="3117" y="349"/>
                  <a:pt x="3116" y="350"/>
                </a:cubicBezTo>
                <a:cubicBezTo>
                  <a:pt x="3114" y="349"/>
                  <a:pt x="3109" y="347"/>
                  <a:pt x="3102" y="344"/>
                </a:cubicBezTo>
                <a:cubicBezTo>
                  <a:pt x="3097" y="342"/>
                  <a:pt x="3093" y="341"/>
                  <a:pt x="3089" y="341"/>
                </a:cubicBezTo>
                <a:cubicBezTo>
                  <a:pt x="3082" y="341"/>
                  <a:pt x="3077" y="345"/>
                  <a:pt x="3074" y="348"/>
                </a:cubicBezTo>
                <a:cubicBezTo>
                  <a:pt x="3071" y="350"/>
                  <a:pt x="3068" y="352"/>
                  <a:pt x="3061" y="354"/>
                </a:cubicBezTo>
                <a:cubicBezTo>
                  <a:pt x="3057" y="355"/>
                  <a:pt x="3053" y="355"/>
                  <a:pt x="3049" y="355"/>
                </a:cubicBezTo>
                <a:cubicBezTo>
                  <a:pt x="3043" y="355"/>
                  <a:pt x="3038" y="354"/>
                  <a:pt x="3033" y="354"/>
                </a:cubicBezTo>
                <a:cubicBezTo>
                  <a:pt x="3028" y="354"/>
                  <a:pt x="3022" y="355"/>
                  <a:pt x="3018" y="360"/>
                </a:cubicBezTo>
                <a:cubicBezTo>
                  <a:pt x="3016" y="363"/>
                  <a:pt x="3015" y="366"/>
                  <a:pt x="3013" y="369"/>
                </a:cubicBezTo>
                <a:cubicBezTo>
                  <a:pt x="3013" y="367"/>
                  <a:pt x="3014" y="365"/>
                  <a:pt x="3015" y="364"/>
                </a:cubicBezTo>
                <a:cubicBezTo>
                  <a:pt x="3017" y="359"/>
                  <a:pt x="3019" y="355"/>
                  <a:pt x="3019" y="350"/>
                </a:cubicBezTo>
                <a:cubicBezTo>
                  <a:pt x="3019" y="347"/>
                  <a:pt x="3018" y="344"/>
                  <a:pt x="3016" y="342"/>
                </a:cubicBezTo>
                <a:cubicBezTo>
                  <a:pt x="3011" y="337"/>
                  <a:pt x="3005" y="337"/>
                  <a:pt x="2999" y="337"/>
                </a:cubicBezTo>
                <a:cubicBezTo>
                  <a:pt x="2994" y="337"/>
                  <a:pt x="2989" y="337"/>
                  <a:pt x="2985" y="338"/>
                </a:cubicBezTo>
                <a:cubicBezTo>
                  <a:pt x="2980" y="339"/>
                  <a:pt x="2977" y="340"/>
                  <a:pt x="2974" y="343"/>
                </a:cubicBezTo>
                <a:cubicBezTo>
                  <a:pt x="2971" y="348"/>
                  <a:pt x="2971" y="351"/>
                  <a:pt x="2971" y="355"/>
                </a:cubicBezTo>
                <a:cubicBezTo>
                  <a:pt x="2971" y="362"/>
                  <a:pt x="2972" y="370"/>
                  <a:pt x="2974" y="375"/>
                </a:cubicBezTo>
                <a:cubicBezTo>
                  <a:pt x="2974" y="375"/>
                  <a:pt x="2974" y="376"/>
                  <a:pt x="2975" y="377"/>
                </a:cubicBezTo>
                <a:cubicBezTo>
                  <a:pt x="2973" y="375"/>
                  <a:pt x="2970" y="373"/>
                  <a:pt x="2967" y="373"/>
                </a:cubicBezTo>
                <a:cubicBezTo>
                  <a:pt x="2966" y="373"/>
                  <a:pt x="2965" y="373"/>
                  <a:pt x="2964" y="373"/>
                </a:cubicBezTo>
                <a:cubicBezTo>
                  <a:pt x="2961" y="374"/>
                  <a:pt x="2958" y="375"/>
                  <a:pt x="2956" y="376"/>
                </a:cubicBezTo>
                <a:cubicBezTo>
                  <a:pt x="2957" y="375"/>
                  <a:pt x="2957" y="373"/>
                  <a:pt x="2957" y="371"/>
                </a:cubicBezTo>
                <a:cubicBezTo>
                  <a:pt x="2957" y="365"/>
                  <a:pt x="2953" y="363"/>
                  <a:pt x="2950" y="361"/>
                </a:cubicBezTo>
                <a:cubicBezTo>
                  <a:pt x="2940" y="356"/>
                  <a:pt x="2929" y="350"/>
                  <a:pt x="2911" y="347"/>
                </a:cubicBezTo>
                <a:cubicBezTo>
                  <a:pt x="2895" y="344"/>
                  <a:pt x="2874" y="344"/>
                  <a:pt x="2850" y="334"/>
                </a:cubicBezTo>
                <a:cubicBezTo>
                  <a:pt x="2825" y="323"/>
                  <a:pt x="2819" y="318"/>
                  <a:pt x="2807" y="315"/>
                </a:cubicBezTo>
                <a:cubicBezTo>
                  <a:pt x="2798" y="313"/>
                  <a:pt x="2754" y="304"/>
                  <a:pt x="2721" y="304"/>
                </a:cubicBezTo>
                <a:cubicBezTo>
                  <a:pt x="2714" y="304"/>
                  <a:pt x="2708" y="304"/>
                  <a:pt x="2702" y="306"/>
                </a:cubicBezTo>
                <a:cubicBezTo>
                  <a:pt x="2687" y="308"/>
                  <a:pt x="2660" y="316"/>
                  <a:pt x="2636" y="323"/>
                </a:cubicBezTo>
                <a:cubicBezTo>
                  <a:pt x="2624" y="327"/>
                  <a:pt x="2613" y="331"/>
                  <a:pt x="2604" y="334"/>
                </a:cubicBezTo>
                <a:cubicBezTo>
                  <a:pt x="2600" y="335"/>
                  <a:pt x="2596" y="337"/>
                  <a:pt x="2593" y="338"/>
                </a:cubicBezTo>
                <a:cubicBezTo>
                  <a:pt x="2590" y="339"/>
                  <a:pt x="2589" y="340"/>
                  <a:pt x="2586" y="341"/>
                </a:cubicBezTo>
                <a:cubicBezTo>
                  <a:pt x="2583" y="345"/>
                  <a:pt x="2580" y="350"/>
                  <a:pt x="2576" y="356"/>
                </a:cubicBezTo>
                <a:cubicBezTo>
                  <a:pt x="2572" y="362"/>
                  <a:pt x="2567" y="370"/>
                  <a:pt x="2560" y="376"/>
                </a:cubicBezTo>
                <a:cubicBezTo>
                  <a:pt x="2545" y="390"/>
                  <a:pt x="2517" y="421"/>
                  <a:pt x="2498" y="426"/>
                </a:cubicBezTo>
                <a:cubicBezTo>
                  <a:pt x="2486" y="429"/>
                  <a:pt x="2474" y="436"/>
                  <a:pt x="2464" y="443"/>
                </a:cubicBezTo>
                <a:cubicBezTo>
                  <a:pt x="2460" y="447"/>
                  <a:pt x="2455" y="450"/>
                  <a:pt x="2452" y="454"/>
                </a:cubicBezTo>
                <a:cubicBezTo>
                  <a:pt x="2450" y="457"/>
                  <a:pt x="2447" y="459"/>
                  <a:pt x="2446" y="465"/>
                </a:cubicBezTo>
                <a:cubicBezTo>
                  <a:pt x="2447" y="469"/>
                  <a:pt x="2449" y="474"/>
                  <a:pt x="2450" y="480"/>
                </a:cubicBezTo>
                <a:cubicBezTo>
                  <a:pt x="2452" y="485"/>
                  <a:pt x="2454" y="491"/>
                  <a:pt x="2454" y="493"/>
                </a:cubicBezTo>
                <a:cubicBezTo>
                  <a:pt x="2453" y="494"/>
                  <a:pt x="2453" y="496"/>
                  <a:pt x="2453" y="497"/>
                </a:cubicBezTo>
                <a:cubicBezTo>
                  <a:pt x="2453" y="502"/>
                  <a:pt x="2455" y="509"/>
                  <a:pt x="2458" y="515"/>
                </a:cubicBezTo>
                <a:cubicBezTo>
                  <a:pt x="2462" y="521"/>
                  <a:pt x="2467" y="527"/>
                  <a:pt x="2474" y="531"/>
                </a:cubicBezTo>
                <a:cubicBezTo>
                  <a:pt x="2480" y="533"/>
                  <a:pt x="2488" y="534"/>
                  <a:pt x="2494" y="535"/>
                </a:cubicBezTo>
                <a:cubicBezTo>
                  <a:pt x="2498" y="535"/>
                  <a:pt x="2501" y="534"/>
                  <a:pt x="2503" y="534"/>
                </a:cubicBezTo>
                <a:cubicBezTo>
                  <a:pt x="2503" y="534"/>
                  <a:pt x="2503" y="534"/>
                  <a:pt x="2503" y="534"/>
                </a:cubicBezTo>
                <a:cubicBezTo>
                  <a:pt x="2498" y="536"/>
                  <a:pt x="2492" y="539"/>
                  <a:pt x="2489" y="545"/>
                </a:cubicBezTo>
                <a:cubicBezTo>
                  <a:pt x="2487" y="551"/>
                  <a:pt x="2485" y="560"/>
                  <a:pt x="2484" y="568"/>
                </a:cubicBezTo>
                <a:cubicBezTo>
                  <a:pt x="2485" y="572"/>
                  <a:pt x="2485" y="577"/>
                  <a:pt x="2488" y="581"/>
                </a:cubicBezTo>
                <a:cubicBezTo>
                  <a:pt x="2489" y="583"/>
                  <a:pt x="2490" y="584"/>
                  <a:pt x="2492" y="586"/>
                </a:cubicBezTo>
                <a:cubicBezTo>
                  <a:pt x="2488" y="585"/>
                  <a:pt x="2483" y="585"/>
                  <a:pt x="2479" y="585"/>
                </a:cubicBezTo>
                <a:cubicBezTo>
                  <a:pt x="2471" y="585"/>
                  <a:pt x="2463" y="587"/>
                  <a:pt x="2457" y="592"/>
                </a:cubicBezTo>
                <a:cubicBezTo>
                  <a:pt x="2449" y="599"/>
                  <a:pt x="2437" y="613"/>
                  <a:pt x="2432" y="617"/>
                </a:cubicBezTo>
                <a:cubicBezTo>
                  <a:pt x="2429" y="618"/>
                  <a:pt x="2425" y="618"/>
                  <a:pt x="2419" y="620"/>
                </a:cubicBezTo>
                <a:cubicBezTo>
                  <a:pt x="2418" y="620"/>
                  <a:pt x="2416" y="621"/>
                  <a:pt x="2414" y="621"/>
                </a:cubicBezTo>
                <a:cubicBezTo>
                  <a:pt x="2414" y="621"/>
                  <a:pt x="2414" y="620"/>
                  <a:pt x="2414" y="620"/>
                </a:cubicBezTo>
                <a:cubicBezTo>
                  <a:pt x="2412" y="607"/>
                  <a:pt x="2400" y="592"/>
                  <a:pt x="2387" y="585"/>
                </a:cubicBezTo>
                <a:cubicBezTo>
                  <a:pt x="2384" y="583"/>
                  <a:pt x="2379" y="576"/>
                  <a:pt x="2374" y="569"/>
                </a:cubicBezTo>
                <a:cubicBezTo>
                  <a:pt x="2369" y="561"/>
                  <a:pt x="2364" y="554"/>
                  <a:pt x="2360" y="550"/>
                </a:cubicBezTo>
                <a:cubicBezTo>
                  <a:pt x="2360" y="550"/>
                  <a:pt x="2360" y="550"/>
                  <a:pt x="2360" y="550"/>
                </a:cubicBezTo>
                <a:cubicBezTo>
                  <a:pt x="2360" y="548"/>
                  <a:pt x="2363" y="541"/>
                  <a:pt x="2363" y="533"/>
                </a:cubicBezTo>
                <a:cubicBezTo>
                  <a:pt x="2363" y="529"/>
                  <a:pt x="2362" y="525"/>
                  <a:pt x="2359" y="521"/>
                </a:cubicBezTo>
                <a:cubicBezTo>
                  <a:pt x="2355" y="516"/>
                  <a:pt x="2350" y="513"/>
                  <a:pt x="2346" y="511"/>
                </a:cubicBezTo>
                <a:cubicBezTo>
                  <a:pt x="2342" y="509"/>
                  <a:pt x="2339" y="508"/>
                  <a:pt x="2335" y="505"/>
                </a:cubicBezTo>
                <a:cubicBezTo>
                  <a:pt x="2332" y="503"/>
                  <a:pt x="2328" y="501"/>
                  <a:pt x="2325" y="501"/>
                </a:cubicBezTo>
                <a:cubicBezTo>
                  <a:pt x="2314" y="502"/>
                  <a:pt x="2308" y="510"/>
                  <a:pt x="2304" y="516"/>
                </a:cubicBezTo>
                <a:cubicBezTo>
                  <a:pt x="2303" y="517"/>
                  <a:pt x="2303" y="517"/>
                  <a:pt x="2303" y="517"/>
                </a:cubicBezTo>
                <a:cubicBezTo>
                  <a:pt x="2303" y="517"/>
                  <a:pt x="2303" y="517"/>
                  <a:pt x="2303" y="517"/>
                </a:cubicBezTo>
                <a:cubicBezTo>
                  <a:pt x="2302" y="517"/>
                  <a:pt x="2298" y="515"/>
                  <a:pt x="2292" y="514"/>
                </a:cubicBezTo>
                <a:cubicBezTo>
                  <a:pt x="2290" y="514"/>
                  <a:pt x="2289" y="515"/>
                  <a:pt x="2287" y="515"/>
                </a:cubicBezTo>
                <a:cubicBezTo>
                  <a:pt x="2280" y="518"/>
                  <a:pt x="2277" y="525"/>
                  <a:pt x="2277" y="531"/>
                </a:cubicBezTo>
                <a:cubicBezTo>
                  <a:pt x="2277" y="538"/>
                  <a:pt x="2280" y="544"/>
                  <a:pt x="2283" y="549"/>
                </a:cubicBezTo>
                <a:cubicBezTo>
                  <a:pt x="2284" y="551"/>
                  <a:pt x="2286" y="554"/>
                  <a:pt x="2288" y="557"/>
                </a:cubicBezTo>
                <a:cubicBezTo>
                  <a:pt x="2285" y="556"/>
                  <a:pt x="2283" y="556"/>
                  <a:pt x="2281" y="556"/>
                </a:cubicBezTo>
                <a:cubicBezTo>
                  <a:pt x="2279" y="556"/>
                  <a:pt x="2277" y="556"/>
                  <a:pt x="2275" y="557"/>
                </a:cubicBezTo>
                <a:cubicBezTo>
                  <a:pt x="2267" y="558"/>
                  <a:pt x="2263" y="564"/>
                  <a:pt x="2261" y="567"/>
                </a:cubicBezTo>
                <a:cubicBezTo>
                  <a:pt x="2260" y="569"/>
                  <a:pt x="2259" y="571"/>
                  <a:pt x="2258" y="571"/>
                </a:cubicBezTo>
                <a:cubicBezTo>
                  <a:pt x="2258" y="571"/>
                  <a:pt x="2258" y="571"/>
                  <a:pt x="2258" y="572"/>
                </a:cubicBezTo>
                <a:cubicBezTo>
                  <a:pt x="2254" y="572"/>
                  <a:pt x="2250" y="572"/>
                  <a:pt x="2246" y="574"/>
                </a:cubicBezTo>
                <a:cubicBezTo>
                  <a:pt x="2242" y="576"/>
                  <a:pt x="2239" y="581"/>
                  <a:pt x="2239" y="587"/>
                </a:cubicBezTo>
                <a:cubicBezTo>
                  <a:pt x="2239" y="588"/>
                  <a:pt x="2239" y="590"/>
                  <a:pt x="2239" y="591"/>
                </a:cubicBezTo>
                <a:cubicBezTo>
                  <a:pt x="2241" y="598"/>
                  <a:pt x="2243" y="603"/>
                  <a:pt x="2243" y="605"/>
                </a:cubicBezTo>
                <a:cubicBezTo>
                  <a:pt x="2243" y="605"/>
                  <a:pt x="2243" y="605"/>
                  <a:pt x="2243" y="605"/>
                </a:cubicBezTo>
                <a:cubicBezTo>
                  <a:pt x="2243" y="605"/>
                  <a:pt x="2243" y="605"/>
                  <a:pt x="2242" y="605"/>
                </a:cubicBezTo>
                <a:cubicBezTo>
                  <a:pt x="2238" y="608"/>
                  <a:pt x="2237" y="612"/>
                  <a:pt x="2237" y="616"/>
                </a:cubicBezTo>
                <a:cubicBezTo>
                  <a:pt x="2237" y="621"/>
                  <a:pt x="2239" y="626"/>
                  <a:pt x="2242" y="630"/>
                </a:cubicBezTo>
                <a:cubicBezTo>
                  <a:pt x="2245" y="634"/>
                  <a:pt x="2249" y="638"/>
                  <a:pt x="2255" y="639"/>
                </a:cubicBezTo>
                <a:cubicBezTo>
                  <a:pt x="2255" y="639"/>
                  <a:pt x="2255" y="639"/>
                  <a:pt x="2255" y="639"/>
                </a:cubicBezTo>
                <a:cubicBezTo>
                  <a:pt x="2256" y="639"/>
                  <a:pt x="2257" y="639"/>
                  <a:pt x="2258" y="639"/>
                </a:cubicBezTo>
                <a:cubicBezTo>
                  <a:pt x="2270" y="639"/>
                  <a:pt x="2279" y="630"/>
                  <a:pt x="2286" y="627"/>
                </a:cubicBezTo>
                <a:cubicBezTo>
                  <a:pt x="2295" y="623"/>
                  <a:pt x="2309" y="614"/>
                  <a:pt x="2309" y="597"/>
                </a:cubicBezTo>
                <a:cubicBezTo>
                  <a:pt x="2309" y="590"/>
                  <a:pt x="2308" y="583"/>
                  <a:pt x="2307" y="577"/>
                </a:cubicBezTo>
                <a:cubicBezTo>
                  <a:pt x="2308" y="578"/>
                  <a:pt x="2309" y="578"/>
                  <a:pt x="2309" y="579"/>
                </a:cubicBezTo>
                <a:cubicBezTo>
                  <a:pt x="2312" y="573"/>
                  <a:pt x="2312" y="573"/>
                  <a:pt x="2312" y="573"/>
                </a:cubicBezTo>
                <a:cubicBezTo>
                  <a:pt x="2309" y="579"/>
                  <a:pt x="2309" y="579"/>
                  <a:pt x="2309" y="579"/>
                </a:cubicBezTo>
                <a:cubicBezTo>
                  <a:pt x="2315" y="581"/>
                  <a:pt x="2322" y="584"/>
                  <a:pt x="2328" y="586"/>
                </a:cubicBezTo>
                <a:cubicBezTo>
                  <a:pt x="2329" y="587"/>
                  <a:pt x="2330" y="587"/>
                  <a:pt x="2331" y="588"/>
                </a:cubicBezTo>
                <a:cubicBezTo>
                  <a:pt x="2327" y="591"/>
                  <a:pt x="2322" y="595"/>
                  <a:pt x="2318" y="599"/>
                </a:cubicBezTo>
                <a:cubicBezTo>
                  <a:pt x="2312" y="605"/>
                  <a:pt x="2307" y="611"/>
                  <a:pt x="2305" y="617"/>
                </a:cubicBezTo>
                <a:cubicBezTo>
                  <a:pt x="2305" y="618"/>
                  <a:pt x="2305" y="619"/>
                  <a:pt x="2305" y="620"/>
                </a:cubicBezTo>
                <a:cubicBezTo>
                  <a:pt x="2306" y="629"/>
                  <a:pt x="2312" y="633"/>
                  <a:pt x="2318" y="636"/>
                </a:cubicBezTo>
                <a:cubicBezTo>
                  <a:pt x="2319" y="637"/>
                  <a:pt x="2321" y="638"/>
                  <a:pt x="2322" y="638"/>
                </a:cubicBezTo>
                <a:cubicBezTo>
                  <a:pt x="2322" y="640"/>
                  <a:pt x="2321" y="642"/>
                  <a:pt x="2321" y="644"/>
                </a:cubicBezTo>
                <a:cubicBezTo>
                  <a:pt x="2321" y="647"/>
                  <a:pt x="2323" y="652"/>
                  <a:pt x="2327" y="653"/>
                </a:cubicBezTo>
                <a:cubicBezTo>
                  <a:pt x="2328" y="654"/>
                  <a:pt x="2330" y="654"/>
                  <a:pt x="2331" y="654"/>
                </a:cubicBezTo>
                <a:cubicBezTo>
                  <a:pt x="2338" y="654"/>
                  <a:pt x="2340" y="650"/>
                  <a:pt x="2342" y="648"/>
                </a:cubicBezTo>
                <a:cubicBezTo>
                  <a:pt x="2345" y="645"/>
                  <a:pt x="2346" y="644"/>
                  <a:pt x="2348" y="644"/>
                </a:cubicBezTo>
                <a:cubicBezTo>
                  <a:pt x="2355" y="644"/>
                  <a:pt x="2372" y="650"/>
                  <a:pt x="2383" y="651"/>
                </a:cubicBezTo>
                <a:cubicBezTo>
                  <a:pt x="2375" y="653"/>
                  <a:pt x="2366" y="655"/>
                  <a:pt x="2357" y="657"/>
                </a:cubicBezTo>
                <a:cubicBezTo>
                  <a:pt x="2349" y="659"/>
                  <a:pt x="2345" y="662"/>
                  <a:pt x="2341" y="664"/>
                </a:cubicBezTo>
                <a:cubicBezTo>
                  <a:pt x="2338" y="666"/>
                  <a:pt x="2336" y="667"/>
                  <a:pt x="2329" y="668"/>
                </a:cubicBezTo>
                <a:cubicBezTo>
                  <a:pt x="2324" y="668"/>
                  <a:pt x="2320" y="669"/>
                  <a:pt x="2317" y="671"/>
                </a:cubicBezTo>
                <a:cubicBezTo>
                  <a:pt x="2313" y="673"/>
                  <a:pt x="2310" y="675"/>
                  <a:pt x="2310" y="680"/>
                </a:cubicBezTo>
                <a:cubicBezTo>
                  <a:pt x="2310" y="685"/>
                  <a:pt x="2313" y="687"/>
                  <a:pt x="2315" y="689"/>
                </a:cubicBezTo>
                <a:cubicBezTo>
                  <a:pt x="2318" y="691"/>
                  <a:pt x="2321" y="692"/>
                  <a:pt x="2325" y="692"/>
                </a:cubicBezTo>
                <a:cubicBezTo>
                  <a:pt x="2331" y="694"/>
                  <a:pt x="2341" y="697"/>
                  <a:pt x="2348" y="701"/>
                </a:cubicBezTo>
                <a:cubicBezTo>
                  <a:pt x="2355" y="705"/>
                  <a:pt x="2359" y="711"/>
                  <a:pt x="2359" y="713"/>
                </a:cubicBezTo>
                <a:cubicBezTo>
                  <a:pt x="2359" y="715"/>
                  <a:pt x="2359" y="717"/>
                  <a:pt x="2359" y="719"/>
                </a:cubicBezTo>
                <a:cubicBezTo>
                  <a:pt x="2359" y="729"/>
                  <a:pt x="2356" y="739"/>
                  <a:pt x="2352" y="749"/>
                </a:cubicBezTo>
                <a:cubicBezTo>
                  <a:pt x="2352" y="749"/>
                  <a:pt x="2352" y="749"/>
                  <a:pt x="2352" y="749"/>
                </a:cubicBezTo>
                <a:cubicBezTo>
                  <a:pt x="2352" y="749"/>
                  <a:pt x="2349" y="750"/>
                  <a:pt x="2344" y="750"/>
                </a:cubicBezTo>
                <a:cubicBezTo>
                  <a:pt x="2336" y="750"/>
                  <a:pt x="2325" y="748"/>
                  <a:pt x="2316" y="748"/>
                </a:cubicBezTo>
                <a:cubicBezTo>
                  <a:pt x="2308" y="748"/>
                  <a:pt x="2293" y="746"/>
                  <a:pt x="2279" y="746"/>
                </a:cubicBezTo>
                <a:cubicBezTo>
                  <a:pt x="2273" y="746"/>
                  <a:pt x="2267" y="746"/>
                  <a:pt x="2261" y="749"/>
                </a:cubicBezTo>
                <a:cubicBezTo>
                  <a:pt x="2250" y="754"/>
                  <a:pt x="2249" y="767"/>
                  <a:pt x="2249" y="778"/>
                </a:cubicBezTo>
                <a:cubicBezTo>
                  <a:pt x="2249" y="786"/>
                  <a:pt x="2250" y="795"/>
                  <a:pt x="2252" y="801"/>
                </a:cubicBezTo>
                <a:cubicBezTo>
                  <a:pt x="2253" y="804"/>
                  <a:pt x="2253" y="806"/>
                  <a:pt x="2253" y="808"/>
                </a:cubicBezTo>
                <a:cubicBezTo>
                  <a:pt x="2253" y="813"/>
                  <a:pt x="2251" y="816"/>
                  <a:pt x="2248" y="818"/>
                </a:cubicBezTo>
                <a:cubicBezTo>
                  <a:pt x="2244" y="823"/>
                  <a:pt x="2242" y="828"/>
                  <a:pt x="2242" y="834"/>
                </a:cubicBezTo>
                <a:cubicBezTo>
                  <a:pt x="2242" y="839"/>
                  <a:pt x="2244" y="845"/>
                  <a:pt x="2248" y="849"/>
                </a:cubicBezTo>
                <a:cubicBezTo>
                  <a:pt x="2250" y="851"/>
                  <a:pt x="2253" y="855"/>
                  <a:pt x="2255" y="859"/>
                </a:cubicBezTo>
                <a:cubicBezTo>
                  <a:pt x="2258" y="863"/>
                  <a:pt x="2259" y="868"/>
                  <a:pt x="2265" y="870"/>
                </a:cubicBezTo>
                <a:cubicBezTo>
                  <a:pt x="2267" y="871"/>
                  <a:pt x="2268" y="871"/>
                  <a:pt x="2269" y="871"/>
                </a:cubicBezTo>
                <a:cubicBezTo>
                  <a:pt x="2274" y="871"/>
                  <a:pt x="2278" y="869"/>
                  <a:pt x="2282" y="870"/>
                </a:cubicBezTo>
                <a:cubicBezTo>
                  <a:pt x="2286" y="870"/>
                  <a:pt x="2288" y="870"/>
                  <a:pt x="2288" y="871"/>
                </a:cubicBezTo>
                <a:cubicBezTo>
                  <a:pt x="2290" y="873"/>
                  <a:pt x="2292" y="878"/>
                  <a:pt x="2295" y="882"/>
                </a:cubicBezTo>
                <a:cubicBezTo>
                  <a:pt x="2296" y="884"/>
                  <a:pt x="2297" y="887"/>
                  <a:pt x="2299" y="888"/>
                </a:cubicBezTo>
                <a:cubicBezTo>
                  <a:pt x="2299" y="889"/>
                  <a:pt x="2299" y="889"/>
                  <a:pt x="2299" y="889"/>
                </a:cubicBezTo>
                <a:cubicBezTo>
                  <a:pt x="2299" y="889"/>
                  <a:pt x="2299" y="889"/>
                  <a:pt x="2298" y="890"/>
                </a:cubicBezTo>
                <a:cubicBezTo>
                  <a:pt x="2291" y="894"/>
                  <a:pt x="2284" y="901"/>
                  <a:pt x="2279" y="905"/>
                </a:cubicBezTo>
                <a:cubicBezTo>
                  <a:pt x="2276" y="908"/>
                  <a:pt x="2274" y="910"/>
                  <a:pt x="2272" y="911"/>
                </a:cubicBezTo>
                <a:cubicBezTo>
                  <a:pt x="2272" y="911"/>
                  <a:pt x="2271" y="912"/>
                  <a:pt x="2271" y="912"/>
                </a:cubicBezTo>
                <a:cubicBezTo>
                  <a:pt x="2268" y="912"/>
                  <a:pt x="2266" y="914"/>
                  <a:pt x="2264" y="915"/>
                </a:cubicBezTo>
                <a:cubicBezTo>
                  <a:pt x="2258" y="920"/>
                  <a:pt x="2251" y="930"/>
                  <a:pt x="2245" y="946"/>
                </a:cubicBezTo>
                <a:cubicBezTo>
                  <a:pt x="2242" y="958"/>
                  <a:pt x="2242" y="968"/>
                  <a:pt x="2241" y="976"/>
                </a:cubicBezTo>
                <a:cubicBezTo>
                  <a:pt x="2241" y="984"/>
                  <a:pt x="2240" y="987"/>
                  <a:pt x="2237" y="989"/>
                </a:cubicBezTo>
                <a:cubicBezTo>
                  <a:pt x="2224" y="996"/>
                  <a:pt x="2201" y="1011"/>
                  <a:pt x="2190" y="1023"/>
                </a:cubicBezTo>
                <a:cubicBezTo>
                  <a:pt x="2184" y="1030"/>
                  <a:pt x="2179" y="1042"/>
                  <a:pt x="2174" y="1056"/>
                </a:cubicBezTo>
                <a:cubicBezTo>
                  <a:pt x="2168" y="1069"/>
                  <a:pt x="2163" y="1083"/>
                  <a:pt x="2157" y="1091"/>
                </a:cubicBezTo>
                <a:cubicBezTo>
                  <a:pt x="2153" y="1098"/>
                  <a:pt x="2151" y="1105"/>
                  <a:pt x="2151" y="1111"/>
                </a:cubicBezTo>
                <a:cubicBezTo>
                  <a:pt x="2152" y="1125"/>
                  <a:pt x="2158" y="1135"/>
                  <a:pt x="2159" y="1141"/>
                </a:cubicBezTo>
                <a:cubicBezTo>
                  <a:pt x="2160" y="1148"/>
                  <a:pt x="2163" y="1157"/>
                  <a:pt x="2163" y="1167"/>
                </a:cubicBezTo>
                <a:cubicBezTo>
                  <a:pt x="2163" y="1174"/>
                  <a:pt x="2162" y="1181"/>
                  <a:pt x="2157" y="1188"/>
                </a:cubicBezTo>
                <a:cubicBezTo>
                  <a:pt x="2151" y="1198"/>
                  <a:pt x="2148" y="1206"/>
                  <a:pt x="2146" y="1211"/>
                </a:cubicBezTo>
                <a:cubicBezTo>
                  <a:pt x="2145" y="1213"/>
                  <a:pt x="2144" y="1215"/>
                  <a:pt x="2144" y="1215"/>
                </a:cubicBezTo>
                <a:cubicBezTo>
                  <a:pt x="2143" y="1216"/>
                  <a:pt x="2143" y="1216"/>
                  <a:pt x="2143" y="1216"/>
                </a:cubicBezTo>
                <a:cubicBezTo>
                  <a:pt x="2142" y="1216"/>
                  <a:pt x="2141" y="1216"/>
                  <a:pt x="2140" y="1217"/>
                </a:cubicBezTo>
                <a:cubicBezTo>
                  <a:pt x="2139" y="1218"/>
                  <a:pt x="2138" y="1221"/>
                  <a:pt x="2138" y="1223"/>
                </a:cubicBezTo>
                <a:cubicBezTo>
                  <a:pt x="2138" y="1226"/>
                  <a:pt x="2139" y="1227"/>
                  <a:pt x="2140" y="1229"/>
                </a:cubicBezTo>
                <a:cubicBezTo>
                  <a:pt x="2143" y="1232"/>
                  <a:pt x="2146" y="1236"/>
                  <a:pt x="2147" y="1243"/>
                </a:cubicBezTo>
                <a:cubicBezTo>
                  <a:pt x="2148" y="1244"/>
                  <a:pt x="2148" y="1245"/>
                  <a:pt x="2148" y="1246"/>
                </a:cubicBezTo>
                <a:cubicBezTo>
                  <a:pt x="2148" y="1250"/>
                  <a:pt x="2146" y="1256"/>
                  <a:pt x="2146" y="1263"/>
                </a:cubicBezTo>
                <a:cubicBezTo>
                  <a:pt x="2145" y="1271"/>
                  <a:pt x="2150" y="1281"/>
                  <a:pt x="2162" y="1287"/>
                </a:cubicBezTo>
                <a:cubicBezTo>
                  <a:pt x="2183" y="1299"/>
                  <a:pt x="2192" y="1309"/>
                  <a:pt x="2197" y="1324"/>
                </a:cubicBezTo>
                <a:cubicBezTo>
                  <a:pt x="2204" y="1343"/>
                  <a:pt x="2233" y="1370"/>
                  <a:pt x="2233" y="1370"/>
                </a:cubicBezTo>
                <a:cubicBezTo>
                  <a:pt x="2233" y="1371"/>
                  <a:pt x="2254" y="1392"/>
                  <a:pt x="2264" y="1402"/>
                </a:cubicBezTo>
                <a:cubicBezTo>
                  <a:pt x="2269" y="1406"/>
                  <a:pt x="2272" y="1409"/>
                  <a:pt x="2277" y="1409"/>
                </a:cubicBezTo>
                <a:cubicBezTo>
                  <a:pt x="2282" y="1409"/>
                  <a:pt x="2285" y="1406"/>
                  <a:pt x="2287" y="1403"/>
                </a:cubicBezTo>
                <a:cubicBezTo>
                  <a:pt x="2289" y="1400"/>
                  <a:pt x="2290" y="1397"/>
                  <a:pt x="2290" y="1394"/>
                </a:cubicBezTo>
                <a:cubicBezTo>
                  <a:pt x="2291" y="1392"/>
                  <a:pt x="2292" y="1390"/>
                  <a:pt x="2297" y="1389"/>
                </a:cubicBezTo>
                <a:cubicBezTo>
                  <a:pt x="2302" y="1388"/>
                  <a:pt x="2309" y="1387"/>
                  <a:pt x="2317" y="1387"/>
                </a:cubicBezTo>
                <a:cubicBezTo>
                  <a:pt x="2328" y="1387"/>
                  <a:pt x="2337" y="1390"/>
                  <a:pt x="2349" y="1390"/>
                </a:cubicBezTo>
                <a:cubicBezTo>
                  <a:pt x="2353" y="1390"/>
                  <a:pt x="2357" y="1389"/>
                  <a:pt x="2361" y="1389"/>
                </a:cubicBezTo>
                <a:cubicBezTo>
                  <a:pt x="2380" y="1385"/>
                  <a:pt x="2396" y="1372"/>
                  <a:pt x="2401" y="1370"/>
                </a:cubicBezTo>
                <a:cubicBezTo>
                  <a:pt x="2406" y="1367"/>
                  <a:pt x="2417" y="1360"/>
                  <a:pt x="2426" y="1360"/>
                </a:cubicBezTo>
                <a:cubicBezTo>
                  <a:pt x="2430" y="1360"/>
                  <a:pt x="2432" y="1361"/>
                  <a:pt x="2435" y="1363"/>
                </a:cubicBezTo>
                <a:cubicBezTo>
                  <a:pt x="2441" y="1367"/>
                  <a:pt x="2444" y="1372"/>
                  <a:pt x="2446" y="1378"/>
                </a:cubicBezTo>
                <a:cubicBezTo>
                  <a:pt x="2448" y="1384"/>
                  <a:pt x="2450" y="1391"/>
                  <a:pt x="2455" y="1398"/>
                </a:cubicBezTo>
                <a:cubicBezTo>
                  <a:pt x="2459" y="1402"/>
                  <a:pt x="2465" y="1405"/>
                  <a:pt x="2470" y="1405"/>
                </a:cubicBezTo>
                <a:cubicBezTo>
                  <a:pt x="2480" y="1405"/>
                  <a:pt x="2488" y="1399"/>
                  <a:pt x="2496" y="1393"/>
                </a:cubicBezTo>
                <a:cubicBezTo>
                  <a:pt x="2497" y="1391"/>
                  <a:pt x="2498" y="1390"/>
                  <a:pt x="2499" y="1390"/>
                </a:cubicBezTo>
                <a:cubicBezTo>
                  <a:pt x="2500" y="1391"/>
                  <a:pt x="2503" y="1394"/>
                  <a:pt x="2507" y="1396"/>
                </a:cubicBezTo>
                <a:cubicBezTo>
                  <a:pt x="2514" y="1401"/>
                  <a:pt x="2517" y="1405"/>
                  <a:pt x="2517" y="1407"/>
                </a:cubicBezTo>
                <a:cubicBezTo>
                  <a:pt x="2517" y="1409"/>
                  <a:pt x="2516" y="1412"/>
                  <a:pt x="2513" y="1416"/>
                </a:cubicBezTo>
                <a:cubicBezTo>
                  <a:pt x="2505" y="1424"/>
                  <a:pt x="2504" y="1433"/>
                  <a:pt x="2503" y="1442"/>
                </a:cubicBezTo>
                <a:cubicBezTo>
                  <a:pt x="2503" y="1451"/>
                  <a:pt x="2503" y="1460"/>
                  <a:pt x="2500" y="1469"/>
                </a:cubicBezTo>
                <a:cubicBezTo>
                  <a:pt x="2497" y="1477"/>
                  <a:pt x="2495" y="1482"/>
                  <a:pt x="2495" y="1487"/>
                </a:cubicBezTo>
                <a:cubicBezTo>
                  <a:pt x="2495" y="1491"/>
                  <a:pt x="2497" y="1496"/>
                  <a:pt x="2499" y="1499"/>
                </a:cubicBezTo>
                <a:cubicBezTo>
                  <a:pt x="2502" y="1501"/>
                  <a:pt x="2505" y="1504"/>
                  <a:pt x="2509" y="1506"/>
                </a:cubicBezTo>
                <a:cubicBezTo>
                  <a:pt x="2513" y="1508"/>
                  <a:pt x="2523" y="1523"/>
                  <a:pt x="2530" y="1538"/>
                </a:cubicBezTo>
                <a:cubicBezTo>
                  <a:pt x="2539" y="1553"/>
                  <a:pt x="2546" y="1568"/>
                  <a:pt x="2550" y="1574"/>
                </a:cubicBezTo>
                <a:cubicBezTo>
                  <a:pt x="2551" y="1575"/>
                  <a:pt x="2552" y="1579"/>
                  <a:pt x="2552" y="1584"/>
                </a:cubicBezTo>
                <a:cubicBezTo>
                  <a:pt x="2552" y="1590"/>
                  <a:pt x="2551" y="1596"/>
                  <a:pt x="2551" y="1603"/>
                </a:cubicBezTo>
                <a:cubicBezTo>
                  <a:pt x="2551" y="1611"/>
                  <a:pt x="2552" y="1619"/>
                  <a:pt x="2555" y="1627"/>
                </a:cubicBezTo>
                <a:cubicBezTo>
                  <a:pt x="2561" y="1638"/>
                  <a:pt x="2566" y="1647"/>
                  <a:pt x="2566" y="1651"/>
                </a:cubicBezTo>
                <a:cubicBezTo>
                  <a:pt x="2565" y="1653"/>
                  <a:pt x="2565" y="1653"/>
                  <a:pt x="2564" y="1655"/>
                </a:cubicBezTo>
                <a:cubicBezTo>
                  <a:pt x="2554" y="1664"/>
                  <a:pt x="2536" y="1680"/>
                  <a:pt x="2535" y="1710"/>
                </a:cubicBezTo>
                <a:cubicBezTo>
                  <a:pt x="2535" y="1713"/>
                  <a:pt x="2535" y="1716"/>
                  <a:pt x="2535" y="1718"/>
                </a:cubicBezTo>
                <a:cubicBezTo>
                  <a:pt x="2535" y="1743"/>
                  <a:pt x="2540" y="1760"/>
                  <a:pt x="2545" y="1770"/>
                </a:cubicBezTo>
                <a:cubicBezTo>
                  <a:pt x="2549" y="1779"/>
                  <a:pt x="2561" y="1805"/>
                  <a:pt x="2567" y="1816"/>
                </a:cubicBezTo>
                <a:cubicBezTo>
                  <a:pt x="2572" y="1824"/>
                  <a:pt x="2579" y="1848"/>
                  <a:pt x="2580" y="1861"/>
                </a:cubicBezTo>
                <a:cubicBezTo>
                  <a:pt x="2580" y="1864"/>
                  <a:pt x="2580" y="1866"/>
                  <a:pt x="2580" y="1869"/>
                </a:cubicBezTo>
                <a:cubicBezTo>
                  <a:pt x="2580" y="1874"/>
                  <a:pt x="2580" y="1879"/>
                  <a:pt x="2580" y="1884"/>
                </a:cubicBezTo>
                <a:cubicBezTo>
                  <a:pt x="2580" y="1892"/>
                  <a:pt x="2580" y="1899"/>
                  <a:pt x="2584" y="1906"/>
                </a:cubicBezTo>
                <a:cubicBezTo>
                  <a:pt x="2589" y="1913"/>
                  <a:pt x="2593" y="1926"/>
                  <a:pt x="2605" y="1938"/>
                </a:cubicBezTo>
                <a:cubicBezTo>
                  <a:pt x="2609" y="1942"/>
                  <a:pt x="2612" y="1950"/>
                  <a:pt x="2614" y="1957"/>
                </a:cubicBezTo>
                <a:cubicBezTo>
                  <a:pt x="2616" y="1964"/>
                  <a:pt x="2617" y="1969"/>
                  <a:pt x="2617" y="1969"/>
                </a:cubicBezTo>
                <a:cubicBezTo>
                  <a:pt x="2617" y="1971"/>
                  <a:pt x="2617" y="1971"/>
                  <a:pt x="2617" y="1971"/>
                </a:cubicBezTo>
                <a:cubicBezTo>
                  <a:pt x="2617" y="1971"/>
                  <a:pt x="2618" y="1973"/>
                  <a:pt x="2619" y="1977"/>
                </a:cubicBezTo>
                <a:cubicBezTo>
                  <a:pt x="2620" y="1981"/>
                  <a:pt x="2621" y="1987"/>
                  <a:pt x="2621" y="1994"/>
                </a:cubicBezTo>
                <a:cubicBezTo>
                  <a:pt x="2622" y="2001"/>
                  <a:pt x="2622" y="2008"/>
                  <a:pt x="2625" y="2014"/>
                </a:cubicBezTo>
                <a:cubicBezTo>
                  <a:pt x="2627" y="2021"/>
                  <a:pt x="2631" y="2026"/>
                  <a:pt x="2638" y="2030"/>
                </a:cubicBezTo>
                <a:cubicBezTo>
                  <a:pt x="2645" y="2034"/>
                  <a:pt x="2651" y="2036"/>
                  <a:pt x="2657" y="2036"/>
                </a:cubicBezTo>
                <a:cubicBezTo>
                  <a:pt x="2658" y="2036"/>
                  <a:pt x="2658" y="2036"/>
                  <a:pt x="2658" y="2036"/>
                </a:cubicBezTo>
                <a:cubicBezTo>
                  <a:pt x="2663" y="2036"/>
                  <a:pt x="2668" y="2034"/>
                  <a:pt x="2671" y="2030"/>
                </a:cubicBezTo>
                <a:cubicBezTo>
                  <a:pt x="2671" y="2030"/>
                  <a:pt x="2672" y="2029"/>
                  <a:pt x="2674" y="2028"/>
                </a:cubicBezTo>
                <a:cubicBezTo>
                  <a:pt x="2681" y="2026"/>
                  <a:pt x="2693" y="2025"/>
                  <a:pt x="2704" y="2025"/>
                </a:cubicBezTo>
                <a:cubicBezTo>
                  <a:pt x="2708" y="2025"/>
                  <a:pt x="2712" y="2025"/>
                  <a:pt x="2715" y="2026"/>
                </a:cubicBezTo>
                <a:cubicBezTo>
                  <a:pt x="2717" y="2026"/>
                  <a:pt x="2718" y="2026"/>
                  <a:pt x="2719" y="2026"/>
                </a:cubicBezTo>
                <a:cubicBezTo>
                  <a:pt x="2736" y="2026"/>
                  <a:pt x="2752" y="2015"/>
                  <a:pt x="2767" y="2003"/>
                </a:cubicBezTo>
                <a:cubicBezTo>
                  <a:pt x="2783" y="1990"/>
                  <a:pt x="2805" y="1957"/>
                  <a:pt x="2813" y="1948"/>
                </a:cubicBezTo>
                <a:cubicBezTo>
                  <a:pt x="2816" y="1943"/>
                  <a:pt x="2822" y="1937"/>
                  <a:pt x="2828" y="1930"/>
                </a:cubicBezTo>
                <a:cubicBezTo>
                  <a:pt x="2833" y="1923"/>
                  <a:pt x="2838" y="1916"/>
                  <a:pt x="2838" y="1907"/>
                </a:cubicBezTo>
                <a:cubicBezTo>
                  <a:pt x="2838" y="1906"/>
                  <a:pt x="2838" y="1905"/>
                  <a:pt x="2838" y="1904"/>
                </a:cubicBezTo>
                <a:cubicBezTo>
                  <a:pt x="2837" y="1897"/>
                  <a:pt x="2835" y="1892"/>
                  <a:pt x="2835" y="1888"/>
                </a:cubicBezTo>
                <a:cubicBezTo>
                  <a:pt x="2835" y="1885"/>
                  <a:pt x="2835" y="1884"/>
                  <a:pt x="2838" y="1883"/>
                </a:cubicBezTo>
                <a:cubicBezTo>
                  <a:pt x="2842" y="1880"/>
                  <a:pt x="2850" y="1876"/>
                  <a:pt x="2857" y="1871"/>
                </a:cubicBezTo>
                <a:cubicBezTo>
                  <a:pt x="2864" y="1866"/>
                  <a:pt x="2871" y="1862"/>
                  <a:pt x="2873" y="1853"/>
                </a:cubicBezTo>
                <a:cubicBezTo>
                  <a:pt x="2873" y="1853"/>
                  <a:pt x="2873" y="1852"/>
                  <a:pt x="2873" y="1851"/>
                </a:cubicBezTo>
                <a:cubicBezTo>
                  <a:pt x="2873" y="1838"/>
                  <a:pt x="2864" y="1808"/>
                  <a:pt x="2862" y="1801"/>
                </a:cubicBezTo>
                <a:cubicBezTo>
                  <a:pt x="2862" y="1801"/>
                  <a:pt x="2862" y="1801"/>
                  <a:pt x="2862" y="1800"/>
                </a:cubicBezTo>
                <a:cubicBezTo>
                  <a:pt x="2862" y="1797"/>
                  <a:pt x="2868" y="1785"/>
                  <a:pt x="2876" y="1773"/>
                </a:cubicBezTo>
                <a:cubicBezTo>
                  <a:pt x="2880" y="1768"/>
                  <a:pt x="2889" y="1762"/>
                  <a:pt x="2897" y="1758"/>
                </a:cubicBezTo>
                <a:cubicBezTo>
                  <a:pt x="2902" y="1755"/>
                  <a:pt x="2906" y="1753"/>
                  <a:pt x="2910" y="1751"/>
                </a:cubicBezTo>
                <a:cubicBezTo>
                  <a:pt x="2913" y="1749"/>
                  <a:pt x="2916" y="1748"/>
                  <a:pt x="2919" y="1745"/>
                </a:cubicBezTo>
                <a:cubicBezTo>
                  <a:pt x="2924" y="1738"/>
                  <a:pt x="2937" y="1715"/>
                  <a:pt x="2939" y="1695"/>
                </a:cubicBezTo>
                <a:cubicBezTo>
                  <a:pt x="2940" y="1692"/>
                  <a:pt x="2940" y="1689"/>
                  <a:pt x="2940" y="1686"/>
                </a:cubicBezTo>
                <a:cubicBezTo>
                  <a:pt x="2940" y="1674"/>
                  <a:pt x="2938" y="1662"/>
                  <a:pt x="2938" y="1654"/>
                </a:cubicBezTo>
                <a:cubicBezTo>
                  <a:pt x="2938" y="1651"/>
                  <a:pt x="2938" y="1648"/>
                  <a:pt x="2939" y="1647"/>
                </a:cubicBezTo>
                <a:cubicBezTo>
                  <a:pt x="2941" y="1644"/>
                  <a:pt x="2942" y="1640"/>
                  <a:pt x="2942" y="1636"/>
                </a:cubicBezTo>
                <a:cubicBezTo>
                  <a:pt x="2941" y="1627"/>
                  <a:pt x="2936" y="1620"/>
                  <a:pt x="2929" y="1611"/>
                </a:cubicBezTo>
                <a:cubicBezTo>
                  <a:pt x="2925" y="1608"/>
                  <a:pt x="2923" y="1598"/>
                  <a:pt x="2922" y="1588"/>
                </a:cubicBezTo>
                <a:cubicBezTo>
                  <a:pt x="2921" y="1583"/>
                  <a:pt x="2921" y="1578"/>
                  <a:pt x="2921" y="1574"/>
                </a:cubicBezTo>
                <a:cubicBezTo>
                  <a:pt x="2920" y="1570"/>
                  <a:pt x="2920" y="1567"/>
                  <a:pt x="2918" y="1563"/>
                </a:cubicBezTo>
                <a:cubicBezTo>
                  <a:pt x="2918" y="1563"/>
                  <a:pt x="2918" y="1563"/>
                  <a:pt x="2918" y="1563"/>
                </a:cubicBezTo>
                <a:cubicBezTo>
                  <a:pt x="2918" y="1563"/>
                  <a:pt x="2918" y="1563"/>
                  <a:pt x="2918" y="1563"/>
                </a:cubicBezTo>
                <a:cubicBezTo>
                  <a:pt x="2918" y="1563"/>
                  <a:pt x="2918" y="1563"/>
                  <a:pt x="2918" y="1563"/>
                </a:cubicBezTo>
                <a:cubicBezTo>
                  <a:pt x="2918" y="1563"/>
                  <a:pt x="2917" y="1559"/>
                  <a:pt x="2917" y="1556"/>
                </a:cubicBezTo>
                <a:cubicBezTo>
                  <a:pt x="2917" y="1551"/>
                  <a:pt x="2918" y="1545"/>
                  <a:pt x="2919" y="1540"/>
                </a:cubicBezTo>
                <a:cubicBezTo>
                  <a:pt x="2919" y="1538"/>
                  <a:pt x="2920" y="1536"/>
                  <a:pt x="2921" y="1535"/>
                </a:cubicBezTo>
                <a:cubicBezTo>
                  <a:pt x="2921" y="1535"/>
                  <a:pt x="2921" y="1534"/>
                  <a:pt x="2921" y="1534"/>
                </a:cubicBezTo>
                <a:cubicBezTo>
                  <a:pt x="2925" y="1532"/>
                  <a:pt x="2927" y="1530"/>
                  <a:pt x="2930" y="1526"/>
                </a:cubicBezTo>
                <a:cubicBezTo>
                  <a:pt x="2938" y="1516"/>
                  <a:pt x="2948" y="1498"/>
                  <a:pt x="2954" y="1490"/>
                </a:cubicBezTo>
                <a:cubicBezTo>
                  <a:pt x="2959" y="1483"/>
                  <a:pt x="2968" y="1471"/>
                  <a:pt x="2977" y="1459"/>
                </a:cubicBezTo>
                <a:cubicBezTo>
                  <a:pt x="2986" y="1448"/>
                  <a:pt x="2997" y="1438"/>
                  <a:pt x="2999" y="1438"/>
                </a:cubicBezTo>
                <a:cubicBezTo>
                  <a:pt x="3008" y="1436"/>
                  <a:pt x="3016" y="1429"/>
                  <a:pt x="3023" y="1421"/>
                </a:cubicBezTo>
                <a:cubicBezTo>
                  <a:pt x="3031" y="1413"/>
                  <a:pt x="3036" y="1404"/>
                  <a:pt x="3037" y="1396"/>
                </a:cubicBezTo>
                <a:cubicBezTo>
                  <a:pt x="3037" y="1393"/>
                  <a:pt x="3046" y="1377"/>
                  <a:pt x="3054" y="1363"/>
                </a:cubicBezTo>
                <a:cubicBezTo>
                  <a:pt x="3059" y="1355"/>
                  <a:pt x="3063" y="1348"/>
                  <a:pt x="3066" y="1342"/>
                </a:cubicBezTo>
                <a:cubicBezTo>
                  <a:pt x="3070" y="1336"/>
                  <a:pt x="3072" y="1332"/>
                  <a:pt x="3073" y="1327"/>
                </a:cubicBezTo>
                <a:cubicBezTo>
                  <a:pt x="3073" y="1324"/>
                  <a:pt x="3076" y="1315"/>
                  <a:pt x="3078" y="1306"/>
                </a:cubicBezTo>
                <a:cubicBezTo>
                  <a:pt x="3081" y="1297"/>
                  <a:pt x="3084" y="1287"/>
                  <a:pt x="3084" y="1279"/>
                </a:cubicBezTo>
                <a:cubicBezTo>
                  <a:pt x="3084" y="1275"/>
                  <a:pt x="3083" y="1272"/>
                  <a:pt x="3081" y="1269"/>
                </a:cubicBezTo>
                <a:cubicBezTo>
                  <a:pt x="3078" y="1265"/>
                  <a:pt x="3074" y="1264"/>
                  <a:pt x="3071" y="1264"/>
                </a:cubicBezTo>
                <a:cubicBezTo>
                  <a:pt x="3054" y="1265"/>
                  <a:pt x="3023" y="1280"/>
                  <a:pt x="3017" y="1282"/>
                </a:cubicBezTo>
                <a:cubicBezTo>
                  <a:pt x="3011" y="1285"/>
                  <a:pt x="2998" y="1294"/>
                  <a:pt x="2983" y="1294"/>
                </a:cubicBezTo>
                <a:cubicBezTo>
                  <a:pt x="2982" y="1294"/>
                  <a:pt x="2981" y="1294"/>
                  <a:pt x="2980" y="1294"/>
                </a:cubicBezTo>
                <a:cubicBezTo>
                  <a:pt x="2976" y="1293"/>
                  <a:pt x="2975" y="1293"/>
                  <a:pt x="2974" y="1292"/>
                </a:cubicBezTo>
                <a:cubicBezTo>
                  <a:pt x="2974" y="1291"/>
                  <a:pt x="2973" y="1289"/>
                  <a:pt x="2973" y="1287"/>
                </a:cubicBezTo>
                <a:cubicBezTo>
                  <a:pt x="2973" y="1283"/>
                  <a:pt x="2974" y="1279"/>
                  <a:pt x="2974" y="1274"/>
                </a:cubicBezTo>
                <a:cubicBezTo>
                  <a:pt x="2974" y="1273"/>
                  <a:pt x="2974" y="1273"/>
                  <a:pt x="2974" y="1272"/>
                </a:cubicBezTo>
                <a:cubicBezTo>
                  <a:pt x="2974" y="1269"/>
                  <a:pt x="2972" y="1265"/>
                  <a:pt x="2970" y="1261"/>
                </a:cubicBezTo>
                <a:cubicBezTo>
                  <a:pt x="2971" y="1262"/>
                  <a:pt x="2972" y="1262"/>
                  <a:pt x="2972" y="1263"/>
                </a:cubicBezTo>
                <a:cubicBezTo>
                  <a:pt x="2975" y="1264"/>
                  <a:pt x="2978" y="1264"/>
                  <a:pt x="2981" y="1264"/>
                </a:cubicBezTo>
                <a:cubicBezTo>
                  <a:pt x="2988" y="1264"/>
                  <a:pt x="2997" y="1262"/>
                  <a:pt x="3005" y="1259"/>
                </a:cubicBezTo>
                <a:cubicBezTo>
                  <a:pt x="3014" y="1256"/>
                  <a:pt x="3021" y="1254"/>
                  <a:pt x="3024" y="1251"/>
                </a:cubicBezTo>
                <a:cubicBezTo>
                  <a:pt x="3029" y="1248"/>
                  <a:pt x="3069" y="1225"/>
                  <a:pt x="3079" y="1225"/>
                </a:cubicBezTo>
                <a:cubicBezTo>
                  <a:pt x="3088" y="1224"/>
                  <a:pt x="3093" y="1220"/>
                  <a:pt x="3098" y="1216"/>
                </a:cubicBezTo>
                <a:cubicBezTo>
                  <a:pt x="3102" y="1213"/>
                  <a:pt x="3106" y="1210"/>
                  <a:pt x="3113" y="1208"/>
                </a:cubicBezTo>
                <a:cubicBezTo>
                  <a:pt x="3133" y="1203"/>
                  <a:pt x="3146" y="1187"/>
                  <a:pt x="3157" y="1176"/>
                </a:cubicBezTo>
                <a:cubicBezTo>
                  <a:pt x="3170" y="1163"/>
                  <a:pt x="3184" y="1136"/>
                  <a:pt x="3189" y="1126"/>
                </a:cubicBezTo>
                <a:cubicBezTo>
                  <a:pt x="3191" y="1120"/>
                  <a:pt x="3200" y="1114"/>
                  <a:pt x="3201" y="1102"/>
                </a:cubicBezTo>
                <a:cubicBezTo>
                  <a:pt x="3201" y="1099"/>
                  <a:pt x="3200" y="1096"/>
                  <a:pt x="3199" y="1093"/>
                </a:cubicBezTo>
                <a:cubicBezTo>
                  <a:pt x="3195" y="1086"/>
                  <a:pt x="3187" y="1079"/>
                  <a:pt x="3179" y="1073"/>
                </a:cubicBezTo>
                <a:cubicBezTo>
                  <a:pt x="3170" y="1067"/>
                  <a:pt x="3162" y="1062"/>
                  <a:pt x="3155" y="1061"/>
                </a:cubicBezTo>
                <a:cubicBezTo>
                  <a:pt x="3155" y="1061"/>
                  <a:pt x="3155" y="1061"/>
                  <a:pt x="3154" y="1060"/>
                </a:cubicBezTo>
                <a:cubicBezTo>
                  <a:pt x="3153" y="1058"/>
                  <a:pt x="3152" y="1055"/>
                  <a:pt x="3151" y="1051"/>
                </a:cubicBezTo>
                <a:cubicBezTo>
                  <a:pt x="3150" y="1050"/>
                  <a:pt x="3150" y="1048"/>
                  <a:pt x="3148" y="1046"/>
                </a:cubicBezTo>
                <a:cubicBezTo>
                  <a:pt x="3147" y="1044"/>
                  <a:pt x="3144" y="1042"/>
                  <a:pt x="3141" y="1042"/>
                </a:cubicBezTo>
                <a:cubicBezTo>
                  <a:pt x="3137" y="1041"/>
                  <a:pt x="3134" y="1043"/>
                  <a:pt x="3133" y="1045"/>
                </a:cubicBezTo>
                <a:cubicBezTo>
                  <a:pt x="3128" y="1051"/>
                  <a:pt x="3128" y="1055"/>
                  <a:pt x="3121" y="1059"/>
                </a:cubicBezTo>
                <a:cubicBezTo>
                  <a:pt x="3116" y="1063"/>
                  <a:pt x="3110" y="1067"/>
                  <a:pt x="3105" y="1071"/>
                </a:cubicBezTo>
                <a:cubicBezTo>
                  <a:pt x="3101" y="1074"/>
                  <a:pt x="3097" y="1076"/>
                  <a:pt x="3096" y="1076"/>
                </a:cubicBezTo>
                <a:cubicBezTo>
                  <a:pt x="3096" y="1076"/>
                  <a:pt x="3096" y="1075"/>
                  <a:pt x="3096" y="1075"/>
                </a:cubicBezTo>
                <a:cubicBezTo>
                  <a:pt x="3096" y="1070"/>
                  <a:pt x="3095" y="1063"/>
                  <a:pt x="3087" y="1056"/>
                </a:cubicBezTo>
                <a:cubicBezTo>
                  <a:pt x="3081" y="1049"/>
                  <a:pt x="3077" y="1046"/>
                  <a:pt x="3074" y="1043"/>
                </a:cubicBezTo>
                <a:cubicBezTo>
                  <a:pt x="3072" y="1040"/>
                  <a:pt x="3072" y="1039"/>
                  <a:pt x="3072" y="1035"/>
                </a:cubicBezTo>
                <a:cubicBezTo>
                  <a:pt x="3072" y="1030"/>
                  <a:pt x="3069" y="1027"/>
                  <a:pt x="3067" y="1023"/>
                </a:cubicBezTo>
                <a:cubicBezTo>
                  <a:pt x="3059" y="1013"/>
                  <a:pt x="3045" y="999"/>
                  <a:pt x="3044" y="993"/>
                </a:cubicBezTo>
                <a:cubicBezTo>
                  <a:pt x="3044" y="992"/>
                  <a:pt x="3044" y="992"/>
                  <a:pt x="3044" y="992"/>
                </a:cubicBezTo>
                <a:cubicBezTo>
                  <a:pt x="3044" y="988"/>
                  <a:pt x="3046" y="984"/>
                  <a:pt x="3049" y="980"/>
                </a:cubicBezTo>
                <a:cubicBezTo>
                  <a:pt x="3051" y="977"/>
                  <a:pt x="3055" y="975"/>
                  <a:pt x="3055" y="975"/>
                </a:cubicBezTo>
                <a:cubicBezTo>
                  <a:pt x="3056" y="975"/>
                  <a:pt x="3056" y="975"/>
                  <a:pt x="3056" y="976"/>
                </a:cubicBezTo>
                <a:cubicBezTo>
                  <a:pt x="3061" y="987"/>
                  <a:pt x="3066" y="1008"/>
                  <a:pt x="3084" y="1018"/>
                </a:cubicBezTo>
                <a:cubicBezTo>
                  <a:pt x="3091" y="1022"/>
                  <a:pt x="3097" y="1028"/>
                  <a:pt x="3104" y="1032"/>
                </a:cubicBezTo>
                <a:cubicBezTo>
                  <a:pt x="3110" y="1037"/>
                  <a:pt x="3115" y="1041"/>
                  <a:pt x="3120" y="1044"/>
                </a:cubicBezTo>
                <a:cubicBezTo>
                  <a:pt x="3121" y="1044"/>
                  <a:pt x="3123" y="1044"/>
                  <a:pt x="3124" y="1044"/>
                </a:cubicBezTo>
                <a:cubicBezTo>
                  <a:pt x="3131" y="1044"/>
                  <a:pt x="3136" y="1040"/>
                  <a:pt x="3141" y="1037"/>
                </a:cubicBezTo>
                <a:cubicBezTo>
                  <a:pt x="3143" y="1035"/>
                  <a:pt x="3146" y="1034"/>
                  <a:pt x="3148" y="1033"/>
                </a:cubicBezTo>
                <a:cubicBezTo>
                  <a:pt x="3149" y="1032"/>
                  <a:pt x="3149" y="1032"/>
                  <a:pt x="3150" y="1032"/>
                </a:cubicBezTo>
                <a:cubicBezTo>
                  <a:pt x="3152" y="1034"/>
                  <a:pt x="3156" y="1040"/>
                  <a:pt x="3160" y="1046"/>
                </a:cubicBezTo>
                <a:cubicBezTo>
                  <a:pt x="3165" y="1053"/>
                  <a:pt x="3170" y="1060"/>
                  <a:pt x="3178" y="1063"/>
                </a:cubicBezTo>
                <a:cubicBezTo>
                  <a:pt x="3184" y="1066"/>
                  <a:pt x="3195" y="1067"/>
                  <a:pt x="3206" y="1068"/>
                </a:cubicBezTo>
                <a:cubicBezTo>
                  <a:pt x="3217" y="1069"/>
                  <a:pt x="3227" y="1069"/>
                  <a:pt x="3230" y="1069"/>
                </a:cubicBezTo>
                <a:cubicBezTo>
                  <a:pt x="3232" y="1069"/>
                  <a:pt x="3234" y="1069"/>
                  <a:pt x="3238" y="1069"/>
                </a:cubicBezTo>
                <a:cubicBezTo>
                  <a:pt x="3242" y="1069"/>
                  <a:pt x="3249" y="1069"/>
                  <a:pt x="3255" y="1068"/>
                </a:cubicBezTo>
                <a:cubicBezTo>
                  <a:pt x="3260" y="1066"/>
                  <a:pt x="3266" y="1065"/>
                  <a:pt x="3270" y="1059"/>
                </a:cubicBezTo>
                <a:cubicBezTo>
                  <a:pt x="3272" y="1055"/>
                  <a:pt x="3273" y="1054"/>
                  <a:pt x="3274" y="1054"/>
                </a:cubicBezTo>
                <a:cubicBezTo>
                  <a:pt x="3274" y="1054"/>
                  <a:pt x="3275" y="1054"/>
                  <a:pt x="3278" y="1054"/>
                </a:cubicBezTo>
                <a:cubicBezTo>
                  <a:pt x="3279" y="1055"/>
                  <a:pt x="3283" y="1061"/>
                  <a:pt x="3286" y="1066"/>
                </a:cubicBezTo>
                <a:cubicBezTo>
                  <a:pt x="3291" y="1072"/>
                  <a:pt x="3294" y="1078"/>
                  <a:pt x="3301" y="1081"/>
                </a:cubicBezTo>
                <a:cubicBezTo>
                  <a:pt x="3306" y="1083"/>
                  <a:pt x="3311" y="1083"/>
                  <a:pt x="3314" y="1084"/>
                </a:cubicBezTo>
                <a:cubicBezTo>
                  <a:pt x="3317" y="1086"/>
                  <a:pt x="3318" y="1086"/>
                  <a:pt x="3319" y="1093"/>
                </a:cubicBezTo>
                <a:cubicBezTo>
                  <a:pt x="3319" y="1093"/>
                  <a:pt x="3319" y="1094"/>
                  <a:pt x="3319" y="1094"/>
                </a:cubicBezTo>
                <a:cubicBezTo>
                  <a:pt x="3319" y="1095"/>
                  <a:pt x="3319" y="1097"/>
                  <a:pt x="3319" y="1098"/>
                </a:cubicBezTo>
                <a:cubicBezTo>
                  <a:pt x="3319" y="1107"/>
                  <a:pt x="3321" y="1115"/>
                  <a:pt x="3324" y="1122"/>
                </a:cubicBezTo>
                <a:cubicBezTo>
                  <a:pt x="3327" y="1128"/>
                  <a:pt x="3332" y="1134"/>
                  <a:pt x="3339" y="1135"/>
                </a:cubicBezTo>
                <a:cubicBezTo>
                  <a:pt x="3339" y="1135"/>
                  <a:pt x="3340" y="1135"/>
                  <a:pt x="3340" y="1135"/>
                </a:cubicBezTo>
                <a:cubicBezTo>
                  <a:pt x="3349" y="1134"/>
                  <a:pt x="3354" y="1129"/>
                  <a:pt x="3360" y="1124"/>
                </a:cubicBezTo>
                <a:cubicBezTo>
                  <a:pt x="3360" y="1134"/>
                  <a:pt x="3360" y="1148"/>
                  <a:pt x="3359" y="1155"/>
                </a:cubicBezTo>
                <a:cubicBezTo>
                  <a:pt x="3359" y="1155"/>
                  <a:pt x="3359" y="1156"/>
                  <a:pt x="3359" y="1157"/>
                </a:cubicBezTo>
                <a:cubicBezTo>
                  <a:pt x="3359" y="1173"/>
                  <a:pt x="3372" y="1214"/>
                  <a:pt x="3372" y="1215"/>
                </a:cubicBezTo>
                <a:cubicBezTo>
                  <a:pt x="3372" y="1215"/>
                  <a:pt x="3372" y="1215"/>
                  <a:pt x="3372" y="1215"/>
                </a:cubicBezTo>
                <a:cubicBezTo>
                  <a:pt x="3372" y="1215"/>
                  <a:pt x="3389" y="1258"/>
                  <a:pt x="3394" y="1268"/>
                </a:cubicBezTo>
                <a:cubicBezTo>
                  <a:pt x="3397" y="1274"/>
                  <a:pt x="3403" y="1283"/>
                  <a:pt x="3408" y="1293"/>
                </a:cubicBezTo>
                <a:cubicBezTo>
                  <a:pt x="3413" y="1302"/>
                  <a:pt x="3418" y="1313"/>
                  <a:pt x="3418" y="1316"/>
                </a:cubicBezTo>
                <a:cubicBezTo>
                  <a:pt x="3418" y="1323"/>
                  <a:pt x="3418" y="1331"/>
                  <a:pt x="3420" y="1338"/>
                </a:cubicBezTo>
                <a:cubicBezTo>
                  <a:pt x="3421" y="1342"/>
                  <a:pt x="3422" y="1345"/>
                  <a:pt x="3423" y="1348"/>
                </a:cubicBezTo>
                <a:cubicBezTo>
                  <a:pt x="3425" y="1351"/>
                  <a:pt x="3428" y="1354"/>
                  <a:pt x="3433" y="1354"/>
                </a:cubicBezTo>
                <a:cubicBezTo>
                  <a:pt x="3438" y="1354"/>
                  <a:pt x="3441" y="1351"/>
                  <a:pt x="3443" y="1348"/>
                </a:cubicBezTo>
                <a:cubicBezTo>
                  <a:pt x="3449" y="1340"/>
                  <a:pt x="3454" y="1325"/>
                  <a:pt x="3460" y="1315"/>
                </a:cubicBezTo>
                <a:cubicBezTo>
                  <a:pt x="3461" y="1314"/>
                  <a:pt x="3461" y="1313"/>
                  <a:pt x="3462" y="1311"/>
                </a:cubicBezTo>
                <a:cubicBezTo>
                  <a:pt x="3461" y="1314"/>
                  <a:pt x="3460" y="1317"/>
                  <a:pt x="3459" y="1320"/>
                </a:cubicBezTo>
                <a:cubicBezTo>
                  <a:pt x="3458" y="1327"/>
                  <a:pt x="3457" y="1335"/>
                  <a:pt x="3457" y="1343"/>
                </a:cubicBezTo>
                <a:cubicBezTo>
                  <a:pt x="3457" y="1349"/>
                  <a:pt x="3457" y="1354"/>
                  <a:pt x="3459" y="1359"/>
                </a:cubicBezTo>
                <a:cubicBezTo>
                  <a:pt x="3460" y="1364"/>
                  <a:pt x="3463" y="1369"/>
                  <a:pt x="3469" y="1372"/>
                </a:cubicBezTo>
                <a:cubicBezTo>
                  <a:pt x="3471" y="1373"/>
                  <a:pt x="3472" y="1373"/>
                  <a:pt x="3474" y="1373"/>
                </a:cubicBezTo>
                <a:cubicBezTo>
                  <a:pt x="3483" y="1373"/>
                  <a:pt x="3488" y="1367"/>
                  <a:pt x="3491" y="1361"/>
                </a:cubicBezTo>
                <a:cubicBezTo>
                  <a:pt x="3494" y="1355"/>
                  <a:pt x="3495" y="1349"/>
                  <a:pt x="3495" y="1343"/>
                </a:cubicBezTo>
                <a:cubicBezTo>
                  <a:pt x="3495" y="1340"/>
                  <a:pt x="3495" y="1337"/>
                  <a:pt x="3493" y="1334"/>
                </a:cubicBezTo>
                <a:cubicBezTo>
                  <a:pt x="3492" y="1333"/>
                  <a:pt x="3490" y="1325"/>
                  <a:pt x="3488" y="1319"/>
                </a:cubicBezTo>
                <a:cubicBezTo>
                  <a:pt x="3487" y="1315"/>
                  <a:pt x="3486" y="1312"/>
                  <a:pt x="3484" y="1309"/>
                </a:cubicBezTo>
                <a:cubicBezTo>
                  <a:pt x="3482" y="1306"/>
                  <a:pt x="3479" y="1303"/>
                  <a:pt x="3474" y="1303"/>
                </a:cubicBezTo>
                <a:cubicBezTo>
                  <a:pt x="3472" y="1303"/>
                  <a:pt x="3468" y="1303"/>
                  <a:pt x="3468" y="1304"/>
                </a:cubicBezTo>
                <a:cubicBezTo>
                  <a:pt x="3468" y="1304"/>
                  <a:pt x="3468" y="1304"/>
                  <a:pt x="3468" y="1304"/>
                </a:cubicBezTo>
                <a:cubicBezTo>
                  <a:pt x="3464" y="1306"/>
                  <a:pt x="3464" y="1308"/>
                  <a:pt x="3463" y="1310"/>
                </a:cubicBezTo>
                <a:cubicBezTo>
                  <a:pt x="3469" y="1296"/>
                  <a:pt x="3471" y="1279"/>
                  <a:pt x="3474" y="1267"/>
                </a:cubicBezTo>
                <a:cubicBezTo>
                  <a:pt x="3478" y="1252"/>
                  <a:pt x="3478" y="1227"/>
                  <a:pt x="3478" y="1217"/>
                </a:cubicBezTo>
                <a:cubicBezTo>
                  <a:pt x="3478" y="1211"/>
                  <a:pt x="3482" y="1205"/>
                  <a:pt x="3498" y="1196"/>
                </a:cubicBezTo>
                <a:cubicBezTo>
                  <a:pt x="3517" y="1186"/>
                  <a:pt x="3528" y="1162"/>
                  <a:pt x="3540" y="1151"/>
                </a:cubicBezTo>
                <a:cubicBezTo>
                  <a:pt x="3549" y="1144"/>
                  <a:pt x="3552" y="1135"/>
                  <a:pt x="3556" y="1129"/>
                </a:cubicBezTo>
                <a:cubicBezTo>
                  <a:pt x="3561" y="1124"/>
                  <a:pt x="3564" y="1120"/>
                  <a:pt x="3577" y="1120"/>
                </a:cubicBezTo>
                <a:cubicBezTo>
                  <a:pt x="3591" y="1120"/>
                  <a:pt x="3597" y="1120"/>
                  <a:pt x="3602" y="1119"/>
                </a:cubicBezTo>
                <a:cubicBezTo>
                  <a:pt x="3608" y="1117"/>
                  <a:pt x="3611" y="1113"/>
                  <a:pt x="3614" y="1109"/>
                </a:cubicBezTo>
                <a:cubicBezTo>
                  <a:pt x="3615" y="1107"/>
                  <a:pt x="3617" y="1105"/>
                  <a:pt x="3618" y="1104"/>
                </a:cubicBezTo>
                <a:cubicBezTo>
                  <a:pt x="3619" y="1104"/>
                  <a:pt x="3619" y="1104"/>
                  <a:pt x="3619" y="1104"/>
                </a:cubicBezTo>
                <a:cubicBezTo>
                  <a:pt x="3619" y="1105"/>
                  <a:pt x="3620" y="1106"/>
                  <a:pt x="3620" y="1108"/>
                </a:cubicBezTo>
                <a:cubicBezTo>
                  <a:pt x="3623" y="1118"/>
                  <a:pt x="3629" y="1127"/>
                  <a:pt x="3635" y="1135"/>
                </a:cubicBezTo>
                <a:cubicBezTo>
                  <a:pt x="3640" y="1144"/>
                  <a:pt x="3646" y="1151"/>
                  <a:pt x="3648" y="1153"/>
                </a:cubicBezTo>
                <a:cubicBezTo>
                  <a:pt x="3650" y="1157"/>
                  <a:pt x="3656" y="1170"/>
                  <a:pt x="3656" y="1183"/>
                </a:cubicBezTo>
                <a:cubicBezTo>
                  <a:pt x="3656" y="1184"/>
                  <a:pt x="3656" y="1185"/>
                  <a:pt x="3656" y="1186"/>
                </a:cubicBezTo>
                <a:cubicBezTo>
                  <a:pt x="3656" y="1189"/>
                  <a:pt x="3656" y="1192"/>
                  <a:pt x="3656" y="1195"/>
                </a:cubicBezTo>
                <a:cubicBezTo>
                  <a:pt x="3656" y="1203"/>
                  <a:pt x="3656" y="1210"/>
                  <a:pt x="3658" y="1216"/>
                </a:cubicBezTo>
                <a:cubicBezTo>
                  <a:pt x="3658" y="1219"/>
                  <a:pt x="3659" y="1221"/>
                  <a:pt x="3660" y="1224"/>
                </a:cubicBezTo>
                <a:cubicBezTo>
                  <a:pt x="3662" y="1226"/>
                  <a:pt x="3665" y="1229"/>
                  <a:pt x="3669" y="1229"/>
                </a:cubicBezTo>
                <a:cubicBezTo>
                  <a:pt x="3674" y="1228"/>
                  <a:pt x="3676" y="1225"/>
                  <a:pt x="3679" y="1223"/>
                </a:cubicBezTo>
                <a:cubicBezTo>
                  <a:pt x="3684" y="1217"/>
                  <a:pt x="3689" y="1207"/>
                  <a:pt x="3691" y="1203"/>
                </a:cubicBezTo>
                <a:cubicBezTo>
                  <a:pt x="3692" y="1202"/>
                  <a:pt x="3694" y="1201"/>
                  <a:pt x="3696" y="1200"/>
                </a:cubicBezTo>
                <a:cubicBezTo>
                  <a:pt x="3699" y="1198"/>
                  <a:pt x="3703" y="1196"/>
                  <a:pt x="3704" y="1197"/>
                </a:cubicBezTo>
                <a:cubicBezTo>
                  <a:pt x="3704" y="1197"/>
                  <a:pt x="3704" y="1198"/>
                  <a:pt x="3704" y="1199"/>
                </a:cubicBezTo>
                <a:cubicBezTo>
                  <a:pt x="3704" y="1200"/>
                  <a:pt x="3704" y="1200"/>
                  <a:pt x="3704" y="1200"/>
                </a:cubicBezTo>
                <a:cubicBezTo>
                  <a:pt x="3704" y="1204"/>
                  <a:pt x="3704" y="1207"/>
                  <a:pt x="3704" y="1210"/>
                </a:cubicBezTo>
                <a:cubicBezTo>
                  <a:pt x="3704" y="1230"/>
                  <a:pt x="3706" y="1249"/>
                  <a:pt x="3706" y="1260"/>
                </a:cubicBezTo>
                <a:cubicBezTo>
                  <a:pt x="3707" y="1268"/>
                  <a:pt x="3711" y="1278"/>
                  <a:pt x="3716" y="1287"/>
                </a:cubicBezTo>
                <a:cubicBezTo>
                  <a:pt x="3717" y="1290"/>
                  <a:pt x="3719" y="1293"/>
                  <a:pt x="3720" y="1295"/>
                </a:cubicBezTo>
                <a:cubicBezTo>
                  <a:pt x="3720" y="1295"/>
                  <a:pt x="3720" y="1295"/>
                  <a:pt x="3720" y="1295"/>
                </a:cubicBezTo>
                <a:cubicBezTo>
                  <a:pt x="3714" y="1296"/>
                  <a:pt x="3711" y="1300"/>
                  <a:pt x="3709" y="1304"/>
                </a:cubicBezTo>
                <a:cubicBezTo>
                  <a:pt x="3707" y="1308"/>
                  <a:pt x="3707" y="1313"/>
                  <a:pt x="3707" y="1317"/>
                </a:cubicBezTo>
                <a:cubicBezTo>
                  <a:pt x="3707" y="1323"/>
                  <a:pt x="3708" y="1329"/>
                  <a:pt x="3711" y="1334"/>
                </a:cubicBezTo>
                <a:cubicBezTo>
                  <a:pt x="3715" y="1339"/>
                  <a:pt x="3719" y="1340"/>
                  <a:pt x="3722" y="1342"/>
                </a:cubicBezTo>
                <a:cubicBezTo>
                  <a:pt x="3724" y="1344"/>
                  <a:pt x="3727" y="1347"/>
                  <a:pt x="3730" y="1359"/>
                </a:cubicBezTo>
                <a:cubicBezTo>
                  <a:pt x="3736" y="1385"/>
                  <a:pt x="3747" y="1410"/>
                  <a:pt x="3752" y="1420"/>
                </a:cubicBezTo>
                <a:cubicBezTo>
                  <a:pt x="3755" y="1426"/>
                  <a:pt x="3762" y="1432"/>
                  <a:pt x="3768" y="1438"/>
                </a:cubicBezTo>
                <a:cubicBezTo>
                  <a:pt x="3775" y="1443"/>
                  <a:pt x="3781" y="1449"/>
                  <a:pt x="3784" y="1452"/>
                </a:cubicBezTo>
                <a:cubicBezTo>
                  <a:pt x="3787" y="1454"/>
                  <a:pt x="3790" y="1456"/>
                  <a:pt x="3794" y="1456"/>
                </a:cubicBezTo>
                <a:cubicBezTo>
                  <a:pt x="3802" y="1456"/>
                  <a:pt x="3808" y="1449"/>
                  <a:pt x="3808" y="1441"/>
                </a:cubicBezTo>
                <a:cubicBezTo>
                  <a:pt x="3808" y="1438"/>
                  <a:pt x="3808" y="1436"/>
                  <a:pt x="3806" y="1433"/>
                </a:cubicBezTo>
                <a:cubicBezTo>
                  <a:pt x="3801" y="1425"/>
                  <a:pt x="3793" y="1412"/>
                  <a:pt x="3792" y="1405"/>
                </a:cubicBezTo>
                <a:cubicBezTo>
                  <a:pt x="3791" y="1394"/>
                  <a:pt x="3785" y="1379"/>
                  <a:pt x="3775" y="1362"/>
                </a:cubicBezTo>
                <a:cubicBezTo>
                  <a:pt x="3765" y="1344"/>
                  <a:pt x="3757" y="1339"/>
                  <a:pt x="3752" y="1330"/>
                </a:cubicBezTo>
                <a:cubicBezTo>
                  <a:pt x="3748" y="1323"/>
                  <a:pt x="3740" y="1313"/>
                  <a:pt x="3733" y="1306"/>
                </a:cubicBezTo>
                <a:cubicBezTo>
                  <a:pt x="3735" y="1306"/>
                  <a:pt x="3738" y="1304"/>
                  <a:pt x="3738" y="1302"/>
                </a:cubicBezTo>
                <a:cubicBezTo>
                  <a:pt x="3739" y="1301"/>
                  <a:pt x="3739" y="1300"/>
                  <a:pt x="3739" y="1299"/>
                </a:cubicBezTo>
                <a:cubicBezTo>
                  <a:pt x="3739" y="1296"/>
                  <a:pt x="3741" y="1288"/>
                  <a:pt x="3744" y="1280"/>
                </a:cubicBezTo>
                <a:cubicBezTo>
                  <a:pt x="3746" y="1272"/>
                  <a:pt x="3748" y="1263"/>
                  <a:pt x="3749" y="1256"/>
                </a:cubicBezTo>
                <a:cubicBezTo>
                  <a:pt x="3751" y="1258"/>
                  <a:pt x="3755" y="1261"/>
                  <a:pt x="3759" y="1265"/>
                </a:cubicBezTo>
                <a:cubicBezTo>
                  <a:pt x="3766" y="1270"/>
                  <a:pt x="3772" y="1279"/>
                  <a:pt x="3776" y="1286"/>
                </a:cubicBezTo>
                <a:cubicBezTo>
                  <a:pt x="3780" y="1294"/>
                  <a:pt x="3783" y="1299"/>
                  <a:pt x="3783" y="1299"/>
                </a:cubicBezTo>
                <a:cubicBezTo>
                  <a:pt x="3784" y="1301"/>
                  <a:pt x="3784" y="1301"/>
                  <a:pt x="3784" y="1301"/>
                </a:cubicBezTo>
                <a:cubicBezTo>
                  <a:pt x="3784" y="1301"/>
                  <a:pt x="3788" y="1305"/>
                  <a:pt x="3792" y="1310"/>
                </a:cubicBezTo>
                <a:cubicBezTo>
                  <a:pt x="3795" y="1315"/>
                  <a:pt x="3800" y="1321"/>
                  <a:pt x="3800" y="1322"/>
                </a:cubicBezTo>
                <a:cubicBezTo>
                  <a:pt x="3801" y="1327"/>
                  <a:pt x="3806" y="1329"/>
                  <a:pt x="3809" y="1329"/>
                </a:cubicBezTo>
                <a:cubicBezTo>
                  <a:pt x="3815" y="1329"/>
                  <a:pt x="3819" y="1326"/>
                  <a:pt x="3823" y="1323"/>
                </a:cubicBezTo>
                <a:cubicBezTo>
                  <a:pt x="3827" y="1320"/>
                  <a:pt x="3831" y="1317"/>
                  <a:pt x="3833" y="1312"/>
                </a:cubicBezTo>
                <a:cubicBezTo>
                  <a:pt x="3837" y="1304"/>
                  <a:pt x="3837" y="1303"/>
                  <a:pt x="3844" y="1300"/>
                </a:cubicBezTo>
                <a:cubicBezTo>
                  <a:pt x="3848" y="1299"/>
                  <a:pt x="3854" y="1298"/>
                  <a:pt x="3860" y="1296"/>
                </a:cubicBezTo>
                <a:cubicBezTo>
                  <a:pt x="3865" y="1293"/>
                  <a:pt x="3871" y="1287"/>
                  <a:pt x="3873" y="1278"/>
                </a:cubicBezTo>
                <a:cubicBezTo>
                  <a:pt x="3874" y="1269"/>
                  <a:pt x="3880" y="1258"/>
                  <a:pt x="3880" y="1245"/>
                </a:cubicBezTo>
                <a:cubicBezTo>
                  <a:pt x="3880" y="1237"/>
                  <a:pt x="3878" y="1228"/>
                  <a:pt x="3872" y="1219"/>
                </a:cubicBezTo>
                <a:cubicBezTo>
                  <a:pt x="3858" y="1199"/>
                  <a:pt x="3851" y="1185"/>
                  <a:pt x="3840" y="1174"/>
                </a:cubicBezTo>
                <a:cubicBezTo>
                  <a:pt x="3836" y="1171"/>
                  <a:pt x="3831" y="1162"/>
                  <a:pt x="3828" y="1155"/>
                </a:cubicBezTo>
                <a:cubicBezTo>
                  <a:pt x="3826" y="1151"/>
                  <a:pt x="3825" y="1148"/>
                  <a:pt x="3824" y="1146"/>
                </a:cubicBezTo>
                <a:cubicBezTo>
                  <a:pt x="3830" y="1139"/>
                  <a:pt x="3845" y="1123"/>
                  <a:pt x="3851" y="1116"/>
                </a:cubicBezTo>
                <a:cubicBezTo>
                  <a:pt x="3852" y="1115"/>
                  <a:pt x="3853" y="1114"/>
                  <a:pt x="3854" y="1114"/>
                </a:cubicBezTo>
                <a:cubicBezTo>
                  <a:pt x="3855" y="1114"/>
                  <a:pt x="3858" y="1116"/>
                  <a:pt x="3858" y="1120"/>
                </a:cubicBezTo>
                <a:cubicBezTo>
                  <a:pt x="3858" y="1120"/>
                  <a:pt x="3858" y="1120"/>
                  <a:pt x="3858" y="1121"/>
                </a:cubicBezTo>
                <a:cubicBezTo>
                  <a:pt x="3859" y="1123"/>
                  <a:pt x="3857" y="1127"/>
                  <a:pt x="3854" y="1133"/>
                </a:cubicBezTo>
                <a:cubicBezTo>
                  <a:pt x="3851" y="1138"/>
                  <a:pt x="3847" y="1146"/>
                  <a:pt x="3846" y="1157"/>
                </a:cubicBezTo>
                <a:cubicBezTo>
                  <a:pt x="3846" y="1159"/>
                  <a:pt x="3846" y="1160"/>
                  <a:pt x="3846" y="1162"/>
                </a:cubicBezTo>
                <a:cubicBezTo>
                  <a:pt x="3846" y="1177"/>
                  <a:pt x="3855" y="1187"/>
                  <a:pt x="3865" y="1187"/>
                </a:cubicBezTo>
                <a:cubicBezTo>
                  <a:pt x="3869" y="1187"/>
                  <a:pt x="3873" y="1186"/>
                  <a:pt x="3875" y="1182"/>
                </a:cubicBezTo>
                <a:cubicBezTo>
                  <a:pt x="3877" y="1179"/>
                  <a:pt x="3882" y="1173"/>
                  <a:pt x="3885" y="1167"/>
                </a:cubicBezTo>
                <a:cubicBezTo>
                  <a:pt x="3887" y="1164"/>
                  <a:pt x="3889" y="1161"/>
                  <a:pt x="3890" y="1159"/>
                </a:cubicBezTo>
                <a:cubicBezTo>
                  <a:pt x="3891" y="1156"/>
                  <a:pt x="3892" y="1155"/>
                  <a:pt x="3892" y="1151"/>
                </a:cubicBezTo>
                <a:cubicBezTo>
                  <a:pt x="3892" y="1148"/>
                  <a:pt x="3891" y="1145"/>
                  <a:pt x="3889" y="1144"/>
                </a:cubicBezTo>
                <a:cubicBezTo>
                  <a:pt x="3886" y="1141"/>
                  <a:pt x="3884" y="1143"/>
                  <a:pt x="3884" y="1133"/>
                </a:cubicBezTo>
                <a:cubicBezTo>
                  <a:pt x="3884" y="1132"/>
                  <a:pt x="3884" y="1132"/>
                  <a:pt x="3884" y="1132"/>
                </a:cubicBezTo>
                <a:cubicBezTo>
                  <a:pt x="3884" y="1127"/>
                  <a:pt x="3885" y="1123"/>
                  <a:pt x="3888" y="1120"/>
                </a:cubicBezTo>
                <a:cubicBezTo>
                  <a:pt x="3891" y="1118"/>
                  <a:pt x="3894" y="1116"/>
                  <a:pt x="3895" y="1116"/>
                </a:cubicBezTo>
                <a:cubicBezTo>
                  <a:pt x="3898" y="1118"/>
                  <a:pt x="3900" y="1118"/>
                  <a:pt x="3903" y="1118"/>
                </a:cubicBezTo>
                <a:cubicBezTo>
                  <a:pt x="3917" y="1118"/>
                  <a:pt x="3945" y="1110"/>
                  <a:pt x="3961" y="1100"/>
                </a:cubicBezTo>
                <a:cubicBezTo>
                  <a:pt x="3980" y="1087"/>
                  <a:pt x="3991" y="1063"/>
                  <a:pt x="4000" y="1055"/>
                </a:cubicBezTo>
                <a:cubicBezTo>
                  <a:pt x="4005" y="1050"/>
                  <a:pt x="4016" y="1040"/>
                  <a:pt x="4026" y="1029"/>
                </a:cubicBezTo>
                <a:cubicBezTo>
                  <a:pt x="4036" y="1018"/>
                  <a:pt x="4045" y="1007"/>
                  <a:pt x="4046" y="995"/>
                </a:cubicBezTo>
                <a:cubicBezTo>
                  <a:pt x="4046" y="995"/>
                  <a:pt x="4045" y="994"/>
                  <a:pt x="4045" y="993"/>
                </a:cubicBezTo>
                <a:cubicBezTo>
                  <a:pt x="4043" y="979"/>
                  <a:pt x="4047" y="958"/>
                  <a:pt x="4037" y="936"/>
                </a:cubicBezTo>
                <a:cubicBezTo>
                  <a:pt x="4028" y="918"/>
                  <a:pt x="4017" y="905"/>
                  <a:pt x="4012" y="898"/>
                </a:cubicBezTo>
                <a:cubicBezTo>
                  <a:pt x="4014" y="896"/>
                  <a:pt x="4018" y="895"/>
                  <a:pt x="4022" y="893"/>
                </a:cubicBezTo>
                <a:cubicBezTo>
                  <a:pt x="4028" y="890"/>
                  <a:pt x="4036" y="887"/>
                  <a:pt x="4041" y="881"/>
                </a:cubicBezTo>
                <a:cubicBezTo>
                  <a:pt x="4046" y="876"/>
                  <a:pt x="4048" y="871"/>
                  <a:pt x="4048" y="866"/>
                </a:cubicBezTo>
                <a:cubicBezTo>
                  <a:pt x="4048" y="856"/>
                  <a:pt x="4041" y="849"/>
                  <a:pt x="4032" y="848"/>
                </a:cubicBezTo>
                <a:cubicBezTo>
                  <a:pt x="4032" y="848"/>
                  <a:pt x="4031" y="849"/>
                  <a:pt x="4030" y="849"/>
                </a:cubicBezTo>
                <a:cubicBezTo>
                  <a:pt x="4025" y="850"/>
                  <a:pt x="4013" y="853"/>
                  <a:pt x="4008" y="853"/>
                </a:cubicBezTo>
                <a:cubicBezTo>
                  <a:pt x="4007" y="853"/>
                  <a:pt x="4006" y="853"/>
                  <a:pt x="4006" y="853"/>
                </a:cubicBezTo>
                <a:cubicBezTo>
                  <a:pt x="4005" y="853"/>
                  <a:pt x="4000" y="847"/>
                  <a:pt x="3990" y="838"/>
                </a:cubicBezTo>
                <a:cubicBezTo>
                  <a:pt x="3989" y="836"/>
                  <a:pt x="3989" y="836"/>
                  <a:pt x="3989" y="835"/>
                </a:cubicBezTo>
                <a:cubicBezTo>
                  <a:pt x="3989" y="834"/>
                  <a:pt x="3990" y="832"/>
                  <a:pt x="3991" y="831"/>
                </a:cubicBezTo>
                <a:cubicBezTo>
                  <a:pt x="3992" y="830"/>
                  <a:pt x="3992" y="829"/>
                  <a:pt x="3993" y="829"/>
                </a:cubicBezTo>
                <a:cubicBezTo>
                  <a:pt x="3993" y="829"/>
                  <a:pt x="3993" y="829"/>
                  <a:pt x="3993" y="829"/>
                </a:cubicBezTo>
                <a:cubicBezTo>
                  <a:pt x="3994" y="829"/>
                  <a:pt x="3995" y="829"/>
                  <a:pt x="3995" y="829"/>
                </a:cubicBezTo>
                <a:cubicBezTo>
                  <a:pt x="4002" y="829"/>
                  <a:pt x="4007" y="824"/>
                  <a:pt x="4012" y="820"/>
                </a:cubicBezTo>
                <a:cubicBezTo>
                  <a:pt x="4017" y="815"/>
                  <a:pt x="4022" y="811"/>
                  <a:pt x="4026" y="807"/>
                </a:cubicBezTo>
                <a:cubicBezTo>
                  <a:pt x="4024" y="812"/>
                  <a:pt x="4023" y="817"/>
                  <a:pt x="4023" y="822"/>
                </a:cubicBezTo>
                <a:cubicBezTo>
                  <a:pt x="4023" y="825"/>
                  <a:pt x="4024" y="827"/>
                  <a:pt x="4025" y="830"/>
                </a:cubicBezTo>
                <a:cubicBezTo>
                  <a:pt x="4026" y="833"/>
                  <a:pt x="4029" y="835"/>
                  <a:pt x="4033" y="836"/>
                </a:cubicBezTo>
                <a:cubicBezTo>
                  <a:pt x="4033" y="836"/>
                  <a:pt x="4034" y="836"/>
                  <a:pt x="4034" y="836"/>
                </a:cubicBezTo>
                <a:cubicBezTo>
                  <a:pt x="4043" y="836"/>
                  <a:pt x="4050" y="830"/>
                  <a:pt x="4057" y="825"/>
                </a:cubicBezTo>
                <a:cubicBezTo>
                  <a:pt x="4060" y="823"/>
                  <a:pt x="4063" y="820"/>
                  <a:pt x="4066" y="818"/>
                </a:cubicBezTo>
                <a:cubicBezTo>
                  <a:pt x="4066" y="818"/>
                  <a:pt x="4066" y="818"/>
                  <a:pt x="4066" y="818"/>
                </a:cubicBezTo>
                <a:cubicBezTo>
                  <a:pt x="4067" y="822"/>
                  <a:pt x="4069" y="827"/>
                  <a:pt x="4069" y="832"/>
                </a:cubicBezTo>
                <a:cubicBezTo>
                  <a:pt x="4069" y="834"/>
                  <a:pt x="4069" y="835"/>
                  <a:pt x="4068" y="836"/>
                </a:cubicBezTo>
                <a:cubicBezTo>
                  <a:pt x="4066" y="841"/>
                  <a:pt x="4065" y="846"/>
                  <a:pt x="4065" y="851"/>
                </a:cubicBezTo>
                <a:cubicBezTo>
                  <a:pt x="4065" y="854"/>
                  <a:pt x="4066" y="856"/>
                  <a:pt x="4066" y="859"/>
                </a:cubicBezTo>
                <a:cubicBezTo>
                  <a:pt x="4067" y="861"/>
                  <a:pt x="4069" y="865"/>
                  <a:pt x="4074" y="865"/>
                </a:cubicBezTo>
                <a:cubicBezTo>
                  <a:pt x="4075" y="865"/>
                  <a:pt x="4076" y="865"/>
                  <a:pt x="4077" y="865"/>
                </a:cubicBezTo>
                <a:cubicBezTo>
                  <a:pt x="4081" y="863"/>
                  <a:pt x="4084" y="860"/>
                  <a:pt x="4087" y="858"/>
                </a:cubicBezTo>
                <a:cubicBezTo>
                  <a:pt x="4087" y="857"/>
                  <a:pt x="4088" y="856"/>
                  <a:pt x="4089" y="856"/>
                </a:cubicBezTo>
                <a:cubicBezTo>
                  <a:pt x="4092" y="860"/>
                  <a:pt x="4095" y="863"/>
                  <a:pt x="4095" y="869"/>
                </a:cubicBezTo>
                <a:cubicBezTo>
                  <a:pt x="4095" y="870"/>
                  <a:pt x="4094" y="872"/>
                  <a:pt x="4094" y="875"/>
                </a:cubicBezTo>
                <a:cubicBezTo>
                  <a:pt x="4091" y="883"/>
                  <a:pt x="4084" y="888"/>
                  <a:pt x="4083" y="898"/>
                </a:cubicBezTo>
                <a:cubicBezTo>
                  <a:pt x="4083" y="904"/>
                  <a:pt x="4087" y="908"/>
                  <a:pt x="4092" y="912"/>
                </a:cubicBezTo>
                <a:cubicBezTo>
                  <a:pt x="4097" y="916"/>
                  <a:pt x="4102" y="917"/>
                  <a:pt x="4107" y="917"/>
                </a:cubicBezTo>
                <a:cubicBezTo>
                  <a:pt x="4117" y="917"/>
                  <a:pt x="4122" y="910"/>
                  <a:pt x="4128" y="907"/>
                </a:cubicBezTo>
                <a:cubicBezTo>
                  <a:pt x="4139" y="898"/>
                  <a:pt x="4144" y="880"/>
                  <a:pt x="4144" y="865"/>
                </a:cubicBezTo>
                <a:cubicBezTo>
                  <a:pt x="4144" y="860"/>
                  <a:pt x="4144" y="856"/>
                  <a:pt x="4141" y="852"/>
                </a:cubicBezTo>
                <a:cubicBezTo>
                  <a:pt x="4138" y="846"/>
                  <a:pt x="4133" y="839"/>
                  <a:pt x="4129" y="833"/>
                </a:cubicBezTo>
                <a:cubicBezTo>
                  <a:pt x="4126" y="828"/>
                  <a:pt x="4124" y="822"/>
                  <a:pt x="4123" y="820"/>
                </a:cubicBezTo>
                <a:cubicBezTo>
                  <a:pt x="4125" y="819"/>
                  <a:pt x="4130" y="817"/>
                  <a:pt x="4135" y="815"/>
                </a:cubicBezTo>
                <a:cubicBezTo>
                  <a:pt x="4139" y="813"/>
                  <a:pt x="4145" y="809"/>
                  <a:pt x="4145" y="801"/>
                </a:cubicBezTo>
                <a:cubicBezTo>
                  <a:pt x="4145" y="793"/>
                  <a:pt x="4152" y="786"/>
                  <a:pt x="4158" y="783"/>
                </a:cubicBezTo>
                <a:cubicBezTo>
                  <a:pt x="4164" y="780"/>
                  <a:pt x="4167" y="775"/>
                  <a:pt x="4171" y="771"/>
                </a:cubicBezTo>
                <a:cubicBezTo>
                  <a:pt x="4173" y="770"/>
                  <a:pt x="4174" y="768"/>
                  <a:pt x="4175" y="767"/>
                </a:cubicBezTo>
                <a:cubicBezTo>
                  <a:pt x="4177" y="769"/>
                  <a:pt x="4180" y="771"/>
                  <a:pt x="4183" y="772"/>
                </a:cubicBezTo>
                <a:cubicBezTo>
                  <a:pt x="4188" y="774"/>
                  <a:pt x="4193" y="775"/>
                  <a:pt x="4198" y="775"/>
                </a:cubicBezTo>
                <a:cubicBezTo>
                  <a:pt x="4203" y="775"/>
                  <a:pt x="4209" y="774"/>
                  <a:pt x="4212" y="769"/>
                </a:cubicBezTo>
                <a:cubicBezTo>
                  <a:pt x="4217" y="761"/>
                  <a:pt x="4247" y="731"/>
                  <a:pt x="4265" y="714"/>
                </a:cubicBezTo>
                <a:cubicBezTo>
                  <a:pt x="4285" y="697"/>
                  <a:pt x="4293" y="676"/>
                  <a:pt x="4297" y="656"/>
                </a:cubicBezTo>
                <a:cubicBezTo>
                  <a:pt x="4299" y="651"/>
                  <a:pt x="4300" y="646"/>
                  <a:pt x="4302" y="641"/>
                </a:cubicBezTo>
                <a:cubicBezTo>
                  <a:pt x="4302" y="643"/>
                  <a:pt x="4302" y="645"/>
                  <a:pt x="4302" y="646"/>
                </a:cubicBezTo>
                <a:cubicBezTo>
                  <a:pt x="4302" y="649"/>
                  <a:pt x="4302" y="653"/>
                  <a:pt x="4301" y="656"/>
                </a:cubicBezTo>
                <a:cubicBezTo>
                  <a:pt x="4301" y="660"/>
                  <a:pt x="4301" y="665"/>
                  <a:pt x="4301" y="671"/>
                </a:cubicBezTo>
                <a:cubicBezTo>
                  <a:pt x="4301" y="679"/>
                  <a:pt x="4301" y="687"/>
                  <a:pt x="4302" y="694"/>
                </a:cubicBezTo>
                <a:cubicBezTo>
                  <a:pt x="4302" y="698"/>
                  <a:pt x="4302" y="701"/>
                  <a:pt x="4303" y="703"/>
                </a:cubicBezTo>
                <a:cubicBezTo>
                  <a:pt x="4303" y="706"/>
                  <a:pt x="4303" y="708"/>
                  <a:pt x="4305" y="710"/>
                </a:cubicBezTo>
                <a:cubicBezTo>
                  <a:pt x="4306" y="713"/>
                  <a:pt x="4309" y="716"/>
                  <a:pt x="4312" y="719"/>
                </a:cubicBezTo>
                <a:cubicBezTo>
                  <a:pt x="4315" y="722"/>
                  <a:pt x="4319" y="725"/>
                  <a:pt x="4325" y="725"/>
                </a:cubicBezTo>
                <a:cubicBezTo>
                  <a:pt x="4326" y="725"/>
                  <a:pt x="4328" y="724"/>
                  <a:pt x="4330" y="724"/>
                </a:cubicBezTo>
                <a:cubicBezTo>
                  <a:pt x="4336" y="720"/>
                  <a:pt x="4335" y="715"/>
                  <a:pt x="4335" y="712"/>
                </a:cubicBezTo>
                <a:cubicBezTo>
                  <a:pt x="4335" y="706"/>
                  <a:pt x="4334" y="700"/>
                  <a:pt x="4333" y="694"/>
                </a:cubicBezTo>
                <a:cubicBezTo>
                  <a:pt x="4332" y="688"/>
                  <a:pt x="4331" y="683"/>
                  <a:pt x="4331" y="682"/>
                </a:cubicBezTo>
                <a:cubicBezTo>
                  <a:pt x="4331" y="682"/>
                  <a:pt x="4331" y="682"/>
                  <a:pt x="4331" y="681"/>
                </a:cubicBezTo>
                <a:cubicBezTo>
                  <a:pt x="4333" y="677"/>
                  <a:pt x="4338" y="673"/>
                  <a:pt x="4339" y="673"/>
                </a:cubicBezTo>
                <a:cubicBezTo>
                  <a:pt x="4343" y="672"/>
                  <a:pt x="4344" y="669"/>
                  <a:pt x="4345" y="667"/>
                </a:cubicBezTo>
                <a:cubicBezTo>
                  <a:pt x="4345" y="665"/>
                  <a:pt x="4345" y="663"/>
                  <a:pt x="4345" y="661"/>
                </a:cubicBezTo>
                <a:cubicBezTo>
                  <a:pt x="4345" y="652"/>
                  <a:pt x="4342" y="638"/>
                  <a:pt x="4337" y="630"/>
                </a:cubicBezTo>
                <a:cubicBezTo>
                  <a:pt x="4334" y="625"/>
                  <a:pt x="4331" y="622"/>
                  <a:pt x="4329" y="619"/>
                </a:cubicBezTo>
                <a:cubicBezTo>
                  <a:pt x="4329" y="619"/>
                  <a:pt x="4329" y="619"/>
                  <a:pt x="4329" y="619"/>
                </a:cubicBezTo>
                <a:cubicBezTo>
                  <a:pt x="4331" y="618"/>
                  <a:pt x="4332" y="616"/>
                  <a:pt x="4333" y="614"/>
                </a:cubicBezTo>
                <a:cubicBezTo>
                  <a:pt x="4335" y="611"/>
                  <a:pt x="4336" y="608"/>
                  <a:pt x="4336" y="604"/>
                </a:cubicBezTo>
                <a:cubicBezTo>
                  <a:pt x="4336" y="602"/>
                  <a:pt x="4336" y="599"/>
                  <a:pt x="4333" y="597"/>
                </a:cubicBezTo>
                <a:cubicBezTo>
                  <a:pt x="4333" y="596"/>
                  <a:pt x="4333" y="594"/>
                  <a:pt x="4332" y="592"/>
                </a:cubicBezTo>
                <a:cubicBezTo>
                  <a:pt x="4332" y="590"/>
                  <a:pt x="4328" y="585"/>
                  <a:pt x="4323" y="585"/>
                </a:cubicBezTo>
                <a:cubicBezTo>
                  <a:pt x="4321" y="585"/>
                  <a:pt x="4320" y="585"/>
                  <a:pt x="4318" y="586"/>
                </a:cubicBezTo>
                <a:cubicBezTo>
                  <a:pt x="4318" y="586"/>
                  <a:pt x="4312" y="586"/>
                  <a:pt x="4306" y="587"/>
                </a:cubicBezTo>
                <a:cubicBezTo>
                  <a:pt x="4304" y="587"/>
                  <a:pt x="4302" y="588"/>
                  <a:pt x="4300" y="589"/>
                </a:cubicBezTo>
                <a:cubicBezTo>
                  <a:pt x="4296" y="582"/>
                  <a:pt x="4290" y="577"/>
                  <a:pt x="4282" y="577"/>
                </a:cubicBezTo>
                <a:cubicBezTo>
                  <a:pt x="4281" y="577"/>
                  <a:pt x="4280" y="577"/>
                  <a:pt x="4279" y="577"/>
                </a:cubicBezTo>
                <a:cubicBezTo>
                  <a:pt x="4266" y="579"/>
                  <a:pt x="4261" y="585"/>
                  <a:pt x="4254" y="585"/>
                </a:cubicBezTo>
                <a:cubicBezTo>
                  <a:pt x="4254" y="585"/>
                  <a:pt x="4254" y="584"/>
                  <a:pt x="4254" y="583"/>
                </a:cubicBezTo>
                <a:cubicBezTo>
                  <a:pt x="4254" y="581"/>
                  <a:pt x="4254" y="578"/>
                  <a:pt x="4254" y="576"/>
                </a:cubicBezTo>
                <a:cubicBezTo>
                  <a:pt x="4254" y="574"/>
                  <a:pt x="4254" y="573"/>
                  <a:pt x="4253" y="571"/>
                </a:cubicBezTo>
                <a:cubicBezTo>
                  <a:pt x="4253" y="569"/>
                  <a:pt x="4250" y="566"/>
                  <a:pt x="4246" y="566"/>
                </a:cubicBezTo>
                <a:cubicBezTo>
                  <a:pt x="4242" y="566"/>
                  <a:pt x="4241" y="568"/>
                  <a:pt x="4239" y="569"/>
                </a:cubicBezTo>
                <a:cubicBezTo>
                  <a:pt x="4237" y="571"/>
                  <a:pt x="4235" y="573"/>
                  <a:pt x="4233" y="575"/>
                </a:cubicBezTo>
                <a:cubicBezTo>
                  <a:pt x="4232" y="576"/>
                  <a:pt x="4232" y="576"/>
                  <a:pt x="4231" y="576"/>
                </a:cubicBezTo>
                <a:cubicBezTo>
                  <a:pt x="4231" y="576"/>
                  <a:pt x="4232" y="575"/>
                  <a:pt x="4233" y="574"/>
                </a:cubicBezTo>
                <a:cubicBezTo>
                  <a:pt x="4237" y="569"/>
                  <a:pt x="4250" y="561"/>
                  <a:pt x="4261" y="557"/>
                </a:cubicBezTo>
                <a:cubicBezTo>
                  <a:pt x="4272" y="552"/>
                  <a:pt x="4283" y="540"/>
                  <a:pt x="4294" y="529"/>
                </a:cubicBezTo>
                <a:cubicBezTo>
                  <a:pt x="4300" y="524"/>
                  <a:pt x="4305" y="519"/>
                  <a:pt x="4309" y="515"/>
                </a:cubicBezTo>
                <a:cubicBezTo>
                  <a:pt x="4313" y="511"/>
                  <a:pt x="4317" y="509"/>
                  <a:pt x="4317" y="509"/>
                </a:cubicBezTo>
                <a:cubicBezTo>
                  <a:pt x="4319" y="509"/>
                  <a:pt x="4321" y="509"/>
                  <a:pt x="4323" y="509"/>
                </a:cubicBezTo>
                <a:cubicBezTo>
                  <a:pt x="4334" y="509"/>
                  <a:pt x="4352" y="511"/>
                  <a:pt x="4371" y="511"/>
                </a:cubicBezTo>
                <a:cubicBezTo>
                  <a:pt x="4375" y="511"/>
                  <a:pt x="4379" y="511"/>
                  <a:pt x="4383" y="511"/>
                </a:cubicBezTo>
                <a:cubicBezTo>
                  <a:pt x="4404" y="509"/>
                  <a:pt x="4416" y="501"/>
                  <a:pt x="4418" y="502"/>
                </a:cubicBezTo>
                <a:cubicBezTo>
                  <a:pt x="4419" y="502"/>
                  <a:pt x="4419" y="502"/>
                  <a:pt x="4420" y="502"/>
                </a:cubicBezTo>
                <a:cubicBezTo>
                  <a:pt x="4429" y="510"/>
                  <a:pt x="4444" y="517"/>
                  <a:pt x="4457" y="518"/>
                </a:cubicBezTo>
                <a:cubicBezTo>
                  <a:pt x="4458" y="518"/>
                  <a:pt x="4459" y="518"/>
                  <a:pt x="4460" y="517"/>
                </a:cubicBezTo>
                <a:cubicBezTo>
                  <a:pt x="4465" y="517"/>
                  <a:pt x="4468" y="517"/>
                  <a:pt x="4472" y="514"/>
                </a:cubicBezTo>
                <a:cubicBezTo>
                  <a:pt x="4475" y="512"/>
                  <a:pt x="4477" y="509"/>
                  <a:pt x="4485" y="502"/>
                </a:cubicBezTo>
                <a:cubicBezTo>
                  <a:pt x="4501" y="489"/>
                  <a:pt x="4516" y="482"/>
                  <a:pt x="4525" y="469"/>
                </a:cubicBezTo>
                <a:cubicBezTo>
                  <a:pt x="4529" y="464"/>
                  <a:pt x="4540" y="458"/>
                  <a:pt x="4545" y="459"/>
                </a:cubicBezTo>
                <a:cubicBezTo>
                  <a:pt x="4545" y="459"/>
                  <a:pt x="4544" y="459"/>
                  <a:pt x="4545" y="459"/>
                </a:cubicBezTo>
                <a:cubicBezTo>
                  <a:pt x="4545" y="460"/>
                  <a:pt x="4544" y="462"/>
                  <a:pt x="4544" y="464"/>
                </a:cubicBezTo>
                <a:cubicBezTo>
                  <a:pt x="4544" y="465"/>
                  <a:pt x="4544" y="467"/>
                  <a:pt x="4544" y="468"/>
                </a:cubicBezTo>
                <a:cubicBezTo>
                  <a:pt x="4544" y="472"/>
                  <a:pt x="4545" y="475"/>
                  <a:pt x="4546" y="479"/>
                </a:cubicBezTo>
                <a:cubicBezTo>
                  <a:pt x="4548" y="483"/>
                  <a:pt x="4553" y="486"/>
                  <a:pt x="4558" y="486"/>
                </a:cubicBezTo>
                <a:cubicBezTo>
                  <a:pt x="4559" y="486"/>
                  <a:pt x="4560" y="486"/>
                  <a:pt x="4560" y="486"/>
                </a:cubicBezTo>
                <a:cubicBezTo>
                  <a:pt x="4556" y="489"/>
                  <a:pt x="4553" y="491"/>
                  <a:pt x="4551" y="493"/>
                </a:cubicBezTo>
                <a:cubicBezTo>
                  <a:pt x="4547" y="496"/>
                  <a:pt x="4537" y="500"/>
                  <a:pt x="4527" y="504"/>
                </a:cubicBezTo>
                <a:cubicBezTo>
                  <a:pt x="4517" y="509"/>
                  <a:pt x="4506" y="515"/>
                  <a:pt x="4499" y="525"/>
                </a:cubicBezTo>
                <a:cubicBezTo>
                  <a:pt x="4489" y="539"/>
                  <a:pt x="4481" y="547"/>
                  <a:pt x="4481" y="564"/>
                </a:cubicBezTo>
                <a:cubicBezTo>
                  <a:pt x="4481" y="566"/>
                  <a:pt x="4481" y="567"/>
                  <a:pt x="4481" y="568"/>
                </a:cubicBezTo>
                <a:cubicBezTo>
                  <a:pt x="4482" y="586"/>
                  <a:pt x="4495" y="604"/>
                  <a:pt x="4495" y="616"/>
                </a:cubicBezTo>
                <a:cubicBezTo>
                  <a:pt x="4495" y="619"/>
                  <a:pt x="4494" y="621"/>
                  <a:pt x="4493" y="623"/>
                </a:cubicBezTo>
                <a:cubicBezTo>
                  <a:pt x="4483" y="641"/>
                  <a:pt x="4480" y="665"/>
                  <a:pt x="4480" y="665"/>
                </a:cubicBezTo>
                <a:cubicBezTo>
                  <a:pt x="4479" y="668"/>
                  <a:pt x="4481" y="671"/>
                  <a:pt x="4484" y="671"/>
                </a:cubicBezTo>
                <a:cubicBezTo>
                  <a:pt x="4487" y="673"/>
                  <a:pt x="4490" y="671"/>
                  <a:pt x="4491" y="669"/>
                </a:cubicBezTo>
                <a:cubicBezTo>
                  <a:pt x="4491" y="669"/>
                  <a:pt x="4494" y="663"/>
                  <a:pt x="4500" y="656"/>
                </a:cubicBezTo>
                <a:cubicBezTo>
                  <a:pt x="4506" y="648"/>
                  <a:pt x="4514" y="639"/>
                  <a:pt x="4523" y="632"/>
                </a:cubicBezTo>
                <a:cubicBezTo>
                  <a:pt x="4544" y="616"/>
                  <a:pt x="4556" y="594"/>
                  <a:pt x="4562" y="587"/>
                </a:cubicBezTo>
                <a:cubicBezTo>
                  <a:pt x="4563" y="585"/>
                  <a:pt x="4570" y="582"/>
                  <a:pt x="4576" y="579"/>
                </a:cubicBezTo>
                <a:cubicBezTo>
                  <a:pt x="4579" y="578"/>
                  <a:pt x="4582" y="577"/>
                  <a:pt x="4585" y="575"/>
                </a:cubicBezTo>
                <a:cubicBezTo>
                  <a:pt x="4588" y="572"/>
                  <a:pt x="4591" y="569"/>
                  <a:pt x="4591" y="564"/>
                </a:cubicBezTo>
                <a:cubicBezTo>
                  <a:pt x="4591" y="556"/>
                  <a:pt x="4596" y="544"/>
                  <a:pt x="4600" y="532"/>
                </a:cubicBezTo>
                <a:cubicBezTo>
                  <a:pt x="4600" y="530"/>
                  <a:pt x="4601" y="528"/>
                  <a:pt x="4601" y="527"/>
                </a:cubicBezTo>
                <a:cubicBezTo>
                  <a:pt x="4601" y="523"/>
                  <a:pt x="4599" y="520"/>
                  <a:pt x="4598" y="518"/>
                </a:cubicBezTo>
                <a:cubicBezTo>
                  <a:pt x="4598" y="517"/>
                  <a:pt x="4598" y="517"/>
                  <a:pt x="4598" y="517"/>
                </a:cubicBezTo>
                <a:close/>
                <a:moveTo>
                  <a:pt x="2891" y="398"/>
                </a:moveTo>
                <a:cubicBezTo>
                  <a:pt x="2900" y="398"/>
                  <a:pt x="2910" y="397"/>
                  <a:pt x="2921" y="393"/>
                </a:cubicBezTo>
                <a:cubicBezTo>
                  <a:pt x="2919" y="397"/>
                  <a:pt x="2919" y="401"/>
                  <a:pt x="2919" y="405"/>
                </a:cubicBezTo>
                <a:cubicBezTo>
                  <a:pt x="2919" y="406"/>
                  <a:pt x="2919" y="407"/>
                  <a:pt x="2919" y="408"/>
                </a:cubicBezTo>
                <a:cubicBezTo>
                  <a:pt x="2919" y="410"/>
                  <a:pt x="2919" y="411"/>
                  <a:pt x="2919" y="412"/>
                </a:cubicBezTo>
                <a:cubicBezTo>
                  <a:pt x="2915" y="413"/>
                  <a:pt x="2914" y="415"/>
                  <a:pt x="2912" y="414"/>
                </a:cubicBezTo>
                <a:cubicBezTo>
                  <a:pt x="2910" y="414"/>
                  <a:pt x="2908" y="414"/>
                  <a:pt x="2903" y="410"/>
                </a:cubicBezTo>
                <a:cubicBezTo>
                  <a:pt x="2897" y="406"/>
                  <a:pt x="2893" y="404"/>
                  <a:pt x="2888" y="403"/>
                </a:cubicBezTo>
                <a:cubicBezTo>
                  <a:pt x="2885" y="403"/>
                  <a:pt x="2882" y="405"/>
                  <a:pt x="2881" y="407"/>
                </a:cubicBezTo>
                <a:cubicBezTo>
                  <a:pt x="2880" y="408"/>
                  <a:pt x="2879" y="409"/>
                  <a:pt x="2879" y="409"/>
                </a:cubicBezTo>
                <a:cubicBezTo>
                  <a:pt x="2878" y="410"/>
                  <a:pt x="2871" y="414"/>
                  <a:pt x="2868" y="415"/>
                </a:cubicBezTo>
                <a:cubicBezTo>
                  <a:pt x="2868" y="415"/>
                  <a:pt x="2868" y="414"/>
                  <a:pt x="2868" y="414"/>
                </a:cubicBezTo>
                <a:cubicBezTo>
                  <a:pt x="2868" y="412"/>
                  <a:pt x="2868" y="410"/>
                  <a:pt x="2868" y="408"/>
                </a:cubicBezTo>
                <a:cubicBezTo>
                  <a:pt x="2868" y="406"/>
                  <a:pt x="2868" y="406"/>
                  <a:pt x="2868" y="406"/>
                </a:cubicBezTo>
                <a:cubicBezTo>
                  <a:pt x="2868" y="403"/>
                  <a:pt x="2868" y="398"/>
                  <a:pt x="2865" y="394"/>
                </a:cubicBezTo>
                <a:cubicBezTo>
                  <a:pt x="2873" y="396"/>
                  <a:pt x="2881" y="398"/>
                  <a:pt x="2891" y="398"/>
                </a:cubicBezTo>
                <a:close/>
                <a:moveTo>
                  <a:pt x="2805" y="472"/>
                </a:moveTo>
                <a:cubicBezTo>
                  <a:pt x="2806" y="469"/>
                  <a:pt x="2806" y="469"/>
                  <a:pt x="2808" y="469"/>
                </a:cubicBezTo>
                <a:cubicBezTo>
                  <a:pt x="2811" y="469"/>
                  <a:pt x="2816" y="471"/>
                  <a:pt x="2820" y="474"/>
                </a:cubicBezTo>
                <a:cubicBezTo>
                  <a:pt x="2822" y="475"/>
                  <a:pt x="2823" y="477"/>
                  <a:pt x="2824" y="479"/>
                </a:cubicBezTo>
                <a:cubicBezTo>
                  <a:pt x="2825" y="480"/>
                  <a:pt x="2825" y="480"/>
                  <a:pt x="2826" y="481"/>
                </a:cubicBezTo>
                <a:cubicBezTo>
                  <a:pt x="2826" y="481"/>
                  <a:pt x="2825" y="481"/>
                  <a:pt x="2825" y="481"/>
                </a:cubicBezTo>
                <a:cubicBezTo>
                  <a:pt x="2825" y="481"/>
                  <a:pt x="2824" y="482"/>
                  <a:pt x="2822" y="482"/>
                </a:cubicBezTo>
                <a:cubicBezTo>
                  <a:pt x="2819" y="482"/>
                  <a:pt x="2813" y="480"/>
                  <a:pt x="2809" y="478"/>
                </a:cubicBezTo>
                <a:cubicBezTo>
                  <a:pt x="2806" y="476"/>
                  <a:pt x="2804" y="473"/>
                  <a:pt x="2804" y="472"/>
                </a:cubicBezTo>
                <a:cubicBezTo>
                  <a:pt x="2804" y="472"/>
                  <a:pt x="2804" y="472"/>
                  <a:pt x="2804" y="472"/>
                </a:cubicBezTo>
                <a:cubicBezTo>
                  <a:pt x="2799" y="470"/>
                  <a:pt x="2799" y="470"/>
                  <a:pt x="2799" y="470"/>
                </a:cubicBezTo>
                <a:lnTo>
                  <a:pt x="2805" y="472"/>
                </a:lnTo>
                <a:close/>
                <a:moveTo>
                  <a:pt x="2773" y="756"/>
                </a:moveTo>
                <a:cubicBezTo>
                  <a:pt x="2781" y="749"/>
                  <a:pt x="2789" y="735"/>
                  <a:pt x="2796" y="721"/>
                </a:cubicBezTo>
                <a:cubicBezTo>
                  <a:pt x="2801" y="711"/>
                  <a:pt x="2806" y="710"/>
                  <a:pt x="2809" y="710"/>
                </a:cubicBezTo>
                <a:cubicBezTo>
                  <a:pt x="2810" y="710"/>
                  <a:pt x="2810" y="710"/>
                  <a:pt x="2811" y="710"/>
                </a:cubicBezTo>
                <a:cubicBezTo>
                  <a:pt x="2812" y="711"/>
                  <a:pt x="2817" y="717"/>
                  <a:pt x="2820" y="723"/>
                </a:cubicBezTo>
                <a:cubicBezTo>
                  <a:pt x="2824" y="730"/>
                  <a:pt x="2828" y="738"/>
                  <a:pt x="2829" y="741"/>
                </a:cubicBezTo>
                <a:cubicBezTo>
                  <a:pt x="2830" y="745"/>
                  <a:pt x="2835" y="748"/>
                  <a:pt x="2839" y="748"/>
                </a:cubicBezTo>
                <a:cubicBezTo>
                  <a:pt x="2844" y="748"/>
                  <a:pt x="2847" y="745"/>
                  <a:pt x="2850" y="743"/>
                </a:cubicBezTo>
                <a:cubicBezTo>
                  <a:pt x="2853" y="741"/>
                  <a:pt x="2856" y="739"/>
                  <a:pt x="2857" y="739"/>
                </a:cubicBezTo>
                <a:cubicBezTo>
                  <a:pt x="2864" y="734"/>
                  <a:pt x="2871" y="726"/>
                  <a:pt x="2873" y="716"/>
                </a:cubicBezTo>
                <a:cubicBezTo>
                  <a:pt x="2873" y="716"/>
                  <a:pt x="2874" y="714"/>
                  <a:pt x="2877" y="713"/>
                </a:cubicBezTo>
                <a:cubicBezTo>
                  <a:pt x="2879" y="712"/>
                  <a:pt x="2881" y="711"/>
                  <a:pt x="2884" y="711"/>
                </a:cubicBezTo>
                <a:cubicBezTo>
                  <a:pt x="2883" y="712"/>
                  <a:pt x="2882" y="712"/>
                  <a:pt x="2881" y="712"/>
                </a:cubicBezTo>
                <a:cubicBezTo>
                  <a:pt x="2879" y="713"/>
                  <a:pt x="2877" y="714"/>
                  <a:pt x="2876" y="715"/>
                </a:cubicBezTo>
                <a:cubicBezTo>
                  <a:pt x="2874" y="717"/>
                  <a:pt x="2873" y="719"/>
                  <a:pt x="2873" y="722"/>
                </a:cubicBezTo>
                <a:cubicBezTo>
                  <a:pt x="2873" y="727"/>
                  <a:pt x="2876" y="729"/>
                  <a:pt x="2879" y="731"/>
                </a:cubicBezTo>
                <a:cubicBezTo>
                  <a:pt x="2882" y="734"/>
                  <a:pt x="2886" y="736"/>
                  <a:pt x="2891" y="738"/>
                </a:cubicBezTo>
                <a:cubicBezTo>
                  <a:pt x="2903" y="742"/>
                  <a:pt x="2915" y="757"/>
                  <a:pt x="2931" y="767"/>
                </a:cubicBezTo>
                <a:cubicBezTo>
                  <a:pt x="2939" y="772"/>
                  <a:pt x="2942" y="780"/>
                  <a:pt x="2942" y="785"/>
                </a:cubicBezTo>
                <a:cubicBezTo>
                  <a:pt x="2942" y="788"/>
                  <a:pt x="2941" y="788"/>
                  <a:pt x="2941" y="788"/>
                </a:cubicBezTo>
                <a:cubicBezTo>
                  <a:pt x="2941" y="788"/>
                  <a:pt x="2941" y="788"/>
                  <a:pt x="2941" y="788"/>
                </a:cubicBezTo>
                <a:cubicBezTo>
                  <a:pt x="2935" y="790"/>
                  <a:pt x="2915" y="793"/>
                  <a:pt x="2903" y="792"/>
                </a:cubicBezTo>
                <a:cubicBezTo>
                  <a:pt x="2900" y="792"/>
                  <a:pt x="2898" y="792"/>
                  <a:pt x="2896" y="792"/>
                </a:cubicBezTo>
                <a:cubicBezTo>
                  <a:pt x="2889" y="792"/>
                  <a:pt x="2876" y="779"/>
                  <a:pt x="2859" y="776"/>
                </a:cubicBezTo>
                <a:cubicBezTo>
                  <a:pt x="2854" y="775"/>
                  <a:pt x="2849" y="774"/>
                  <a:pt x="2844" y="774"/>
                </a:cubicBezTo>
                <a:cubicBezTo>
                  <a:pt x="2832" y="774"/>
                  <a:pt x="2820" y="777"/>
                  <a:pt x="2813" y="787"/>
                </a:cubicBezTo>
                <a:cubicBezTo>
                  <a:pt x="2813" y="788"/>
                  <a:pt x="2808" y="790"/>
                  <a:pt x="2800" y="790"/>
                </a:cubicBezTo>
                <a:cubicBezTo>
                  <a:pt x="2794" y="790"/>
                  <a:pt x="2788" y="789"/>
                  <a:pt x="2783" y="789"/>
                </a:cubicBezTo>
                <a:cubicBezTo>
                  <a:pt x="2776" y="789"/>
                  <a:pt x="2772" y="793"/>
                  <a:pt x="2768" y="795"/>
                </a:cubicBezTo>
                <a:cubicBezTo>
                  <a:pt x="2768" y="792"/>
                  <a:pt x="2769" y="788"/>
                  <a:pt x="2769" y="785"/>
                </a:cubicBezTo>
                <a:cubicBezTo>
                  <a:pt x="2769" y="780"/>
                  <a:pt x="2769" y="775"/>
                  <a:pt x="2763" y="771"/>
                </a:cubicBezTo>
                <a:cubicBezTo>
                  <a:pt x="2764" y="768"/>
                  <a:pt x="2769" y="758"/>
                  <a:pt x="2773" y="756"/>
                </a:cubicBezTo>
                <a:close/>
                <a:moveTo>
                  <a:pt x="2673" y="431"/>
                </a:moveTo>
                <a:cubicBezTo>
                  <a:pt x="2681" y="422"/>
                  <a:pt x="2684" y="414"/>
                  <a:pt x="2684" y="407"/>
                </a:cubicBezTo>
                <a:cubicBezTo>
                  <a:pt x="2684" y="405"/>
                  <a:pt x="2683" y="402"/>
                  <a:pt x="2683" y="401"/>
                </a:cubicBezTo>
                <a:cubicBezTo>
                  <a:pt x="2684" y="400"/>
                  <a:pt x="2685" y="400"/>
                  <a:pt x="2686" y="400"/>
                </a:cubicBezTo>
                <a:cubicBezTo>
                  <a:pt x="2695" y="400"/>
                  <a:pt x="2703" y="399"/>
                  <a:pt x="2710" y="399"/>
                </a:cubicBezTo>
                <a:cubicBezTo>
                  <a:pt x="2713" y="399"/>
                  <a:pt x="2716" y="399"/>
                  <a:pt x="2719" y="400"/>
                </a:cubicBezTo>
                <a:cubicBezTo>
                  <a:pt x="2716" y="403"/>
                  <a:pt x="2710" y="408"/>
                  <a:pt x="2704" y="412"/>
                </a:cubicBezTo>
                <a:cubicBezTo>
                  <a:pt x="2695" y="418"/>
                  <a:pt x="2685" y="425"/>
                  <a:pt x="2677" y="429"/>
                </a:cubicBezTo>
                <a:cubicBezTo>
                  <a:pt x="2676" y="430"/>
                  <a:pt x="2674" y="431"/>
                  <a:pt x="2673" y="432"/>
                </a:cubicBezTo>
                <a:cubicBezTo>
                  <a:pt x="2673" y="432"/>
                  <a:pt x="2673" y="431"/>
                  <a:pt x="2673" y="431"/>
                </a:cubicBezTo>
                <a:close/>
                <a:moveTo>
                  <a:pt x="2518" y="522"/>
                </a:moveTo>
                <a:cubicBezTo>
                  <a:pt x="2518" y="521"/>
                  <a:pt x="2520" y="517"/>
                  <a:pt x="2523" y="514"/>
                </a:cubicBezTo>
                <a:cubicBezTo>
                  <a:pt x="2524" y="513"/>
                  <a:pt x="2525" y="512"/>
                  <a:pt x="2526" y="511"/>
                </a:cubicBezTo>
                <a:cubicBezTo>
                  <a:pt x="2527" y="517"/>
                  <a:pt x="2530" y="523"/>
                  <a:pt x="2532" y="529"/>
                </a:cubicBezTo>
                <a:cubicBezTo>
                  <a:pt x="2534" y="536"/>
                  <a:pt x="2537" y="542"/>
                  <a:pt x="2536" y="545"/>
                </a:cubicBezTo>
                <a:cubicBezTo>
                  <a:pt x="2536" y="545"/>
                  <a:pt x="2536" y="546"/>
                  <a:pt x="2536" y="546"/>
                </a:cubicBezTo>
                <a:cubicBezTo>
                  <a:pt x="2536" y="548"/>
                  <a:pt x="2535" y="551"/>
                  <a:pt x="2535" y="553"/>
                </a:cubicBezTo>
                <a:cubicBezTo>
                  <a:pt x="2535" y="557"/>
                  <a:pt x="2536" y="560"/>
                  <a:pt x="2538" y="563"/>
                </a:cubicBezTo>
                <a:cubicBezTo>
                  <a:pt x="2540" y="566"/>
                  <a:pt x="2544" y="569"/>
                  <a:pt x="2549" y="569"/>
                </a:cubicBezTo>
                <a:cubicBezTo>
                  <a:pt x="2549" y="569"/>
                  <a:pt x="2550" y="569"/>
                  <a:pt x="2551" y="568"/>
                </a:cubicBezTo>
                <a:cubicBezTo>
                  <a:pt x="2560" y="567"/>
                  <a:pt x="2602" y="556"/>
                  <a:pt x="2602" y="556"/>
                </a:cubicBezTo>
                <a:cubicBezTo>
                  <a:pt x="2604" y="555"/>
                  <a:pt x="2604" y="555"/>
                  <a:pt x="2604" y="555"/>
                </a:cubicBezTo>
                <a:cubicBezTo>
                  <a:pt x="2604" y="555"/>
                  <a:pt x="2618" y="549"/>
                  <a:pt x="2619" y="534"/>
                </a:cubicBezTo>
                <a:cubicBezTo>
                  <a:pt x="2619" y="533"/>
                  <a:pt x="2619" y="532"/>
                  <a:pt x="2618" y="531"/>
                </a:cubicBezTo>
                <a:cubicBezTo>
                  <a:pt x="2618" y="531"/>
                  <a:pt x="2618" y="530"/>
                  <a:pt x="2618" y="530"/>
                </a:cubicBezTo>
                <a:cubicBezTo>
                  <a:pt x="2618" y="527"/>
                  <a:pt x="2621" y="522"/>
                  <a:pt x="2625" y="517"/>
                </a:cubicBezTo>
                <a:cubicBezTo>
                  <a:pt x="2629" y="512"/>
                  <a:pt x="2633" y="508"/>
                  <a:pt x="2635" y="506"/>
                </a:cubicBezTo>
                <a:cubicBezTo>
                  <a:pt x="2638" y="502"/>
                  <a:pt x="2645" y="495"/>
                  <a:pt x="2645" y="485"/>
                </a:cubicBezTo>
                <a:cubicBezTo>
                  <a:pt x="2645" y="479"/>
                  <a:pt x="2641" y="472"/>
                  <a:pt x="2634" y="470"/>
                </a:cubicBezTo>
                <a:cubicBezTo>
                  <a:pt x="2629" y="468"/>
                  <a:pt x="2624" y="467"/>
                  <a:pt x="2622" y="465"/>
                </a:cubicBezTo>
                <a:cubicBezTo>
                  <a:pt x="2621" y="465"/>
                  <a:pt x="2620" y="464"/>
                  <a:pt x="2620" y="464"/>
                </a:cubicBezTo>
                <a:cubicBezTo>
                  <a:pt x="2620" y="464"/>
                  <a:pt x="2620" y="463"/>
                  <a:pt x="2621" y="463"/>
                </a:cubicBezTo>
                <a:cubicBezTo>
                  <a:pt x="2622" y="461"/>
                  <a:pt x="2623" y="459"/>
                  <a:pt x="2626" y="456"/>
                </a:cubicBezTo>
                <a:cubicBezTo>
                  <a:pt x="2633" y="449"/>
                  <a:pt x="2636" y="450"/>
                  <a:pt x="2644" y="449"/>
                </a:cubicBezTo>
                <a:cubicBezTo>
                  <a:pt x="2651" y="448"/>
                  <a:pt x="2659" y="446"/>
                  <a:pt x="2667" y="438"/>
                </a:cubicBezTo>
                <a:cubicBezTo>
                  <a:pt x="2664" y="442"/>
                  <a:pt x="2663" y="447"/>
                  <a:pt x="2663" y="452"/>
                </a:cubicBezTo>
                <a:cubicBezTo>
                  <a:pt x="2663" y="459"/>
                  <a:pt x="2665" y="465"/>
                  <a:pt x="2669" y="469"/>
                </a:cubicBezTo>
                <a:cubicBezTo>
                  <a:pt x="2670" y="472"/>
                  <a:pt x="2672" y="478"/>
                  <a:pt x="2675" y="484"/>
                </a:cubicBezTo>
                <a:cubicBezTo>
                  <a:pt x="2676" y="487"/>
                  <a:pt x="2678" y="490"/>
                  <a:pt x="2680" y="492"/>
                </a:cubicBezTo>
                <a:cubicBezTo>
                  <a:pt x="2682" y="495"/>
                  <a:pt x="2686" y="497"/>
                  <a:pt x="2690" y="497"/>
                </a:cubicBezTo>
                <a:cubicBezTo>
                  <a:pt x="2691" y="497"/>
                  <a:pt x="2692" y="497"/>
                  <a:pt x="2693" y="497"/>
                </a:cubicBezTo>
                <a:cubicBezTo>
                  <a:pt x="2705" y="493"/>
                  <a:pt x="2716" y="485"/>
                  <a:pt x="2724" y="486"/>
                </a:cubicBezTo>
                <a:cubicBezTo>
                  <a:pt x="2725" y="486"/>
                  <a:pt x="2725" y="486"/>
                  <a:pt x="2726" y="486"/>
                </a:cubicBezTo>
                <a:cubicBezTo>
                  <a:pt x="2728" y="486"/>
                  <a:pt x="2731" y="486"/>
                  <a:pt x="2734" y="486"/>
                </a:cubicBezTo>
                <a:cubicBezTo>
                  <a:pt x="2745" y="486"/>
                  <a:pt x="2759" y="485"/>
                  <a:pt x="2763" y="484"/>
                </a:cubicBezTo>
                <a:cubicBezTo>
                  <a:pt x="2764" y="485"/>
                  <a:pt x="2766" y="488"/>
                  <a:pt x="2768" y="490"/>
                </a:cubicBezTo>
                <a:cubicBezTo>
                  <a:pt x="2769" y="492"/>
                  <a:pt x="2770" y="494"/>
                  <a:pt x="2771" y="495"/>
                </a:cubicBezTo>
                <a:cubicBezTo>
                  <a:pt x="2764" y="497"/>
                  <a:pt x="2752" y="496"/>
                  <a:pt x="2734" y="497"/>
                </a:cubicBezTo>
                <a:cubicBezTo>
                  <a:pt x="2724" y="498"/>
                  <a:pt x="2714" y="498"/>
                  <a:pt x="2706" y="499"/>
                </a:cubicBezTo>
                <a:cubicBezTo>
                  <a:pt x="2702" y="499"/>
                  <a:pt x="2698" y="500"/>
                  <a:pt x="2695" y="500"/>
                </a:cubicBezTo>
                <a:cubicBezTo>
                  <a:pt x="2694" y="501"/>
                  <a:pt x="2692" y="501"/>
                  <a:pt x="2691" y="502"/>
                </a:cubicBezTo>
                <a:cubicBezTo>
                  <a:pt x="2689" y="503"/>
                  <a:pt x="2687" y="505"/>
                  <a:pt x="2687" y="509"/>
                </a:cubicBezTo>
                <a:cubicBezTo>
                  <a:pt x="2687" y="512"/>
                  <a:pt x="2689" y="513"/>
                  <a:pt x="2689" y="514"/>
                </a:cubicBezTo>
                <a:cubicBezTo>
                  <a:pt x="2693" y="518"/>
                  <a:pt x="2697" y="520"/>
                  <a:pt x="2701" y="523"/>
                </a:cubicBezTo>
                <a:cubicBezTo>
                  <a:pt x="2703" y="524"/>
                  <a:pt x="2704" y="525"/>
                  <a:pt x="2705" y="525"/>
                </a:cubicBezTo>
                <a:cubicBezTo>
                  <a:pt x="2704" y="526"/>
                  <a:pt x="2703" y="526"/>
                  <a:pt x="2702" y="526"/>
                </a:cubicBezTo>
                <a:cubicBezTo>
                  <a:pt x="2698" y="526"/>
                  <a:pt x="2691" y="522"/>
                  <a:pt x="2681" y="521"/>
                </a:cubicBezTo>
                <a:cubicBezTo>
                  <a:pt x="2680" y="520"/>
                  <a:pt x="2680" y="520"/>
                  <a:pt x="2679" y="520"/>
                </a:cubicBezTo>
                <a:cubicBezTo>
                  <a:pt x="2670" y="521"/>
                  <a:pt x="2665" y="528"/>
                  <a:pt x="2661" y="534"/>
                </a:cubicBezTo>
                <a:cubicBezTo>
                  <a:pt x="2657" y="541"/>
                  <a:pt x="2654" y="548"/>
                  <a:pt x="2653" y="554"/>
                </a:cubicBezTo>
                <a:cubicBezTo>
                  <a:pt x="2652" y="557"/>
                  <a:pt x="2652" y="560"/>
                  <a:pt x="2652" y="563"/>
                </a:cubicBezTo>
                <a:cubicBezTo>
                  <a:pt x="2652" y="566"/>
                  <a:pt x="2652" y="570"/>
                  <a:pt x="2652" y="572"/>
                </a:cubicBezTo>
                <a:cubicBezTo>
                  <a:pt x="2652" y="573"/>
                  <a:pt x="2652" y="574"/>
                  <a:pt x="2652" y="574"/>
                </a:cubicBezTo>
                <a:cubicBezTo>
                  <a:pt x="2651" y="574"/>
                  <a:pt x="2650" y="574"/>
                  <a:pt x="2649" y="573"/>
                </a:cubicBezTo>
                <a:cubicBezTo>
                  <a:pt x="2638" y="569"/>
                  <a:pt x="2629" y="567"/>
                  <a:pt x="2621" y="567"/>
                </a:cubicBezTo>
                <a:cubicBezTo>
                  <a:pt x="2617" y="567"/>
                  <a:pt x="2613" y="568"/>
                  <a:pt x="2609" y="570"/>
                </a:cubicBezTo>
                <a:cubicBezTo>
                  <a:pt x="2606" y="572"/>
                  <a:pt x="2592" y="577"/>
                  <a:pt x="2580" y="581"/>
                </a:cubicBezTo>
                <a:cubicBezTo>
                  <a:pt x="2579" y="582"/>
                  <a:pt x="2578" y="582"/>
                  <a:pt x="2578" y="582"/>
                </a:cubicBezTo>
                <a:cubicBezTo>
                  <a:pt x="2577" y="581"/>
                  <a:pt x="2572" y="574"/>
                  <a:pt x="2562" y="574"/>
                </a:cubicBezTo>
                <a:cubicBezTo>
                  <a:pt x="2561" y="574"/>
                  <a:pt x="2561" y="574"/>
                  <a:pt x="2561" y="574"/>
                </a:cubicBezTo>
                <a:cubicBezTo>
                  <a:pt x="2546" y="574"/>
                  <a:pt x="2546" y="574"/>
                  <a:pt x="2546" y="574"/>
                </a:cubicBezTo>
                <a:cubicBezTo>
                  <a:pt x="2545" y="574"/>
                  <a:pt x="2545" y="574"/>
                  <a:pt x="2545" y="574"/>
                </a:cubicBezTo>
                <a:cubicBezTo>
                  <a:pt x="2538" y="575"/>
                  <a:pt x="2538" y="575"/>
                  <a:pt x="2538" y="575"/>
                </a:cubicBezTo>
                <a:cubicBezTo>
                  <a:pt x="2536" y="573"/>
                  <a:pt x="2533" y="568"/>
                  <a:pt x="2532" y="563"/>
                </a:cubicBezTo>
                <a:cubicBezTo>
                  <a:pt x="2532" y="562"/>
                  <a:pt x="2532" y="562"/>
                  <a:pt x="2532" y="561"/>
                </a:cubicBezTo>
                <a:cubicBezTo>
                  <a:pt x="2532" y="555"/>
                  <a:pt x="2534" y="549"/>
                  <a:pt x="2534" y="543"/>
                </a:cubicBezTo>
                <a:cubicBezTo>
                  <a:pt x="2534" y="540"/>
                  <a:pt x="2533" y="535"/>
                  <a:pt x="2528" y="532"/>
                </a:cubicBezTo>
                <a:cubicBezTo>
                  <a:pt x="2525" y="531"/>
                  <a:pt x="2522" y="531"/>
                  <a:pt x="2520" y="531"/>
                </a:cubicBezTo>
                <a:cubicBezTo>
                  <a:pt x="2516" y="531"/>
                  <a:pt x="2513" y="531"/>
                  <a:pt x="2510" y="532"/>
                </a:cubicBezTo>
                <a:cubicBezTo>
                  <a:pt x="2513" y="530"/>
                  <a:pt x="2517" y="527"/>
                  <a:pt x="2518" y="522"/>
                </a:cubicBezTo>
                <a:close/>
                <a:moveTo>
                  <a:pt x="2636" y="804"/>
                </a:moveTo>
                <a:cubicBezTo>
                  <a:pt x="2635" y="803"/>
                  <a:pt x="2614" y="787"/>
                  <a:pt x="2605" y="782"/>
                </a:cubicBezTo>
                <a:cubicBezTo>
                  <a:pt x="2597" y="778"/>
                  <a:pt x="2583" y="770"/>
                  <a:pt x="2578" y="758"/>
                </a:cubicBezTo>
                <a:cubicBezTo>
                  <a:pt x="2573" y="750"/>
                  <a:pt x="2567" y="745"/>
                  <a:pt x="2562" y="741"/>
                </a:cubicBezTo>
                <a:cubicBezTo>
                  <a:pt x="2557" y="737"/>
                  <a:pt x="2555" y="735"/>
                  <a:pt x="2555" y="732"/>
                </a:cubicBezTo>
                <a:cubicBezTo>
                  <a:pt x="2555" y="732"/>
                  <a:pt x="2555" y="731"/>
                  <a:pt x="2555" y="731"/>
                </a:cubicBezTo>
                <a:cubicBezTo>
                  <a:pt x="2555" y="730"/>
                  <a:pt x="2555" y="730"/>
                  <a:pt x="2555" y="729"/>
                </a:cubicBezTo>
                <a:cubicBezTo>
                  <a:pt x="2555" y="729"/>
                  <a:pt x="2555" y="729"/>
                  <a:pt x="2555" y="729"/>
                </a:cubicBezTo>
                <a:cubicBezTo>
                  <a:pt x="2556" y="729"/>
                  <a:pt x="2556" y="729"/>
                  <a:pt x="2556" y="729"/>
                </a:cubicBezTo>
                <a:cubicBezTo>
                  <a:pt x="2558" y="729"/>
                  <a:pt x="2566" y="734"/>
                  <a:pt x="2571" y="740"/>
                </a:cubicBezTo>
                <a:cubicBezTo>
                  <a:pt x="2581" y="752"/>
                  <a:pt x="2604" y="767"/>
                  <a:pt x="2611" y="776"/>
                </a:cubicBezTo>
                <a:cubicBezTo>
                  <a:pt x="2621" y="787"/>
                  <a:pt x="2632" y="791"/>
                  <a:pt x="2634" y="800"/>
                </a:cubicBezTo>
                <a:cubicBezTo>
                  <a:pt x="2635" y="801"/>
                  <a:pt x="2635" y="803"/>
                  <a:pt x="2636" y="804"/>
                </a:cubicBezTo>
                <a:close/>
                <a:moveTo>
                  <a:pt x="2400" y="645"/>
                </a:moveTo>
                <a:cubicBezTo>
                  <a:pt x="2399" y="645"/>
                  <a:pt x="2399" y="645"/>
                  <a:pt x="2399" y="645"/>
                </a:cubicBezTo>
                <a:cubicBezTo>
                  <a:pt x="2398" y="648"/>
                  <a:pt x="2398" y="648"/>
                  <a:pt x="2395" y="649"/>
                </a:cubicBezTo>
                <a:cubicBezTo>
                  <a:pt x="2395" y="649"/>
                  <a:pt x="2394" y="649"/>
                  <a:pt x="2393" y="649"/>
                </a:cubicBezTo>
                <a:cubicBezTo>
                  <a:pt x="2395" y="648"/>
                  <a:pt x="2397" y="647"/>
                  <a:pt x="2400" y="645"/>
                </a:cubicBezTo>
                <a:close/>
                <a:moveTo>
                  <a:pt x="2831" y="1487"/>
                </a:moveTo>
                <a:cubicBezTo>
                  <a:pt x="2829" y="1490"/>
                  <a:pt x="2827" y="1494"/>
                  <a:pt x="2825" y="1496"/>
                </a:cubicBezTo>
                <a:cubicBezTo>
                  <a:pt x="2824" y="1497"/>
                  <a:pt x="2823" y="1497"/>
                  <a:pt x="2822" y="1498"/>
                </a:cubicBezTo>
                <a:cubicBezTo>
                  <a:pt x="2822" y="1498"/>
                  <a:pt x="2822" y="1498"/>
                  <a:pt x="2822" y="1498"/>
                </a:cubicBezTo>
                <a:cubicBezTo>
                  <a:pt x="2822" y="1497"/>
                  <a:pt x="2821" y="1496"/>
                  <a:pt x="2821" y="1494"/>
                </a:cubicBezTo>
                <a:cubicBezTo>
                  <a:pt x="2820" y="1492"/>
                  <a:pt x="2820" y="1488"/>
                  <a:pt x="2820" y="1485"/>
                </a:cubicBezTo>
                <a:cubicBezTo>
                  <a:pt x="2820" y="1477"/>
                  <a:pt x="2822" y="1467"/>
                  <a:pt x="2823" y="1465"/>
                </a:cubicBezTo>
                <a:cubicBezTo>
                  <a:pt x="2823" y="1465"/>
                  <a:pt x="2823" y="1466"/>
                  <a:pt x="2823" y="1466"/>
                </a:cubicBezTo>
                <a:cubicBezTo>
                  <a:pt x="2825" y="1464"/>
                  <a:pt x="2829" y="1464"/>
                  <a:pt x="2833" y="1464"/>
                </a:cubicBezTo>
                <a:cubicBezTo>
                  <a:pt x="2833" y="1464"/>
                  <a:pt x="2834" y="1464"/>
                  <a:pt x="2834" y="1464"/>
                </a:cubicBezTo>
                <a:cubicBezTo>
                  <a:pt x="2836" y="1464"/>
                  <a:pt x="2837" y="1463"/>
                  <a:pt x="2838" y="1464"/>
                </a:cubicBezTo>
                <a:cubicBezTo>
                  <a:pt x="2838" y="1464"/>
                  <a:pt x="2838" y="1463"/>
                  <a:pt x="2839" y="1464"/>
                </a:cubicBezTo>
                <a:cubicBezTo>
                  <a:pt x="2839" y="1464"/>
                  <a:pt x="2839" y="1464"/>
                  <a:pt x="2839" y="1465"/>
                </a:cubicBezTo>
                <a:cubicBezTo>
                  <a:pt x="2839" y="1470"/>
                  <a:pt x="2836" y="1480"/>
                  <a:pt x="2831" y="1487"/>
                </a:cubicBezTo>
                <a:close/>
                <a:moveTo>
                  <a:pt x="2836" y="953"/>
                </a:moveTo>
                <a:cubicBezTo>
                  <a:pt x="2835" y="954"/>
                  <a:pt x="2835" y="954"/>
                  <a:pt x="2835" y="954"/>
                </a:cubicBezTo>
                <a:cubicBezTo>
                  <a:pt x="2835" y="954"/>
                  <a:pt x="2835" y="955"/>
                  <a:pt x="2832" y="955"/>
                </a:cubicBezTo>
                <a:cubicBezTo>
                  <a:pt x="2829" y="955"/>
                  <a:pt x="2825" y="955"/>
                  <a:pt x="2821" y="956"/>
                </a:cubicBezTo>
                <a:cubicBezTo>
                  <a:pt x="2817" y="951"/>
                  <a:pt x="2813" y="946"/>
                  <a:pt x="2805" y="946"/>
                </a:cubicBezTo>
                <a:cubicBezTo>
                  <a:pt x="2804" y="946"/>
                  <a:pt x="2802" y="946"/>
                  <a:pt x="2801" y="947"/>
                </a:cubicBezTo>
                <a:cubicBezTo>
                  <a:pt x="2794" y="949"/>
                  <a:pt x="2785" y="950"/>
                  <a:pt x="2776" y="953"/>
                </a:cubicBezTo>
                <a:cubicBezTo>
                  <a:pt x="2776" y="953"/>
                  <a:pt x="2776" y="952"/>
                  <a:pt x="2776" y="951"/>
                </a:cubicBezTo>
                <a:cubicBezTo>
                  <a:pt x="2776" y="950"/>
                  <a:pt x="2776" y="948"/>
                  <a:pt x="2775" y="947"/>
                </a:cubicBezTo>
                <a:cubicBezTo>
                  <a:pt x="2772" y="942"/>
                  <a:pt x="2767" y="941"/>
                  <a:pt x="2763" y="940"/>
                </a:cubicBezTo>
                <a:cubicBezTo>
                  <a:pt x="2758" y="939"/>
                  <a:pt x="2753" y="939"/>
                  <a:pt x="2747" y="939"/>
                </a:cubicBezTo>
                <a:cubicBezTo>
                  <a:pt x="2738" y="939"/>
                  <a:pt x="2729" y="940"/>
                  <a:pt x="2723" y="940"/>
                </a:cubicBezTo>
                <a:cubicBezTo>
                  <a:pt x="2711" y="940"/>
                  <a:pt x="2699" y="930"/>
                  <a:pt x="2685" y="926"/>
                </a:cubicBezTo>
                <a:cubicBezTo>
                  <a:pt x="2684" y="926"/>
                  <a:pt x="2682" y="925"/>
                  <a:pt x="2681" y="925"/>
                </a:cubicBezTo>
                <a:cubicBezTo>
                  <a:pt x="2673" y="926"/>
                  <a:pt x="2666" y="930"/>
                  <a:pt x="2659" y="936"/>
                </a:cubicBezTo>
                <a:cubicBezTo>
                  <a:pt x="2653" y="942"/>
                  <a:pt x="2647" y="949"/>
                  <a:pt x="2641" y="956"/>
                </a:cubicBezTo>
                <a:cubicBezTo>
                  <a:pt x="2637" y="960"/>
                  <a:pt x="2635" y="961"/>
                  <a:pt x="2633" y="961"/>
                </a:cubicBezTo>
                <a:cubicBezTo>
                  <a:pt x="2630" y="961"/>
                  <a:pt x="2624" y="958"/>
                  <a:pt x="2616" y="957"/>
                </a:cubicBezTo>
                <a:cubicBezTo>
                  <a:pt x="2614" y="958"/>
                  <a:pt x="2606" y="954"/>
                  <a:pt x="2601" y="950"/>
                </a:cubicBezTo>
                <a:cubicBezTo>
                  <a:pt x="2595" y="945"/>
                  <a:pt x="2590" y="941"/>
                  <a:pt x="2590" y="941"/>
                </a:cubicBezTo>
                <a:cubicBezTo>
                  <a:pt x="2589" y="940"/>
                  <a:pt x="2589" y="940"/>
                  <a:pt x="2589" y="940"/>
                </a:cubicBezTo>
                <a:cubicBezTo>
                  <a:pt x="2589" y="940"/>
                  <a:pt x="2584" y="938"/>
                  <a:pt x="2577" y="935"/>
                </a:cubicBezTo>
                <a:cubicBezTo>
                  <a:pt x="2571" y="933"/>
                  <a:pt x="2564" y="930"/>
                  <a:pt x="2558" y="930"/>
                </a:cubicBezTo>
                <a:cubicBezTo>
                  <a:pt x="2558" y="930"/>
                  <a:pt x="2557" y="929"/>
                  <a:pt x="2554" y="928"/>
                </a:cubicBezTo>
                <a:cubicBezTo>
                  <a:pt x="2551" y="926"/>
                  <a:pt x="2546" y="922"/>
                  <a:pt x="2542" y="919"/>
                </a:cubicBezTo>
                <a:cubicBezTo>
                  <a:pt x="2540" y="917"/>
                  <a:pt x="2538" y="916"/>
                  <a:pt x="2537" y="915"/>
                </a:cubicBezTo>
                <a:cubicBezTo>
                  <a:pt x="2535" y="914"/>
                  <a:pt x="2533" y="912"/>
                  <a:pt x="2530" y="912"/>
                </a:cubicBezTo>
                <a:cubicBezTo>
                  <a:pt x="2530" y="912"/>
                  <a:pt x="2528" y="910"/>
                  <a:pt x="2526" y="909"/>
                </a:cubicBezTo>
                <a:cubicBezTo>
                  <a:pt x="2525" y="908"/>
                  <a:pt x="2524" y="906"/>
                  <a:pt x="2524" y="906"/>
                </a:cubicBezTo>
                <a:cubicBezTo>
                  <a:pt x="2524" y="906"/>
                  <a:pt x="2524" y="905"/>
                  <a:pt x="2525" y="905"/>
                </a:cubicBezTo>
                <a:cubicBezTo>
                  <a:pt x="2526" y="904"/>
                  <a:pt x="2528" y="904"/>
                  <a:pt x="2531" y="904"/>
                </a:cubicBezTo>
                <a:cubicBezTo>
                  <a:pt x="2533" y="904"/>
                  <a:pt x="2536" y="903"/>
                  <a:pt x="2538" y="901"/>
                </a:cubicBezTo>
                <a:cubicBezTo>
                  <a:pt x="2540" y="898"/>
                  <a:pt x="2541" y="895"/>
                  <a:pt x="2541" y="893"/>
                </a:cubicBezTo>
                <a:cubicBezTo>
                  <a:pt x="2540" y="888"/>
                  <a:pt x="2539" y="883"/>
                  <a:pt x="2537" y="874"/>
                </a:cubicBezTo>
                <a:cubicBezTo>
                  <a:pt x="2531" y="854"/>
                  <a:pt x="2518" y="846"/>
                  <a:pt x="2507" y="846"/>
                </a:cubicBezTo>
                <a:cubicBezTo>
                  <a:pt x="2500" y="846"/>
                  <a:pt x="2494" y="849"/>
                  <a:pt x="2490" y="851"/>
                </a:cubicBezTo>
                <a:cubicBezTo>
                  <a:pt x="2490" y="851"/>
                  <a:pt x="2490" y="851"/>
                  <a:pt x="2489" y="851"/>
                </a:cubicBezTo>
                <a:cubicBezTo>
                  <a:pt x="2482" y="852"/>
                  <a:pt x="2463" y="853"/>
                  <a:pt x="2447" y="853"/>
                </a:cubicBezTo>
                <a:cubicBezTo>
                  <a:pt x="2435" y="853"/>
                  <a:pt x="2425" y="853"/>
                  <a:pt x="2423" y="853"/>
                </a:cubicBezTo>
                <a:cubicBezTo>
                  <a:pt x="2419" y="853"/>
                  <a:pt x="2417" y="854"/>
                  <a:pt x="2413" y="855"/>
                </a:cubicBezTo>
                <a:cubicBezTo>
                  <a:pt x="2400" y="860"/>
                  <a:pt x="2380" y="868"/>
                  <a:pt x="2371" y="873"/>
                </a:cubicBezTo>
                <a:cubicBezTo>
                  <a:pt x="2362" y="878"/>
                  <a:pt x="2345" y="884"/>
                  <a:pt x="2338" y="888"/>
                </a:cubicBezTo>
                <a:cubicBezTo>
                  <a:pt x="2338" y="888"/>
                  <a:pt x="2338" y="888"/>
                  <a:pt x="2337" y="888"/>
                </a:cubicBezTo>
                <a:cubicBezTo>
                  <a:pt x="2334" y="888"/>
                  <a:pt x="2324" y="886"/>
                  <a:pt x="2315" y="886"/>
                </a:cubicBezTo>
                <a:cubicBezTo>
                  <a:pt x="2316" y="883"/>
                  <a:pt x="2317" y="881"/>
                  <a:pt x="2318" y="878"/>
                </a:cubicBezTo>
                <a:cubicBezTo>
                  <a:pt x="2319" y="877"/>
                  <a:pt x="2320" y="876"/>
                  <a:pt x="2320" y="875"/>
                </a:cubicBezTo>
                <a:cubicBezTo>
                  <a:pt x="2323" y="876"/>
                  <a:pt x="2325" y="876"/>
                  <a:pt x="2327" y="876"/>
                </a:cubicBezTo>
                <a:cubicBezTo>
                  <a:pt x="2336" y="876"/>
                  <a:pt x="2345" y="873"/>
                  <a:pt x="2352" y="872"/>
                </a:cubicBezTo>
                <a:cubicBezTo>
                  <a:pt x="2360" y="871"/>
                  <a:pt x="2365" y="865"/>
                  <a:pt x="2369" y="861"/>
                </a:cubicBezTo>
                <a:cubicBezTo>
                  <a:pt x="2373" y="856"/>
                  <a:pt x="2377" y="851"/>
                  <a:pt x="2381" y="849"/>
                </a:cubicBezTo>
                <a:cubicBezTo>
                  <a:pt x="2383" y="847"/>
                  <a:pt x="2385" y="846"/>
                  <a:pt x="2387" y="844"/>
                </a:cubicBezTo>
                <a:cubicBezTo>
                  <a:pt x="2388" y="843"/>
                  <a:pt x="2390" y="840"/>
                  <a:pt x="2390" y="837"/>
                </a:cubicBezTo>
                <a:cubicBezTo>
                  <a:pt x="2390" y="834"/>
                  <a:pt x="2388" y="832"/>
                  <a:pt x="2387" y="831"/>
                </a:cubicBezTo>
                <a:cubicBezTo>
                  <a:pt x="2386" y="829"/>
                  <a:pt x="2385" y="828"/>
                  <a:pt x="2384" y="826"/>
                </a:cubicBezTo>
                <a:cubicBezTo>
                  <a:pt x="2384" y="826"/>
                  <a:pt x="2384" y="826"/>
                  <a:pt x="2384" y="826"/>
                </a:cubicBezTo>
                <a:cubicBezTo>
                  <a:pt x="2384" y="825"/>
                  <a:pt x="2386" y="822"/>
                  <a:pt x="2390" y="818"/>
                </a:cubicBezTo>
                <a:cubicBezTo>
                  <a:pt x="2393" y="814"/>
                  <a:pt x="2398" y="809"/>
                  <a:pt x="2402" y="805"/>
                </a:cubicBezTo>
                <a:cubicBezTo>
                  <a:pt x="2404" y="802"/>
                  <a:pt x="2407" y="802"/>
                  <a:pt x="2413" y="801"/>
                </a:cubicBezTo>
                <a:cubicBezTo>
                  <a:pt x="2416" y="801"/>
                  <a:pt x="2419" y="801"/>
                  <a:pt x="2422" y="799"/>
                </a:cubicBezTo>
                <a:cubicBezTo>
                  <a:pt x="2425" y="798"/>
                  <a:pt x="2428" y="794"/>
                  <a:pt x="2429" y="790"/>
                </a:cubicBezTo>
                <a:cubicBezTo>
                  <a:pt x="2431" y="784"/>
                  <a:pt x="2432" y="777"/>
                  <a:pt x="2434" y="772"/>
                </a:cubicBezTo>
                <a:cubicBezTo>
                  <a:pt x="2435" y="769"/>
                  <a:pt x="2436" y="767"/>
                  <a:pt x="2436" y="766"/>
                </a:cubicBezTo>
                <a:cubicBezTo>
                  <a:pt x="2437" y="766"/>
                  <a:pt x="2437" y="766"/>
                  <a:pt x="2437" y="766"/>
                </a:cubicBezTo>
                <a:cubicBezTo>
                  <a:pt x="2445" y="767"/>
                  <a:pt x="2457" y="774"/>
                  <a:pt x="2467" y="774"/>
                </a:cubicBezTo>
                <a:cubicBezTo>
                  <a:pt x="2475" y="773"/>
                  <a:pt x="2481" y="769"/>
                  <a:pt x="2487" y="765"/>
                </a:cubicBezTo>
                <a:cubicBezTo>
                  <a:pt x="2493" y="761"/>
                  <a:pt x="2500" y="756"/>
                  <a:pt x="2500" y="755"/>
                </a:cubicBezTo>
                <a:cubicBezTo>
                  <a:pt x="2500" y="755"/>
                  <a:pt x="2500" y="755"/>
                  <a:pt x="2500" y="755"/>
                </a:cubicBezTo>
                <a:cubicBezTo>
                  <a:pt x="2500" y="755"/>
                  <a:pt x="2500" y="755"/>
                  <a:pt x="2500" y="755"/>
                </a:cubicBezTo>
                <a:cubicBezTo>
                  <a:pt x="2501" y="755"/>
                  <a:pt x="2502" y="755"/>
                  <a:pt x="2503" y="755"/>
                </a:cubicBezTo>
                <a:cubicBezTo>
                  <a:pt x="2506" y="755"/>
                  <a:pt x="2509" y="755"/>
                  <a:pt x="2511" y="757"/>
                </a:cubicBezTo>
                <a:cubicBezTo>
                  <a:pt x="2514" y="758"/>
                  <a:pt x="2515" y="760"/>
                  <a:pt x="2516" y="762"/>
                </a:cubicBezTo>
                <a:cubicBezTo>
                  <a:pt x="2517" y="771"/>
                  <a:pt x="2524" y="778"/>
                  <a:pt x="2530" y="784"/>
                </a:cubicBezTo>
                <a:cubicBezTo>
                  <a:pt x="2536" y="790"/>
                  <a:pt x="2542" y="795"/>
                  <a:pt x="2545" y="796"/>
                </a:cubicBezTo>
                <a:cubicBezTo>
                  <a:pt x="2548" y="798"/>
                  <a:pt x="2556" y="802"/>
                  <a:pt x="2565" y="805"/>
                </a:cubicBezTo>
                <a:cubicBezTo>
                  <a:pt x="2570" y="807"/>
                  <a:pt x="2574" y="809"/>
                  <a:pt x="2577" y="810"/>
                </a:cubicBezTo>
                <a:cubicBezTo>
                  <a:pt x="2580" y="812"/>
                  <a:pt x="2583" y="814"/>
                  <a:pt x="2583" y="814"/>
                </a:cubicBezTo>
                <a:cubicBezTo>
                  <a:pt x="2586" y="816"/>
                  <a:pt x="2593" y="828"/>
                  <a:pt x="2595" y="838"/>
                </a:cubicBezTo>
                <a:cubicBezTo>
                  <a:pt x="2597" y="845"/>
                  <a:pt x="2600" y="851"/>
                  <a:pt x="2607" y="851"/>
                </a:cubicBezTo>
                <a:cubicBezTo>
                  <a:pt x="2614" y="851"/>
                  <a:pt x="2618" y="845"/>
                  <a:pt x="2618" y="839"/>
                </a:cubicBezTo>
                <a:cubicBezTo>
                  <a:pt x="2619" y="838"/>
                  <a:pt x="2619" y="837"/>
                  <a:pt x="2619" y="836"/>
                </a:cubicBezTo>
                <a:cubicBezTo>
                  <a:pt x="2619" y="829"/>
                  <a:pt x="2617" y="822"/>
                  <a:pt x="2617" y="818"/>
                </a:cubicBezTo>
                <a:cubicBezTo>
                  <a:pt x="2617" y="818"/>
                  <a:pt x="2618" y="818"/>
                  <a:pt x="2618" y="818"/>
                </a:cubicBezTo>
                <a:cubicBezTo>
                  <a:pt x="2627" y="818"/>
                  <a:pt x="2635" y="815"/>
                  <a:pt x="2636" y="815"/>
                </a:cubicBezTo>
                <a:cubicBezTo>
                  <a:pt x="2637" y="814"/>
                  <a:pt x="2636" y="812"/>
                  <a:pt x="2640" y="810"/>
                </a:cubicBezTo>
                <a:cubicBezTo>
                  <a:pt x="2640" y="810"/>
                  <a:pt x="2640" y="810"/>
                  <a:pt x="2640" y="810"/>
                </a:cubicBezTo>
                <a:cubicBezTo>
                  <a:pt x="2644" y="820"/>
                  <a:pt x="2651" y="829"/>
                  <a:pt x="2653" y="833"/>
                </a:cubicBezTo>
                <a:cubicBezTo>
                  <a:pt x="2654" y="835"/>
                  <a:pt x="2658" y="844"/>
                  <a:pt x="2661" y="853"/>
                </a:cubicBezTo>
                <a:cubicBezTo>
                  <a:pt x="2665" y="862"/>
                  <a:pt x="2669" y="871"/>
                  <a:pt x="2671" y="875"/>
                </a:cubicBezTo>
                <a:cubicBezTo>
                  <a:pt x="2672" y="879"/>
                  <a:pt x="2677" y="881"/>
                  <a:pt x="2680" y="881"/>
                </a:cubicBezTo>
                <a:cubicBezTo>
                  <a:pt x="2689" y="881"/>
                  <a:pt x="2696" y="874"/>
                  <a:pt x="2701" y="870"/>
                </a:cubicBezTo>
                <a:cubicBezTo>
                  <a:pt x="2703" y="868"/>
                  <a:pt x="2706" y="866"/>
                  <a:pt x="2711" y="863"/>
                </a:cubicBezTo>
                <a:cubicBezTo>
                  <a:pt x="2715" y="860"/>
                  <a:pt x="2719" y="854"/>
                  <a:pt x="2720" y="847"/>
                </a:cubicBezTo>
                <a:cubicBezTo>
                  <a:pt x="2720" y="846"/>
                  <a:pt x="2720" y="846"/>
                  <a:pt x="2720" y="845"/>
                </a:cubicBezTo>
                <a:cubicBezTo>
                  <a:pt x="2720" y="837"/>
                  <a:pt x="2715" y="831"/>
                  <a:pt x="2710" y="827"/>
                </a:cubicBezTo>
                <a:cubicBezTo>
                  <a:pt x="2708" y="825"/>
                  <a:pt x="2705" y="823"/>
                  <a:pt x="2703" y="822"/>
                </a:cubicBezTo>
                <a:cubicBezTo>
                  <a:pt x="2704" y="821"/>
                  <a:pt x="2705" y="821"/>
                  <a:pt x="2707" y="820"/>
                </a:cubicBezTo>
                <a:cubicBezTo>
                  <a:pt x="2710" y="818"/>
                  <a:pt x="2714" y="816"/>
                  <a:pt x="2717" y="814"/>
                </a:cubicBezTo>
                <a:cubicBezTo>
                  <a:pt x="2720" y="810"/>
                  <a:pt x="2726" y="806"/>
                  <a:pt x="2728" y="805"/>
                </a:cubicBezTo>
                <a:cubicBezTo>
                  <a:pt x="2728" y="805"/>
                  <a:pt x="2728" y="805"/>
                  <a:pt x="2728" y="805"/>
                </a:cubicBezTo>
                <a:cubicBezTo>
                  <a:pt x="2729" y="806"/>
                  <a:pt x="2730" y="817"/>
                  <a:pt x="2730" y="827"/>
                </a:cubicBezTo>
                <a:cubicBezTo>
                  <a:pt x="2731" y="832"/>
                  <a:pt x="2731" y="837"/>
                  <a:pt x="2731" y="841"/>
                </a:cubicBezTo>
                <a:cubicBezTo>
                  <a:pt x="2731" y="845"/>
                  <a:pt x="2731" y="848"/>
                  <a:pt x="2732" y="851"/>
                </a:cubicBezTo>
                <a:cubicBezTo>
                  <a:pt x="2734" y="855"/>
                  <a:pt x="2737" y="857"/>
                  <a:pt x="2740" y="859"/>
                </a:cubicBezTo>
                <a:cubicBezTo>
                  <a:pt x="2744" y="862"/>
                  <a:pt x="2749" y="864"/>
                  <a:pt x="2754" y="867"/>
                </a:cubicBezTo>
                <a:cubicBezTo>
                  <a:pt x="2759" y="869"/>
                  <a:pt x="2763" y="873"/>
                  <a:pt x="2763" y="873"/>
                </a:cubicBezTo>
                <a:cubicBezTo>
                  <a:pt x="2769" y="881"/>
                  <a:pt x="2779" y="883"/>
                  <a:pt x="2788" y="883"/>
                </a:cubicBezTo>
                <a:cubicBezTo>
                  <a:pt x="2792" y="883"/>
                  <a:pt x="2795" y="884"/>
                  <a:pt x="2799" y="880"/>
                </a:cubicBezTo>
                <a:cubicBezTo>
                  <a:pt x="2799" y="880"/>
                  <a:pt x="2799" y="880"/>
                  <a:pt x="2800" y="880"/>
                </a:cubicBezTo>
                <a:cubicBezTo>
                  <a:pt x="2804" y="880"/>
                  <a:pt x="2816" y="884"/>
                  <a:pt x="2820" y="885"/>
                </a:cubicBezTo>
                <a:cubicBezTo>
                  <a:pt x="2822" y="886"/>
                  <a:pt x="2823" y="886"/>
                  <a:pt x="2824" y="886"/>
                </a:cubicBezTo>
                <a:cubicBezTo>
                  <a:pt x="2832" y="886"/>
                  <a:pt x="2843" y="882"/>
                  <a:pt x="2851" y="880"/>
                </a:cubicBezTo>
                <a:cubicBezTo>
                  <a:pt x="2855" y="878"/>
                  <a:pt x="2859" y="877"/>
                  <a:pt x="2861" y="876"/>
                </a:cubicBezTo>
                <a:cubicBezTo>
                  <a:pt x="2861" y="877"/>
                  <a:pt x="2861" y="877"/>
                  <a:pt x="2861" y="878"/>
                </a:cubicBezTo>
                <a:cubicBezTo>
                  <a:pt x="2861" y="879"/>
                  <a:pt x="2861" y="880"/>
                  <a:pt x="2861" y="881"/>
                </a:cubicBezTo>
                <a:cubicBezTo>
                  <a:pt x="2860" y="898"/>
                  <a:pt x="2856" y="925"/>
                  <a:pt x="2846" y="936"/>
                </a:cubicBezTo>
                <a:cubicBezTo>
                  <a:pt x="2840" y="944"/>
                  <a:pt x="2837" y="950"/>
                  <a:pt x="2836" y="953"/>
                </a:cubicBezTo>
                <a:close/>
                <a:moveTo>
                  <a:pt x="2953" y="1233"/>
                </a:moveTo>
                <a:cubicBezTo>
                  <a:pt x="2950" y="1230"/>
                  <a:pt x="2948" y="1227"/>
                  <a:pt x="2944" y="1225"/>
                </a:cubicBezTo>
                <a:cubicBezTo>
                  <a:pt x="2944" y="1225"/>
                  <a:pt x="2944" y="1225"/>
                  <a:pt x="2944" y="1225"/>
                </a:cubicBezTo>
                <a:cubicBezTo>
                  <a:pt x="2944" y="1225"/>
                  <a:pt x="2939" y="1220"/>
                  <a:pt x="2935" y="1215"/>
                </a:cubicBezTo>
                <a:cubicBezTo>
                  <a:pt x="2931" y="1209"/>
                  <a:pt x="2926" y="1202"/>
                  <a:pt x="2924" y="1195"/>
                </a:cubicBezTo>
                <a:cubicBezTo>
                  <a:pt x="2918" y="1178"/>
                  <a:pt x="2910" y="1157"/>
                  <a:pt x="2900" y="1143"/>
                </a:cubicBezTo>
                <a:cubicBezTo>
                  <a:pt x="2892" y="1133"/>
                  <a:pt x="2886" y="1104"/>
                  <a:pt x="2877" y="1084"/>
                </a:cubicBezTo>
                <a:cubicBezTo>
                  <a:pt x="2868" y="1065"/>
                  <a:pt x="2860" y="1040"/>
                  <a:pt x="2852" y="1022"/>
                </a:cubicBezTo>
                <a:cubicBezTo>
                  <a:pt x="2851" y="1019"/>
                  <a:pt x="2850" y="1017"/>
                  <a:pt x="2848" y="1015"/>
                </a:cubicBezTo>
                <a:cubicBezTo>
                  <a:pt x="2853" y="1014"/>
                  <a:pt x="2858" y="1012"/>
                  <a:pt x="2861" y="1013"/>
                </a:cubicBezTo>
                <a:cubicBezTo>
                  <a:pt x="2862" y="1013"/>
                  <a:pt x="2862" y="1013"/>
                  <a:pt x="2862" y="1013"/>
                </a:cubicBezTo>
                <a:cubicBezTo>
                  <a:pt x="2866" y="1024"/>
                  <a:pt x="2877" y="1044"/>
                  <a:pt x="2879" y="1057"/>
                </a:cubicBezTo>
                <a:cubicBezTo>
                  <a:pt x="2880" y="1066"/>
                  <a:pt x="2887" y="1071"/>
                  <a:pt x="2890" y="1073"/>
                </a:cubicBezTo>
                <a:cubicBezTo>
                  <a:pt x="2894" y="1076"/>
                  <a:pt x="2894" y="1075"/>
                  <a:pt x="2895" y="1080"/>
                </a:cubicBezTo>
                <a:cubicBezTo>
                  <a:pt x="2896" y="1088"/>
                  <a:pt x="2899" y="1100"/>
                  <a:pt x="2903" y="1110"/>
                </a:cubicBezTo>
                <a:cubicBezTo>
                  <a:pt x="2905" y="1116"/>
                  <a:pt x="2907" y="1121"/>
                  <a:pt x="2909" y="1125"/>
                </a:cubicBezTo>
                <a:cubicBezTo>
                  <a:pt x="2911" y="1129"/>
                  <a:pt x="2912" y="1132"/>
                  <a:pt x="2915" y="1135"/>
                </a:cubicBezTo>
                <a:cubicBezTo>
                  <a:pt x="2916" y="1137"/>
                  <a:pt x="2923" y="1143"/>
                  <a:pt x="2929" y="1150"/>
                </a:cubicBezTo>
                <a:cubicBezTo>
                  <a:pt x="2935" y="1157"/>
                  <a:pt x="2941" y="1165"/>
                  <a:pt x="2942" y="1167"/>
                </a:cubicBezTo>
                <a:cubicBezTo>
                  <a:pt x="2945" y="1175"/>
                  <a:pt x="2949" y="1186"/>
                  <a:pt x="2953" y="1206"/>
                </a:cubicBezTo>
                <a:cubicBezTo>
                  <a:pt x="2955" y="1216"/>
                  <a:pt x="2956" y="1228"/>
                  <a:pt x="2959" y="1239"/>
                </a:cubicBezTo>
                <a:cubicBezTo>
                  <a:pt x="2959" y="1240"/>
                  <a:pt x="2959" y="1242"/>
                  <a:pt x="2960" y="1243"/>
                </a:cubicBezTo>
                <a:cubicBezTo>
                  <a:pt x="2958" y="1239"/>
                  <a:pt x="2955" y="1236"/>
                  <a:pt x="2953" y="1233"/>
                </a:cubicBezTo>
                <a:close/>
                <a:moveTo>
                  <a:pt x="3061" y="753"/>
                </a:moveTo>
                <a:cubicBezTo>
                  <a:pt x="3062" y="756"/>
                  <a:pt x="3066" y="758"/>
                  <a:pt x="3068" y="758"/>
                </a:cubicBezTo>
                <a:cubicBezTo>
                  <a:pt x="3071" y="757"/>
                  <a:pt x="3072" y="757"/>
                  <a:pt x="3073" y="757"/>
                </a:cubicBezTo>
                <a:cubicBezTo>
                  <a:pt x="3073" y="757"/>
                  <a:pt x="3073" y="757"/>
                  <a:pt x="3074" y="757"/>
                </a:cubicBezTo>
                <a:cubicBezTo>
                  <a:pt x="3079" y="761"/>
                  <a:pt x="3081" y="768"/>
                  <a:pt x="3086" y="778"/>
                </a:cubicBezTo>
                <a:cubicBezTo>
                  <a:pt x="3089" y="784"/>
                  <a:pt x="3094" y="786"/>
                  <a:pt x="3098" y="787"/>
                </a:cubicBezTo>
                <a:cubicBezTo>
                  <a:pt x="3101" y="788"/>
                  <a:pt x="3103" y="789"/>
                  <a:pt x="3104" y="790"/>
                </a:cubicBezTo>
                <a:cubicBezTo>
                  <a:pt x="3103" y="791"/>
                  <a:pt x="3102" y="793"/>
                  <a:pt x="3100" y="795"/>
                </a:cubicBezTo>
                <a:cubicBezTo>
                  <a:pt x="3098" y="797"/>
                  <a:pt x="3095" y="800"/>
                  <a:pt x="3094" y="806"/>
                </a:cubicBezTo>
                <a:cubicBezTo>
                  <a:pt x="3094" y="809"/>
                  <a:pt x="3096" y="813"/>
                  <a:pt x="3099" y="815"/>
                </a:cubicBezTo>
                <a:cubicBezTo>
                  <a:pt x="3101" y="817"/>
                  <a:pt x="3105" y="827"/>
                  <a:pt x="3107" y="837"/>
                </a:cubicBezTo>
                <a:cubicBezTo>
                  <a:pt x="3109" y="846"/>
                  <a:pt x="3111" y="855"/>
                  <a:pt x="3111" y="860"/>
                </a:cubicBezTo>
                <a:cubicBezTo>
                  <a:pt x="3110" y="861"/>
                  <a:pt x="3107" y="863"/>
                  <a:pt x="3103" y="863"/>
                </a:cubicBezTo>
                <a:cubicBezTo>
                  <a:pt x="3098" y="865"/>
                  <a:pt x="3092" y="865"/>
                  <a:pt x="3088" y="865"/>
                </a:cubicBezTo>
                <a:cubicBezTo>
                  <a:pt x="3087" y="865"/>
                  <a:pt x="3086" y="865"/>
                  <a:pt x="3085" y="865"/>
                </a:cubicBezTo>
                <a:cubicBezTo>
                  <a:pt x="3079" y="864"/>
                  <a:pt x="3055" y="855"/>
                  <a:pt x="3046" y="852"/>
                </a:cubicBezTo>
                <a:cubicBezTo>
                  <a:pt x="3045" y="851"/>
                  <a:pt x="3041" y="840"/>
                  <a:pt x="3042" y="833"/>
                </a:cubicBezTo>
                <a:cubicBezTo>
                  <a:pt x="3042" y="831"/>
                  <a:pt x="3042" y="829"/>
                  <a:pt x="3042" y="828"/>
                </a:cubicBezTo>
                <a:cubicBezTo>
                  <a:pt x="3043" y="828"/>
                  <a:pt x="3044" y="828"/>
                  <a:pt x="3045" y="828"/>
                </a:cubicBezTo>
                <a:cubicBezTo>
                  <a:pt x="3050" y="828"/>
                  <a:pt x="3055" y="826"/>
                  <a:pt x="3058" y="823"/>
                </a:cubicBezTo>
                <a:cubicBezTo>
                  <a:pt x="3062" y="820"/>
                  <a:pt x="3065" y="816"/>
                  <a:pt x="3070" y="811"/>
                </a:cubicBezTo>
                <a:cubicBezTo>
                  <a:pt x="3073" y="808"/>
                  <a:pt x="3075" y="805"/>
                  <a:pt x="3075" y="801"/>
                </a:cubicBezTo>
                <a:cubicBezTo>
                  <a:pt x="3074" y="796"/>
                  <a:pt x="3072" y="793"/>
                  <a:pt x="3069" y="790"/>
                </a:cubicBezTo>
                <a:cubicBezTo>
                  <a:pt x="3060" y="784"/>
                  <a:pt x="3047" y="782"/>
                  <a:pt x="3042" y="780"/>
                </a:cubicBezTo>
                <a:cubicBezTo>
                  <a:pt x="3042" y="780"/>
                  <a:pt x="3042" y="780"/>
                  <a:pt x="3042" y="780"/>
                </a:cubicBezTo>
                <a:cubicBezTo>
                  <a:pt x="3040" y="779"/>
                  <a:pt x="3034" y="770"/>
                  <a:pt x="3029" y="762"/>
                </a:cubicBezTo>
                <a:cubicBezTo>
                  <a:pt x="3023" y="754"/>
                  <a:pt x="3019" y="745"/>
                  <a:pt x="3016" y="740"/>
                </a:cubicBezTo>
                <a:cubicBezTo>
                  <a:pt x="3015" y="738"/>
                  <a:pt x="3014" y="736"/>
                  <a:pt x="3014" y="734"/>
                </a:cubicBezTo>
                <a:cubicBezTo>
                  <a:pt x="3014" y="728"/>
                  <a:pt x="3018" y="719"/>
                  <a:pt x="3027" y="712"/>
                </a:cubicBezTo>
                <a:cubicBezTo>
                  <a:pt x="3027" y="712"/>
                  <a:pt x="3027" y="712"/>
                  <a:pt x="3027" y="712"/>
                </a:cubicBezTo>
                <a:cubicBezTo>
                  <a:pt x="3027" y="712"/>
                  <a:pt x="3028" y="712"/>
                  <a:pt x="3028" y="712"/>
                </a:cubicBezTo>
                <a:cubicBezTo>
                  <a:pt x="3032" y="712"/>
                  <a:pt x="3041" y="715"/>
                  <a:pt x="3050" y="715"/>
                </a:cubicBezTo>
                <a:cubicBezTo>
                  <a:pt x="3054" y="715"/>
                  <a:pt x="3058" y="715"/>
                  <a:pt x="3061" y="712"/>
                </a:cubicBezTo>
                <a:cubicBezTo>
                  <a:pt x="3070" y="705"/>
                  <a:pt x="3079" y="698"/>
                  <a:pt x="3083" y="695"/>
                </a:cubicBezTo>
                <a:cubicBezTo>
                  <a:pt x="3085" y="695"/>
                  <a:pt x="3090" y="696"/>
                  <a:pt x="3095" y="698"/>
                </a:cubicBezTo>
                <a:cubicBezTo>
                  <a:pt x="3100" y="700"/>
                  <a:pt x="3104" y="703"/>
                  <a:pt x="3104" y="704"/>
                </a:cubicBezTo>
                <a:cubicBezTo>
                  <a:pt x="3106" y="709"/>
                  <a:pt x="3110" y="713"/>
                  <a:pt x="3113" y="717"/>
                </a:cubicBezTo>
                <a:cubicBezTo>
                  <a:pt x="3114" y="719"/>
                  <a:pt x="3115" y="721"/>
                  <a:pt x="3116" y="722"/>
                </a:cubicBezTo>
                <a:cubicBezTo>
                  <a:pt x="3116" y="723"/>
                  <a:pt x="3116" y="723"/>
                  <a:pt x="3116" y="723"/>
                </a:cubicBezTo>
                <a:cubicBezTo>
                  <a:pt x="3114" y="724"/>
                  <a:pt x="3108" y="725"/>
                  <a:pt x="3104" y="725"/>
                </a:cubicBezTo>
                <a:cubicBezTo>
                  <a:pt x="3099" y="725"/>
                  <a:pt x="3095" y="724"/>
                  <a:pt x="3095" y="723"/>
                </a:cubicBezTo>
                <a:cubicBezTo>
                  <a:pt x="3092" y="719"/>
                  <a:pt x="3087" y="717"/>
                  <a:pt x="3083" y="717"/>
                </a:cubicBezTo>
                <a:cubicBezTo>
                  <a:pt x="3072" y="718"/>
                  <a:pt x="3061" y="728"/>
                  <a:pt x="3060" y="743"/>
                </a:cubicBezTo>
                <a:cubicBezTo>
                  <a:pt x="3060" y="744"/>
                  <a:pt x="3060" y="745"/>
                  <a:pt x="3060" y="746"/>
                </a:cubicBezTo>
                <a:cubicBezTo>
                  <a:pt x="3060" y="749"/>
                  <a:pt x="3060" y="751"/>
                  <a:pt x="3061" y="753"/>
                </a:cubicBezTo>
                <a:close/>
                <a:moveTo>
                  <a:pt x="3441" y="353"/>
                </a:moveTo>
                <a:cubicBezTo>
                  <a:pt x="3437" y="354"/>
                  <a:pt x="3434" y="355"/>
                  <a:pt x="3431" y="355"/>
                </a:cubicBezTo>
                <a:cubicBezTo>
                  <a:pt x="3426" y="355"/>
                  <a:pt x="3423" y="353"/>
                  <a:pt x="3423" y="351"/>
                </a:cubicBezTo>
                <a:cubicBezTo>
                  <a:pt x="3421" y="346"/>
                  <a:pt x="3416" y="341"/>
                  <a:pt x="3411" y="340"/>
                </a:cubicBezTo>
                <a:cubicBezTo>
                  <a:pt x="3412" y="340"/>
                  <a:pt x="3413" y="340"/>
                  <a:pt x="3414" y="339"/>
                </a:cubicBezTo>
                <a:cubicBezTo>
                  <a:pt x="3420" y="338"/>
                  <a:pt x="3428" y="335"/>
                  <a:pt x="3433" y="335"/>
                </a:cubicBezTo>
                <a:cubicBezTo>
                  <a:pt x="3435" y="335"/>
                  <a:pt x="3436" y="336"/>
                  <a:pt x="3436" y="336"/>
                </a:cubicBezTo>
                <a:cubicBezTo>
                  <a:pt x="3436" y="336"/>
                  <a:pt x="3436" y="335"/>
                  <a:pt x="3436" y="337"/>
                </a:cubicBezTo>
                <a:cubicBezTo>
                  <a:pt x="3437" y="342"/>
                  <a:pt x="3439" y="346"/>
                  <a:pt x="3440" y="349"/>
                </a:cubicBezTo>
                <a:cubicBezTo>
                  <a:pt x="3441" y="350"/>
                  <a:pt x="3441" y="352"/>
                  <a:pt x="3442" y="352"/>
                </a:cubicBezTo>
                <a:cubicBezTo>
                  <a:pt x="3441" y="353"/>
                  <a:pt x="3441" y="353"/>
                  <a:pt x="3441" y="353"/>
                </a:cubicBezTo>
                <a:close/>
                <a:moveTo>
                  <a:pt x="3513" y="323"/>
                </a:moveTo>
                <a:cubicBezTo>
                  <a:pt x="3513" y="323"/>
                  <a:pt x="3513" y="323"/>
                  <a:pt x="3513" y="323"/>
                </a:cubicBezTo>
                <a:cubicBezTo>
                  <a:pt x="3512" y="324"/>
                  <a:pt x="3511" y="324"/>
                  <a:pt x="3511" y="324"/>
                </a:cubicBezTo>
                <a:cubicBezTo>
                  <a:pt x="3509" y="324"/>
                  <a:pt x="3508" y="324"/>
                  <a:pt x="3507" y="318"/>
                </a:cubicBezTo>
                <a:cubicBezTo>
                  <a:pt x="3506" y="312"/>
                  <a:pt x="3506" y="307"/>
                  <a:pt x="3502" y="302"/>
                </a:cubicBezTo>
                <a:cubicBezTo>
                  <a:pt x="3500" y="300"/>
                  <a:pt x="3498" y="299"/>
                  <a:pt x="3496" y="297"/>
                </a:cubicBezTo>
                <a:cubicBezTo>
                  <a:pt x="3499" y="299"/>
                  <a:pt x="3503" y="301"/>
                  <a:pt x="3505" y="302"/>
                </a:cubicBezTo>
                <a:cubicBezTo>
                  <a:pt x="3507" y="303"/>
                  <a:pt x="3507" y="304"/>
                  <a:pt x="3508" y="305"/>
                </a:cubicBezTo>
                <a:cubicBezTo>
                  <a:pt x="3508" y="305"/>
                  <a:pt x="3508" y="305"/>
                  <a:pt x="3508" y="305"/>
                </a:cubicBezTo>
                <a:cubicBezTo>
                  <a:pt x="3508" y="305"/>
                  <a:pt x="3508" y="305"/>
                  <a:pt x="3508" y="305"/>
                </a:cubicBezTo>
                <a:cubicBezTo>
                  <a:pt x="3512" y="307"/>
                  <a:pt x="3513" y="316"/>
                  <a:pt x="3513" y="320"/>
                </a:cubicBezTo>
                <a:cubicBezTo>
                  <a:pt x="3513" y="322"/>
                  <a:pt x="3513" y="323"/>
                  <a:pt x="3513" y="323"/>
                </a:cubicBezTo>
                <a:close/>
                <a:moveTo>
                  <a:pt x="2502" y="789"/>
                </a:moveTo>
                <a:cubicBezTo>
                  <a:pt x="2495" y="789"/>
                  <a:pt x="2491" y="794"/>
                  <a:pt x="2488" y="798"/>
                </a:cubicBezTo>
                <a:cubicBezTo>
                  <a:pt x="2485" y="803"/>
                  <a:pt x="2484" y="808"/>
                  <a:pt x="2484" y="814"/>
                </a:cubicBezTo>
                <a:cubicBezTo>
                  <a:pt x="2484" y="818"/>
                  <a:pt x="2485" y="823"/>
                  <a:pt x="2488" y="827"/>
                </a:cubicBezTo>
                <a:cubicBezTo>
                  <a:pt x="2492" y="831"/>
                  <a:pt x="2496" y="833"/>
                  <a:pt x="2501" y="833"/>
                </a:cubicBezTo>
                <a:cubicBezTo>
                  <a:pt x="2508" y="833"/>
                  <a:pt x="2514" y="828"/>
                  <a:pt x="2517" y="822"/>
                </a:cubicBezTo>
                <a:cubicBezTo>
                  <a:pt x="2512" y="819"/>
                  <a:pt x="2512" y="819"/>
                  <a:pt x="2512" y="819"/>
                </a:cubicBezTo>
                <a:cubicBezTo>
                  <a:pt x="2517" y="822"/>
                  <a:pt x="2517" y="822"/>
                  <a:pt x="2517" y="822"/>
                </a:cubicBezTo>
                <a:cubicBezTo>
                  <a:pt x="2519" y="819"/>
                  <a:pt x="2520" y="816"/>
                  <a:pt x="2520" y="812"/>
                </a:cubicBezTo>
                <a:cubicBezTo>
                  <a:pt x="2520" y="806"/>
                  <a:pt x="2518" y="801"/>
                  <a:pt x="2515" y="797"/>
                </a:cubicBezTo>
                <a:cubicBezTo>
                  <a:pt x="2511" y="793"/>
                  <a:pt x="2508" y="790"/>
                  <a:pt x="2502" y="789"/>
                </a:cubicBezTo>
                <a:close/>
                <a:moveTo>
                  <a:pt x="2028" y="279"/>
                </a:moveTo>
                <a:cubicBezTo>
                  <a:pt x="2029" y="279"/>
                  <a:pt x="2030" y="279"/>
                  <a:pt x="2031" y="279"/>
                </a:cubicBezTo>
                <a:cubicBezTo>
                  <a:pt x="2037" y="279"/>
                  <a:pt x="2045" y="280"/>
                  <a:pt x="2051" y="280"/>
                </a:cubicBezTo>
                <a:cubicBezTo>
                  <a:pt x="2055" y="280"/>
                  <a:pt x="2058" y="280"/>
                  <a:pt x="2062" y="278"/>
                </a:cubicBezTo>
                <a:cubicBezTo>
                  <a:pt x="2065" y="275"/>
                  <a:pt x="2067" y="271"/>
                  <a:pt x="2067" y="266"/>
                </a:cubicBezTo>
                <a:cubicBezTo>
                  <a:pt x="2067" y="266"/>
                  <a:pt x="2067" y="266"/>
                  <a:pt x="2067" y="265"/>
                </a:cubicBezTo>
                <a:cubicBezTo>
                  <a:pt x="2061" y="266"/>
                  <a:pt x="2061" y="266"/>
                  <a:pt x="2061" y="266"/>
                </a:cubicBezTo>
                <a:cubicBezTo>
                  <a:pt x="2067" y="265"/>
                  <a:pt x="2067" y="265"/>
                  <a:pt x="2067" y="265"/>
                </a:cubicBezTo>
                <a:cubicBezTo>
                  <a:pt x="2067" y="262"/>
                  <a:pt x="2067" y="259"/>
                  <a:pt x="2067" y="256"/>
                </a:cubicBezTo>
                <a:cubicBezTo>
                  <a:pt x="2067" y="245"/>
                  <a:pt x="2068" y="234"/>
                  <a:pt x="2071" y="230"/>
                </a:cubicBezTo>
                <a:cubicBezTo>
                  <a:pt x="2072" y="227"/>
                  <a:pt x="2074" y="225"/>
                  <a:pt x="2076" y="222"/>
                </a:cubicBezTo>
                <a:cubicBezTo>
                  <a:pt x="2078" y="220"/>
                  <a:pt x="2081" y="218"/>
                  <a:pt x="2081" y="212"/>
                </a:cubicBezTo>
                <a:cubicBezTo>
                  <a:pt x="2082" y="209"/>
                  <a:pt x="2079" y="206"/>
                  <a:pt x="2077" y="205"/>
                </a:cubicBezTo>
                <a:cubicBezTo>
                  <a:pt x="2074" y="204"/>
                  <a:pt x="2072" y="204"/>
                  <a:pt x="2070" y="204"/>
                </a:cubicBezTo>
                <a:cubicBezTo>
                  <a:pt x="2069" y="204"/>
                  <a:pt x="2068" y="204"/>
                  <a:pt x="2068" y="204"/>
                </a:cubicBezTo>
                <a:cubicBezTo>
                  <a:pt x="2066" y="204"/>
                  <a:pt x="2067" y="204"/>
                  <a:pt x="2066" y="204"/>
                </a:cubicBezTo>
                <a:cubicBezTo>
                  <a:pt x="2066" y="203"/>
                  <a:pt x="2065" y="202"/>
                  <a:pt x="2063" y="198"/>
                </a:cubicBezTo>
                <a:cubicBezTo>
                  <a:pt x="2063" y="196"/>
                  <a:pt x="2062" y="194"/>
                  <a:pt x="2062" y="193"/>
                </a:cubicBezTo>
                <a:cubicBezTo>
                  <a:pt x="2062" y="186"/>
                  <a:pt x="2067" y="179"/>
                  <a:pt x="2072" y="175"/>
                </a:cubicBezTo>
                <a:cubicBezTo>
                  <a:pt x="2075" y="172"/>
                  <a:pt x="2084" y="162"/>
                  <a:pt x="2094" y="152"/>
                </a:cubicBezTo>
                <a:cubicBezTo>
                  <a:pt x="2103" y="142"/>
                  <a:pt x="2115" y="132"/>
                  <a:pt x="2121" y="130"/>
                </a:cubicBezTo>
                <a:cubicBezTo>
                  <a:pt x="2135" y="125"/>
                  <a:pt x="2145" y="112"/>
                  <a:pt x="2146" y="100"/>
                </a:cubicBezTo>
                <a:cubicBezTo>
                  <a:pt x="2146" y="95"/>
                  <a:pt x="2143" y="89"/>
                  <a:pt x="2137" y="87"/>
                </a:cubicBezTo>
                <a:cubicBezTo>
                  <a:pt x="2131" y="84"/>
                  <a:pt x="2120" y="80"/>
                  <a:pt x="2108" y="80"/>
                </a:cubicBezTo>
                <a:cubicBezTo>
                  <a:pt x="2099" y="80"/>
                  <a:pt x="2090" y="83"/>
                  <a:pt x="2082" y="90"/>
                </a:cubicBezTo>
                <a:cubicBezTo>
                  <a:pt x="2076" y="97"/>
                  <a:pt x="2070" y="103"/>
                  <a:pt x="2066" y="107"/>
                </a:cubicBezTo>
                <a:cubicBezTo>
                  <a:pt x="2061" y="111"/>
                  <a:pt x="2057" y="113"/>
                  <a:pt x="2053" y="113"/>
                </a:cubicBezTo>
                <a:cubicBezTo>
                  <a:pt x="2051" y="113"/>
                  <a:pt x="2050" y="113"/>
                  <a:pt x="2048" y="113"/>
                </a:cubicBezTo>
                <a:cubicBezTo>
                  <a:pt x="2042" y="111"/>
                  <a:pt x="2039" y="106"/>
                  <a:pt x="2035" y="98"/>
                </a:cubicBezTo>
                <a:cubicBezTo>
                  <a:pt x="2031" y="90"/>
                  <a:pt x="2028" y="81"/>
                  <a:pt x="2022" y="73"/>
                </a:cubicBezTo>
                <a:cubicBezTo>
                  <a:pt x="2017" y="67"/>
                  <a:pt x="2015" y="55"/>
                  <a:pt x="2014" y="44"/>
                </a:cubicBezTo>
                <a:cubicBezTo>
                  <a:pt x="2013" y="39"/>
                  <a:pt x="2013" y="33"/>
                  <a:pt x="2011" y="29"/>
                </a:cubicBezTo>
                <a:cubicBezTo>
                  <a:pt x="2010" y="25"/>
                  <a:pt x="2005" y="19"/>
                  <a:pt x="1999" y="19"/>
                </a:cubicBezTo>
                <a:cubicBezTo>
                  <a:pt x="1998" y="19"/>
                  <a:pt x="1997" y="20"/>
                  <a:pt x="1996" y="20"/>
                </a:cubicBezTo>
                <a:cubicBezTo>
                  <a:pt x="1988" y="21"/>
                  <a:pt x="1984" y="22"/>
                  <a:pt x="1983" y="22"/>
                </a:cubicBezTo>
                <a:cubicBezTo>
                  <a:pt x="1980" y="22"/>
                  <a:pt x="1972" y="20"/>
                  <a:pt x="1964" y="20"/>
                </a:cubicBezTo>
                <a:cubicBezTo>
                  <a:pt x="1961" y="20"/>
                  <a:pt x="1957" y="21"/>
                  <a:pt x="1953" y="22"/>
                </a:cubicBezTo>
                <a:cubicBezTo>
                  <a:pt x="1948" y="23"/>
                  <a:pt x="1943" y="25"/>
                  <a:pt x="1940" y="27"/>
                </a:cubicBezTo>
                <a:cubicBezTo>
                  <a:pt x="1940" y="26"/>
                  <a:pt x="1940" y="26"/>
                  <a:pt x="1940" y="25"/>
                </a:cubicBezTo>
                <a:cubicBezTo>
                  <a:pt x="1939" y="19"/>
                  <a:pt x="1936" y="18"/>
                  <a:pt x="1934" y="16"/>
                </a:cubicBezTo>
                <a:cubicBezTo>
                  <a:pt x="1931" y="14"/>
                  <a:pt x="1928" y="13"/>
                  <a:pt x="1926" y="13"/>
                </a:cubicBezTo>
                <a:cubicBezTo>
                  <a:pt x="1909" y="11"/>
                  <a:pt x="1882" y="2"/>
                  <a:pt x="1859" y="1"/>
                </a:cubicBezTo>
                <a:cubicBezTo>
                  <a:pt x="1858" y="0"/>
                  <a:pt x="1857" y="0"/>
                  <a:pt x="1855" y="0"/>
                </a:cubicBezTo>
                <a:cubicBezTo>
                  <a:pt x="1839" y="1"/>
                  <a:pt x="1829" y="6"/>
                  <a:pt x="1815" y="6"/>
                </a:cubicBezTo>
                <a:cubicBezTo>
                  <a:pt x="1794" y="7"/>
                  <a:pt x="1767" y="5"/>
                  <a:pt x="1748" y="19"/>
                </a:cubicBezTo>
                <a:cubicBezTo>
                  <a:pt x="1741" y="24"/>
                  <a:pt x="1734" y="26"/>
                  <a:pt x="1727" y="28"/>
                </a:cubicBezTo>
                <a:cubicBezTo>
                  <a:pt x="1724" y="29"/>
                  <a:pt x="1721" y="30"/>
                  <a:pt x="1719" y="30"/>
                </a:cubicBezTo>
                <a:cubicBezTo>
                  <a:pt x="1718" y="31"/>
                  <a:pt x="1717" y="31"/>
                  <a:pt x="1715" y="31"/>
                </a:cubicBezTo>
                <a:cubicBezTo>
                  <a:pt x="1714" y="32"/>
                  <a:pt x="1713" y="32"/>
                  <a:pt x="1711" y="34"/>
                </a:cubicBezTo>
                <a:cubicBezTo>
                  <a:pt x="1707" y="40"/>
                  <a:pt x="1703" y="48"/>
                  <a:pt x="1700" y="55"/>
                </a:cubicBezTo>
                <a:cubicBezTo>
                  <a:pt x="1698" y="58"/>
                  <a:pt x="1697" y="61"/>
                  <a:pt x="1695" y="63"/>
                </a:cubicBezTo>
                <a:cubicBezTo>
                  <a:pt x="1695" y="63"/>
                  <a:pt x="1695" y="63"/>
                  <a:pt x="1695" y="63"/>
                </a:cubicBezTo>
                <a:cubicBezTo>
                  <a:pt x="1694" y="61"/>
                  <a:pt x="1692" y="57"/>
                  <a:pt x="1690" y="54"/>
                </a:cubicBezTo>
                <a:cubicBezTo>
                  <a:pt x="1689" y="52"/>
                  <a:pt x="1688" y="49"/>
                  <a:pt x="1686" y="47"/>
                </a:cubicBezTo>
                <a:cubicBezTo>
                  <a:pt x="1685" y="45"/>
                  <a:pt x="1682" y="43"/>
                  <a:pt x="1678" y="43"/>
                </a:cubicBezTo>
                <a:cubicBezTo>
                  <a:pt x="1675" y="43"/>
                  <a:pt x="1673" y="44"/>
                  <a:pt x="1671" y="46"/>
                </a:cubicBezTo>
                <a:cubicBezTo>
                  <a:pt x="1663" y="52"/>
                  <a:pt x="1664" y="61"/>
                  <a:pt x="1664" y="68"/>
                </a:cubicBezTo>
                <a:cubicBezTo>
                  <a:pt x="1664" y="69"/>
                  <a:pt x="1664" y="69"/>
                  <a:pt x="1664" y="69"/>
                </a:cubicBezTo>
                <a:cubicBezTo>
                  <a:pt x="1664" y="76"/>
                  <a:pt x="1663" y="82"/>
                  <a:pt x="1660" y="86"/>
                </a:cubicBezTo>
                <a:cubicBezTo>
                  <a:pt x="1657" y="90"/>
                  <a:pt x="1649" y="93"/>
                  <a:pt x="1641" y="93"/>
                </a:cubicBezTo>
                <a:cubicBezTo>
                  <a:pt x="1635" y="93"/>
                  <a:pt x="1630" y="91"/>
                  <a:pt x="1629" y="90"/>
                </a:cubicBezTo>
                <a:cubicBezTo>
                  <a:pt x="1622" y="86"/>
                  <a:pt x="1614" y="82"/>
                  <a:pt x="1596" y="83"/>
                </a:cubicBezTo>
                <a:cubicBezTo>
                  <a:pt x="1592" y="83"/>
                  <a:pt x="1588" y="83"/>
                  <a:pt x="1583" y="83"/>
                </a:cubicBezTo>
                <a:cubicBezTo>
                  <a:pt x="1569" y="84"/>
                  <a:pt x="1555" y="87"/>
                  <a:pt x="1545" y="91"/>
                </a:cubicBezTo>
                <a:cubicBezTo>
                  <a:pt x="1539" y="93"/>
                  <a:pt x="1534" y="95"/>
                  <a:pt x="1531" y="98"/>
                </a:cubicBezTo>
                <a:cubicBezTo>
                  <a:pt x="1527" y="101"/>
                  <a:pt x="1523" y="105"/>
                  <a:pt x="1523" y="110"/>
                </a:cubicBezTo>
                <a:cubicBezTo>
                  <a:pt x="1523" y="112"/>
                  <a:pt x="1524" y="114"/>
                  <a:pt x="1525" y="116"/>
                </a:cubicBezTo>
                <a:cubicBezTo>
                  <a:pt x="1525" y="117"/>
                  <a:pt x="1525" y="117"/>
                  <a:pt x="1525" y="117"/>
                </a:cubicBezTo>
                <a:cubicBezTo>
                  <a:pt x="1525" y="118"/>
                  <a:pt x="1525" y="118"/>
                  <a:pt x="1524" y="119"/>
                </a:cubicBezTo>
                <a:cubicBezTo>
                  <a:pt x="1522" y="120"/>
                  <a:pt x="1520" y="121"/>
                  <a:pt x="1518" y="121"/>
                </a:cubicBezTo>
                <a:cubicBezTo>
                  <a:pt x="1518" y="121"/>
                  <a:pt x="1517" y="121"/>
                  <a:pt x="1517" y="121"/>
                </a:cubicBezTo>
                <a:cubicBezTo>
                  <a:pt x="1517" y="121"/>
                  <a:pt x="1517" y="121"/>
                  <a:pt x="1517" y="121"/>
                </a:cubicBezTo>
                <a:cubicBezTo>
                  <a:pt x="1515" y="118"/>
                  <a:pt x="1511" y="118"/>
                  <a:pt x="1509" y="118"/>
                </a:cubicBezTo>
                <a:cubicBezTo>
                  <a:pt x="1503" y="118"/>
                  <a:pt x="1497" y="120"/>
                  <a:pt x="1491" y="124"/>
                </a:cubicBezTo>
                <a:cubicBezTo>
                  <a:pt x="1486" y="128"/>
                  <a:pt x="1481" y="134"/>
                  <a:pt x="1481" y="141"/>
                </a:cubicBezTo>
                <a:cubicBezTo>
                  <a:pt x="1481" y="142"/>
                  <a:pt x="1481" y="143"/>
                  <a:pt x="1481" y="143"/>
                </a:cubicBezTo>
                <a:cubicBezTo>
                  <a:pt x="1481" y="144"/>
                  <a:pt x="1481" y="145"/>
                  <a:pt x="1481" y="146"/>
                </a:cubicBezTo>
                <a:cubicBezTo>
                  <a:pt x="1481" y="150"/>
                  <a:pt x="1480" y="153"/>
                  <a:pt x="1479" y="155"/>
                </a:cubicBezTo>
                <a:cubicBezTo>
                  <a:pt x="1477" y="157"/>
                  <a:pt x="1476" y="158"/>
                  <a:pt x="1475" y="158"/>
                </a:cubicBezTo>
                <a:cubicBezTo>
                  <a:pt x="1474" y="158"/>
                  <a:pt x="1473" y="158"/>
                  <a:pt x="1473" y="158"/>
                </a:cubicBezTo>
                <a:cubicBezTo>
                  <a:pt x="1471" y="157"/>
                  <a:pt x="1469" y="157"/>
                  <a:pt x="1467" y="157"/>
                </a:cubicBezTo>
                <a:cubicBezTo>
                  <a:pt x="1454" y="157"/>
                  <a:pt x="1445" y="168"/>
                  <a:pt x="1444" y="179"/>
                </a:cubicBezTo>
                <a:cubicBezTo>
                  <a:pt x="1444" y="180"/>
                  <a:pt x="1438" y="183"/>
                  <a:pt x="1433" y="185"/>
                </a:cubicBezTo>
                <a:cubicBezTo>
                  <a:pt x="1430" y="186"/>
                  <a:pt x="1427" y="187"/>
                  <a:pt x="1424" y="188"/>
                </a:cubicBezTo>
                <a:cubicBezTo>
                  <a:pt x="1423" y="188"/>
                  <a:pt x="1422" y="188"/>
                  <a:pt x="1421" y="188"/>
                </a:cubicBezTo>
                <a:cubicBezTo>
                  <a:pt x="1421" y="188"/>
                  <a:pt x="1421" y="188"/>
                  <a:pt x="1421" y="188"/>
                </a:cubicBezTo>
                <a:cubicBezTo>
                  <a:pt x="1421" y="188"/>
                  <a:pt x="1421" y="188"/>
                  <a:pt x="1421" y="188"/>
                </a:cubicBezTo>
                <a:cubicBezTo>
                  <a:pt x="1421" y="188"/>
                  <a:pt x="1421" y="188"/>
                  <a:pt x="1421" y="188"/>
                </a:cubicBezTo>
                <a:cubicBezTo>
                  <a:pt x="1420" y="188"/>
                  <a:pt x="1419" y="188"/>
                  <a:pt x="1418" y="188"/>
                </a:cubicBezTo>
                <a:cubicBezTo>
                  <a:pt x="1415" y="188"/>
                  <a:pt x="1409" y="188"/>
                  <a:pt x="1403" y="189"/>
                </a:cubicBezTo>
                <a:cubicBezTo>
                  <a:pt x="1400" y="190"/>
                  <a:pt x="1397" y="191"/>
                  <a:pt x="1394" y="192"/>
                </a:cubicBezTo>
                <a:cubicBezTo>
                  <a:pt x="1392" y="193"/>
                  <a:pt x="1388" y="195"/>
                  <a:pt x="1388" y="201"/>
                </a:cubicBezTo>
                <a:cubicBezTo>
                  <a:pt x="1388" y="205"/>
                  <a:pt x="1391" y="207"/>
                  <a:pt x="1393" y="209"/>
                </a:cubicBezTo>
                <a:cubicBezTo>
                  <a:pt x="1399" y="215"/>
                  <a:pt x="1405" y="216"/>
                  <a:pt x="1410" y="215"/>
                </a:cubicBezTo>
                <a:cubicBezTo>
                  <a:pt x="1411" y="215"/>
                  <a:pt x="1411" y="215"/>
                  <a:pt x="1412" y="215"/>
                </a:cubicBezTo>
                <a:cubicBezTo>
                  <a:pt x="1414" y="215"/>
                  <a:pt x="1416" y="216"/>
                  <a:pt x="1419" y="216"/>
                </a:cubicBezTo>
                <a:cubicBezTo>
                  <a:pt x="1421" y="217"/>
                  <a:pt x="1426" y="221"/>
                  <a:pt x="1430" y="227"/>
                </a:cubicBezTo>
                <a:cubicBezTo>
                  <a:pt x="1434" y="232"/>
                  <a:pt x="1437" y="238"/>
                  <a:pt x="1443" y="242"/>
                </a:cubicBezTo>
                <a:cubicBezTo>
                  <a:pt x="1445" y="243"/>
                  <a:pt x="1448" y="243"/>
                  <a:pt x="1450" y="243"/>
                </a:cubicBezTo>
                <a:cubicBezTo>
                  <a:pt x="1457" y="243"/>
                  <a:pt x="1464" y="240"/>
                  <a:pt x="1467" y="234"/>
                </a:cubicBezTo>
                <a:cubicBezTo>
                  <a:pt x="1468" y="232"/>
                  <a:pt x="1469" y="230"/>
                  <a:pt x="1470" y="228"/>
                </a:cubicBezTo>
                <a:cubicBezTo>
                  <a:pt x="1472" y="230"/>
                  <a:pt x="1474" y="232"/>
                  <a:pt x="1477" y="233"/>
                </a:cubicBezTo>
                <a:cubicBezTo>
                  <a:pt x="1480" y="235"/>
                  <a:pt x="1483" y="235"/>
                  <a:pt x="1486" y="235"/>
                </a:cubicBezTo>
                <a:cubicBezTo>
                  <a:pt x="1496" y="235"/>
                  <a:pt x="1509" y="232"/>
                  <a:pt x="1513" y="232"/>
                </a:cubicBezTo>
                <a:cubicBezTo>
                  <a:pt x="1513" y="232"/>
                  <a:pt x="1513" y="232"/>
                  <a:pt x="1513" y="232"/>
                </a:cubicBezTo>
                <a:cubicBezTo>
                  <a:pt x="1516" y="232"/>
                  <a:pt x="1525" y="234"/>
                  <a:pt x="1535" y="236"/>
                </a:cubicBezTo>
                <a:cubicBezTo>
                  <a:pt x="1545" y="238"/>
                  <a:pt x="1556" y="241"/>
                  <a:pt x="1559" y="243"/>
                </a:cubicBezTo>
                <a:cubicBezTo>
                  <a:pt x="1565" y="247"/>
                  <a:pt x="1572" y="249"/>
                  <a:pt x="1580" y="252"/>
                </a:cubicBezTo>
                <a:cubicBezTo>
                  <a:pt x="1587" y="255"/>
                  <a:pt x="1593" y="258"/>
                  <a:pt x="1594" y="262"/>
                </a:cubicBezTo>
                <a:cubicBezTo>
                  <a:pt x="1597" y="266"/>
                  <a:pt x="1599" y="279"/>
                  <a:pt x="1600" y="292"/>
                </a:cubicBezTo>
                <a:cubicBezTo>
                  <a:pt x="1601" y="298"/>
                  <a:pt x="1601" y="304"/>
                  <a:pt x="1602" y="309"/>
                </a:cubicBezTo>
                <a:cubicBezTo>
                  <a:pt x="1603" y="314"/>
                  <a:pt x="1603" y="317"/>
                  <a:pt x="1605" y="321"/>
                </a:cubicBezTo>
                <a:cubicBezTo>
                  <a:pt x="1607" y="322"/>
                  <a:pt x="1609" y="324"/>
                  <a:pt x="1612" y="324"/>
                </a:cubicBezTo>
                <a:cubicBezTo>
                  <a:pt x="1612" y="324"/>
                  <a:pt x="1613" y="324"/>
                  <a:pt x="1614" y="323"/>
                </a:cubicBezTo>
                <a:cubicBezTo>
                  <a:pt x="1613" y="327"/>
                  <a:pt x="1612" y="331"/>
                  <a:pt x="1612" y="334"/>
                </a:cubicBezTo>
                <a:cubicBezTo>
                  <a:pt x="1612" y="339"/>
                  <a:pt x="1613" y="343"/>
                  <a:pt x="1615" y="347"/>
                </a:cubicBezTo>
                <a:cubicBezTo>
                  <a:pt x="1617" y="350"/>
                  <a:pt x="1619" y="354"/>
                  <a:pt x="1625" y="354"/>
                </a:cubicBezTo>
                <a:cubicBezTo>
                  <a:pt x="1627" y="354"/>
                  <a:pt x="1630" y="354"/>
                  <a:pt x="1633" y="355"/>
                </a:cubicBezTo>
                <a:cubicBezTo>
                  <a:pt x="1632" y="356"/>
                  <a:pt x="1630" y="358"/>
                  <a:pt x="1629" y="360"/>
                </a:cubicBezTo>
                <a:cubicBezTo>
                  <a:pt x="1627" y="364"/>
                  <a:pt x="1624" y="367"/>
                  <a:pt x="1624" y="373"/>
                </a:cubicBezTo>
                <a:cubicBezTo>
                  <a:pt x="1624" y="373"/>
                  <a:pt x="1624" y="373"/>
                  <a:pt x="1624" y="374"/>
                </a:cubicBezTo>
                <a:cubicBezTo>
                  <a:pt x="1625" y="383"/>
                  <a:pt x="1634" y="403"/>
                  <a:pt x="1637" y="409"/>
                </a:cubicBezTo>
                <a:cubicBezTo>
                  <a:pt x="1641" y="414"/>
                  <a:pt x="1646" y="416"/>
                  <a:pt x="1651" y="418"/>
                </a:cubicBezTo>
                <a:cubicBezTo>
                  <a:pt x="1651" y="418"/>
                  <a:pt x="1652" y="419"/>
                  <a:pt x="1652" y="419"/>
                </a:cubicBezTo>
                <a:cubicBezTo>
                  <a:pt x="1652" y="420"/>
                  <a:pt x="1651" y="421"/>
                  <a:pt x="1651" y="423"/>
                </a:cubicBezTo>
                <a:cubicBezTo>
                  <a:pt x="1651" y="424"/>
                  <a:pt x="1652" y="426"/>
                  <a:pt x="1653" y="427"/>
                </a:cubicBezTo>
                <a:cubicBezTo>
                  <a:pt x="1654" y="430"/>
                  <a:pt x="1657" y="436"/>
                  <a:pt x="1659" y="441"/>
                </a:cubicBezTo>
                <a:cubicBezTo>
                  <a:pt x="1663" y="447"/>
                  <a:pt x="1666" y="453"/>
                  <a:pt x="1672" y="456"/>
                </a:cubicBezTo>
                <a:cubicBezTo>
                  <a:pt x="1675" y="457"/>
                  <a:pt x="1682" y="462"/>
                  <a:pt x="1689" y="467"/>
                </a:cubicBezTo>
                <a:cubicBezTo>
                  <a:pt x="1695" y="472"/>
                  <a:pt x="1701" y="479"/>
                  <a:pt x="1701" y="480"/>
                </a:cubicBezTo>
                <a:cubicBezTo>
                  <a:pt x="1703" y="484"/>
                  <a:pt x="1708" y="486"/>
                  <a:pt x="1711" y="486"/>
                </a:cubicBezTo>
                <a:cubicBezTo>
                  <a:pt x="1716" y="486"/>
                  <a:pt x="1720" y="483"/>
                  <a:pt x="1724" y="481"/>
                </a:cubicBezTo>
                <a:cubicBezTo>
                  <a:pt x="1726" y="481"/>
                  <a:pt x="1727" y="480"/>
                  <a:pt x="1727" y="480"/>
                </a:cubicBezTo>
                <a:cubicBezTo>
                  <a:pt x="1728" y="482"/>
                  <a:pt x="1729" y="484"/>
                  <a:pt x="1729" y="486"/>
                </a:cubicBezTo>
                <a:cubicBezTo>
                  <a:pt x="1731" y="490"/>
                  <a:pt x="1734" y="496"/>
                  <a:pt x="1742" y="497"/>
                </a:cubicBezTo>
                <a:cubicBezTo>
                  <a:pt x="1744" y="497"/>
                  <a:pt x="1745" y="496"/>
                  <a:pt x="1746" y="496"/>
                </a:cubicBezTo>
                <a:cubicBezTo>
                  <a:pt x="1746" y="496"/>
                  <a:pt x="1746" y="496"/>
                  <a:pt x="1747" y="496"/>
                </a:cubicBezTo>
                <a:cubicBezTo>
                  <a:pt x="1756" y="496"/>
                  <a:pt x="1762" y="492"/>
                  <a:pt x="1769" y="485"/>
                </a:cubicBezTo>
                <a:cubicBezTo>
                  <a:pt x="1780" y="474"/>
                  <a:pt x="1777" y="461"/>
                  <a:pt x="1778" y="454"/>
                </a:cubicBezTo>
                <a:cubicBezTo>
                  <a:pt x="1778" y="451"/>
                  <a:pt x="1778" y="449"/>
                  <a:pt x="1778" y="447"/>
                </a:cubicBezTo>
                <a:cubicBezTo>
                  <a:pt x="1778" y="447"/>
                  <a:pt x="1779" y="448"/>
                  <a:pt x="1779" y="448"/>
                </a:cubicBezTo>
                <a:cubicBezTo>
                  <a:pt x="1781" y="448"/>
                  <a:pt x="1783" y="449"/>
                  <a:pt x="1786" y="449"/>
                </a:cubicBezTo>
                <a:cubicBezTo>
                  <a:pt x="1790" y="449"/>
                  <a:pt x="1794" y="447"/>
                  <a:pt x="1797" y="444"/>
                </a:cubicBezTo>
                <a:cubicBezTo>
                  <a:pt x="1799" y="441"/>
                  <a:pt x="1800" y="437"/>
                  <a:pt x="1800" y="433"/>
                </a:cubicBezTo>
                <a:cubicBezTo>
                  <a:pt x="1800" y="432"/>
                  <a:pt x="1800" y="431"/>
                  <a:pt x="1800" y="431"/>
                </a:cubicBezTo>
                <a:cubicBezTo>
                  <a:pt x="1799" y="424"/>
                  <a:pt x="1797" y="419"/>
                  <a:pt x="1797" y="416"/>
                </a:cubicBezTo>
                <a:cubicBezTo>
                  <a:pt x="1797" y="415"/>
                  <a:pt x="1798" y="415"/>
                  <a:pt x="1798" y="415"/>
                </a:cubicBezTo>
                <a:cubicBezTo>
                  <a:pt x="1798" y="415"/>
                  <a:pt x="1799" y="414"/>
                  <a:pt x="1801" y="414"/>
                </a:cubicBezTo>
                <a:cubicBezTo>
                  <a:pt x="1810" y="412"/>
                  <a:pt x="1817" y="408"/>
                  <a:pt x="1822" y="405"/>
                </a:cubicBezTo>
                <a:cubicBezTo>
                  <a:pt x="1827" y="401"/>
                  <a:pt x="1830" y="399"/>
                  <a:pt x="1832" y="399"/>
                </a:cubicBezTo>
                <a:cubicBezTo>
                  <a:pt x="1837" y="399"/>
                  <a:pt x="1850" y="401"/>
                  <a:pt x="1860" y="401"/>
                </a:cubicBezTo>
                <a:cubicBezTo>
                  <a:pt x="1863" y="401"/>
                  <a:pt x="1865" y="401"/>
                  <a:pt x="1867" y="401"/>
                </a:cubicBezTo>
                <a:cubicBezTo>
                  <a:pt x="1869" y="400"/>
                  <a:pt x="1872" y="400"/>
                  <a:pt x="1874" y="397"/>
                </a:cubicBezTo>
                <a:cubicBezTo>
                  <a:pt x="1876" y="394"/>
                  <a:pt x="1879" y="388"/>
                  <a:pt x="1883" y="382"/>
                </a:cubicBezTo>
                <a:cubicBezTo>
                  <a:pt x="1885" y="379"/>
                  <a:pt x="1888" y="377"/>
                  <a:pt x="1889" y="375"/>
                </a:cubicBezTo>
                <a:cubicBezTo>
                  <a:pt x="1890" y="374"/>
                  <a:pt x="1891" y="373"/>
                  <a:pt x="1892" y="373"/>
                </a:cubicBezTo>
                <a:cubicBezTo>
                  <a:pt x="1892" y="373"/>
                  <a:pt x="1892" y="373"/>
                  <a:pt x="1892" y="373"/>
                </a:cubicBezTo>
                <a:cubicBezTo>
                  <a:pt x="1892" y="373"/>
                  <a:pt x="1892" y="373"/>
                  <a:pt x="1892" y="373"/>
                </a:cubicBezTo>
                <a:cubicBezTo>
                  <a:pt x="1900" y="372"/>
                  <a:pt x="1920" y="370"/>
                  <a:pt x="1939" y="366"/>
                </a:cubicBezTo>
                <a:cubicBezTo>
                  <a:pt x="1949" y="364"/>
                  <a:pt x="1958" y="359"/>
                  <a:pt x="1966" y="355"/>
                </a:cubicBezTo>
                <a:cubicBezTo>
                  <a:pt x="1973" y="352"/>
                  <a:pt x="1980" y="348"/>
                  <a:pt x="1981" y="348"/>
                </a:cubicBezTo>
                <a:cubicBezTo>
                  <a:pt x="1981" y="348"/>
                  <a:pt x="1981" y="348"/>
                  <a:pt x="1981" y="348"/>
                </a:cubicBezTo>
                <a:cubicBezTo>
                  <a:pt x="1984" y="348"/>
                  <a:pt x="1986" y="349"/>
                  <a:pt x="1989" y="349"/>
                </a:cubicBezTo>
                <a:cubicBezTo>
                  <a:pt x="1992" y="349"/>
                  <a:pt x="1995" y="350"/>
                  <a:pt x="1998" y="349"/>
                </a:cubicBezTo>
                <a:cubicBezTo>
                  <a:pt x="1999" y="349"/>
                  <a:pt x="2001" y="348"/>
                  <a:pt x="2002" y="347"/>
                </a:cubicBezTo>
                <a:cubicBezTo>
                  <a:pt x="2004" y="346"/>
                  <a:pt x="2006" y="344"/>
                  <a:pt x="2006" y="341"/>
                </a:cubicBezTo>
                <a:cubicBezTo>
                  <a:pt x="2006" y="339"/>
                  <a:pt x="2005" y="337"/>
                  <a:pt x="2004" y="336"/>
                </a:cubicBezTo>
                <a:cubicBezTo>
                  <a:pt x="2006" y="336"/>
                  <a:pt x="2007" y="337"/>
                  <a:pt x="2008" y="337"/>
                </a:cubicBezTo>
                <a:cubicBezTo>
                  <a:pt x="2010" y="337"/>
                  <a:pt x="2012" y="336"/>
                  <a:pt x="2014" y="336"/>
                </a:cubicBezTo>
                <a:cubicBezTo>
                  <a:pt x="2026" y="333"/>
                  <a:pt x="2030" y="323"/>
                  <a:pt x="2030" y="316"/>
                </a:cubicBezTo>
                <a:cubicBezTo>
                  <a:pt x="2030" y="312"/>
                  <a:pt x="2029" y="308"/>
                  <a:pt x="2027" y="305"/>
                </a:cubicBezTo>
                <a:cubicBezTo>
                  <a:pt x="2025" y="304"/>
                  <a:pt x="2023" y="294"/>
                  <a:pt x="2020" y="287"/>
                </a:cubicBezTo>
                <a:cubicBezTo>
                  <a:pt x="2019" y="286"/>
                  <a:pt x="2019" y="285"/>
                  <a:pt x="2019" y="284"/>
                </a:cubicBezTo>
                <a:cubicBezTo>
                  <a:pt x="2019" y="283"/>
                  <a:pt x="2019" y="282"/>
                  <a:pt x="2020" y="281"/>
                </a:cubicBezTo>
                <a:cubicBezTo>
                  <a:pt x="2021" y="281"/>
                  <a:pt x="2023" y="279"/>
                  <a:pt x="2028" y="279"/>
                </a:cubicBezTo>
                <a:close/>
                <a:moveTo>
                  <a:pt x="1640" y="304"/>
                </a:moveTo>
                <a:cubicBezTo>
                  <a:pt x="1639" y="304"/>
                  <a:pt x="1637" y="304"/>
                  <a:pt x="1636" y="304"/>
                </a:cubicBezTo>
                <a:cubicBezTo>
                  <a:pt x="1634" y="304"/>
                  <a:pt x="1633" y="304"/>
                  <a:pt x="1631" y="304"/>
                </a:cubicBezTo>
                <a:cubicBezTo>
                  <a:pt x="1632" y="303"/>
                  <a:pt x="1633" y="302"/>
                  <a:pt x="1633" y="302"/>
                </a:cubicBezTo>
                <a:cubicBezTo>
                  <a:pt x="1633" y="301"/>
                  <a:pt x="1634" y="301"/>
                  <a:pt x="1635" y="301"/>
                </a:cubicBezTo>
                <a:cubicBezTo>
                  <a:pt x="1637" y="301"/>
                  <a:pt x="1642" y="304"/>
                  <a:pt x="1645" y="304"/>
                </a:cubicBezTo>
                <a:cubicBezTo>
                  <a:pt x="1642" y="304"/>
                  <a:pt x="1641" y="304"/>
                  <a:pt x="1640" y="304"/>
                </a:cubicBezTo>
                <a:close/>
                <a:moveTo>
                  <a:pt x="1660" y="330"/>
                </a:moveTo>
                <a:cubicBezTo>
                  <a:pt x="1660" y="332"/>
                  <a:pt x="1660" y="335"/>
                  <a:pt x="1659" y="336"/>
                </a:cubicBezTo>
                <a:cubicBezTo>
                  <a:pt x="1658" y="336"/>
                  <a:pt x="1657" y="336"/>
                  <a:pt x="1657" y="335"/>
                </a:cubicBezTo>
                <a:cubicBezTo>
                  <a:pt x="1658" y="333"/>
                  <a:pt x="1658" y="329"/>
                  <a:pt x="1659" y="326"/>
                </a:cubicBezTo>
                <a:cubicBezTo>
                  <a:pt x="1660" y="328"/>
                  <a:pt x="1660" y="330"/>
                  <a:pt x="1660" y="330"/>
                </a:cubicBezTo>
                <a:close/>
                <a:moveTo>
                  <a:pt x="1978" y="315"/>
                </a:moveTo>
                <a:cubicBezTo>
                  <a:pt x="1978" y="313"/>
                  <a:pt x="1979" y="310"/>
                  <a:pt x="1980" y="308"/>
                </a:cubicBezTo>
                <a:cubicBezTo>
                  <a:pt x="1980" y="308"/>
                  <a:pt x="1980" y="307"/>
                  <a:pt x="1981" y="307"/>
                </a:cubicBezTo>
                <a:cubicBezTo>
                  <a:pt x="1982" y="307"/>
                  <a:pt x="1984" y="308"/>
                  <a:pt x="1985" y="308"/>
                </a:cubicBezTo>
                <a:cubicBezTo>
                  <a:pt x="1988" y="310"/>
                  <a:pt x="1989" y="311"/>
                  <a:pt x="1989" y="312"/>
                </a:cubicBezTo>
                <a:cubicBezTo>
                  <a:pt x="1989" y="312"/>
                  <a:pt x="1989" y="312"/>
                  <a:pt x="1989" y="312"/>
                </a:cubicBezTo>
                <a:cubicBezTo>
                  <a:pt x="1989" y="313"/>
                  <a:pt x="1989" y="313"/>
                  <a:pt x="1989" y="314"/>
                </a:cubicBezTo>
                <a:cubicBezTo>
                  <a:pt x="1989" y="316"/>
                  <a:pt x="1989" y="317"/>
                  <a:pt x="1989" y="319"/>
                </a:cubicBezTo>
                <a:cubicBezTo>
                  <a:pt x="1986" y="317"/>
                  <a:pt x="1982" y="315"/>
                  <a:pt x="1978" y="315"/>
                </a:cubicBezTo>
                <a:close/>
                <a:moveTo>
                  <a:pt x="2143" y="431"/>
                </a:moveTo>
                <a:cubicBezTo>
                  <a:pt x="2144" y="430"/>
                  <a:pt x="2149" y="428"/>
                  <a:pt x="2153" y="428"/>
                </a:cubicBezTo>
                <a:cubicBezTo>
                  <a:pt x="2158" y="427"/>
                  <a:pt x="2162" y="427"/>
                  <a:pt x="2162" y="427"/>
                </a:cubicBezTo>
                <a:cubicBezTo>
                  <a:pt x="2164" y="427"/>
                  <a:pt x="2165" y="426"/>
                  <a:pt x="2166" y="425"/>
                </a:cubicBezTo>
                <a:cubicBezTo>
                  <a:pt x="2166" y="425"/>
                  <a:pt x="2169" y="422"/>
                  <a:pt x="2173" y="418"/>
                </a:cubicBezTo>
                <a:cubicBezTo>
                  <a:pt x="2176" y="414"/>
                  <a:pt x="2180" y="409"/>
                  <a:pt x="2180" y="402"/>
                </a:cubicBezTo>
                <a:cubicBezTo>
                  <a:pt x="2180" y="400"/>
                  <a:pt x="2179" y="397"/>
                  <a:pt x="2177" y="395"/>
                </a:cubicBezTo>
                <a:cubicBezTo>
                  <a:pt x="2177" y="395"/>
                  <a:pt x="2177" y="395"/>
                  <a:pt x="2177" y="395"/>
                </a:cubicBezTo>
                <a:cubicBezTo>
                  <a:pt x="2177" y="395"/>
                  <a:pt x="2177" y="395"/>
                  <a:pt x="2177" y="395"/>
                </a:cubicBezTo>
                <a:cubicBezTo>
                  <a:pt x="2169" y="386"/>
                  <a:pt x="2154" y="382"/>
                  <a:pt x="2146" y="381"/>
                </a:cubicBezTo>
                <a:cubicBezTo>
                  <a:pt x="2145" y="381"/>
                  <a:pt x="2144" y="381"/>
                  <a:pt x="2144" y="381"/>
                </a:cubicBezTo>
                <a:cubicBezTo>
                  <a:pt x="2133" y="381"/>
                  <a:pt x="2129" y="387"/>
                  <a:pt x="2116" y="387"/>
                </a:cubicBezTo>
                <a:cubicBezTo>
                  <a:pt x="2104" y="387"/>
                  <a:pt x="2096" y="391"/>
                  <a:pt x="2092" y="391"/>
                </a:cubicBezTo>
                <a:cubicBezTo>
                  <a:pt x="2090" y="390"/>
                  <a:pt x="2090" y="390"/>
                  <a:pt x="2089" y="389"/>
                </a:cubicBezTo>
                <a:cubicBezTo>
                  <a:pt x="2082" y="381"/>
                  <a:pt x="2068" y="379"/>
                  <a:pt x="2058" y="379"/>
                </a:cubicBezTo>
                <a:cubicBezTo>
                  <a:pt x="2056" y="379"/>
                  <a:pt x="2054" y="379"/>
                  <a:pt x="2052" y="379"/>
                </a:cubicBezTo>
                <a:cubicBezTo>
                  <a:pt x="2050" y="380"/>
                  <a:pt x="2047" y="381"/>
                  <a:pt x="2045" y="384"/>
                </a:cubicBezTo>
                <a:cubicBezTo>
                  <a:pt x="2045" y="385"/>
                  <a:pt x="2044" y="386"/>
                  <a:pt x="2042" y="388"/>
                </a:cubicBezTo>
                <a:cubicBezTo>
                  <a:pt x="2041" y="390"/>
                  <a:pt x="2039" y="393"/>
                  <a:pt x="2039" y="397"/>
                </a:cubicBezTo>
                <a:cubicBezTo>
                  <a:pt x="2039" y="401"/>
                  <a:pt x="2040" y="404"/>
                  <a:pt x="2042" y="409"/>
                </a:cubicBezTo>
                <a:cubicBezTo>
                  <a:pt x="2045" y="415"/>
                  <a:pt x="2048" y="420"/>
                  <a:pt x="2051" y="424"/>
                </a:cubicBezTo>
                <a:cubicBezTo>
                  <a:pt x="2054" y="428"/>
                  <a:pt x="2057" y="431"/>
                  <a:pt x="2063" y="432"/>
                </a:cubicBezTo>
                <a:cubicBezTo>
                  <a:pt x="2063" y="432"/>
                  <a:pt x="2064" y="432"/>
                  <a:pt x="2065" y="431"/>
                </a:cubicBezTo>
                <a:cubicBezTo>
                  <a:pt x="2066" y="431"/>
                  <a:pt x="2069" y="431"/>
                  <a:pt x="2072" y="431"/>
                </a:cubicBezTo>
                <a:cubicBezTo>
                  <a:pt x="2076" y="431"/>
                  <a:pt x="2079" y="431"/>
                  <a:pt x="2082" y="432"/>
                </a:cubicBezTo>
                <a:cubicBezTo>
                  <a:pt x="2083" y="432"/>
                  <a:pt x="2084" y="433"/>
                  <a:pt x="2084" y="433"/>
                </a:cubicBezTo>
                <a:cubicBezTo>
                  <a:pt x="2084" y="433"/>
                  <a:pt x="2084" y="433"/>
                  <a:pt x="2084" y="433"/>
                </a:cubicBezTo>
                <a:cubicBezTo>
                  <a:pt x="2086" y="440"/>
                  <a:pt x="2092" y="448"/>
                  <a:pt x="2103" y="448"/>
                </a:cubicBezTo>
                <a:cubicBezTo>
                  <a:pt x="2103" y="448"/>
                  <a:pt x="2103" y="448"/>
                  <a:pt x="2103" y="448"/>
                </a:cubicBezTo>
                <a:cubicBezTo>
                  <a:pt x="2106" y="448"/>
                  <a:pt x="2110" y="447"/>
                  <a:pt x="2113" y="446"/>
                </a:cubicBezTo>
                <a:cubicBezTo>
                  <a:pt x="2120" y="444"/>
                  <a:pt x="2126" y="442"/>
                  <a:pt x="2131" y="440"/>
                </a:cubicBezTo>
                <a:cubicBezTo>
                  <a:pt x="2136" y="438"/>
                  <a:pt x="2140" y="435"/>
                  <a:pt x="2143" y="431"/>
                </a:cubicBezTo>
                <a:close/>
                <a:moveTo>
                  <a:pt x="3068" y="1676"/>
                </a:moveTo>
                <a:cubicBezTo>
                  <a:pt x="3066" y="1668"/>
                  <a:pt x="3063" y="1661"/>
                  <a:pt x="3055" y="1658"/>
                </a:cubicBezTo>
                <a:cubicBezTo>
                  <a:pt x="3053" y="1664"/>
                  <a:pt x="3053" y="1664"/>
                  <a:pt x="3053" y="1664"/>
                </a:cubicBezTo>
                <a:cubicBezTo>
                  <a:pt x="3055" y="1658"/>
                  <a:pt x="3055" y="1658"/>
                  <a:pt x="3055" y="1658"/>
                </a:cubicBezTo>
                <a:cubicBezTo>
                  <a:pt x="3053" y="1657"/>
                  <a:pt x="3051" y="1657"/>
                  <a:pt x="3049" y="1657"/>
                </a:cubicBezTo>
                <a:cubicBezTo>
                  <a:pt x="3045" y="1657"/>
                  <a:pt x="3041" y="1659"/>
                  <a:pt x="3038" y="1662"/>
                </a:cubicBezTo>
                <a:cubicBezTo>
                  <a:pt x="3031" y="1671"/>
                  <a:pt x="3028" y="1684"/>
                  <a:pt x="3021" y="1693"/>
                </a:cubicBezTo>
                <a:cubicBezTo>
                  <a:pt x="3015" y="1700"/>
                  <a:pt x="3010" y="1707"/>
                  <a:pt x="3005" y="1711"/>
                </a:cubicBezTo>
                <a:cubicBezTo>
                  <a:pt x="3003" y="1713"/>
                  <a:pt x="3001" y="1715"/>
                  <a:pt x="2999" y="1716"/>
                </a:cubicBezTo>
                <a:cubicBezTo>
                  <a:pt x="2998" y="1717"/>
                  <a:pt x="2998" y="1717"/>
                  <a:pt x="2997" y="1717"/>
                </a:cubicBezTo>
                <a:cubicBezTo>
                  <a:pt x="2997" y="1717"/>
                  <a:pt x="2996" y="1717"/>
                  <a:pt x="2996" y="1717"/>
                </a:cubicBezTo>
                <a:cubicBezTo>
                  <a:pt x="2991" y="1717"/>
                  <a:pt x="2985" y="1720"/>
                  <a:pt x="2979" y="1724"/>
                </a:cubicBezTo>
                <a:cubicBezTo>
                  <a:pt x="2973" y="1728"/>
                  <a:pt x="2967" y="1736"/>
                  <a:pt x="2967" y="1746"/>
                </a:cubicBezTo>
                <a:cubicBezTo>
                  <a:pt x="2967" y="1749"/>
                  <a:pt x="2968" y="1752"/>
                  <a:pt x="2969" y="1756"/>
                </a:cubicBezTo>
                <a:cubicBezTo>
                  <a:pt x="2973" y="1765"/>
                  <a:pt x="2974" y="1773"/>
                  <a:pt x="2974" y="1781"/>
                </a:cubicBezTo>
                <a:cubicBezTo>
                  <a:pt x="2974" y="1790"/>
                  <a:pt x="2972" y="1797"/>
                  <a:pt x="2969" y="1801"/>
                </a:cubicBezTo>
                <a:cubicBezTo>
                  <a:pt x="2966" y="1804"/>
                  <a:pt x="2965" y="1809"/>
                  <a:pt x="2965" y="1813"/>
                </a:cubicBezTo>
                <a:cubicBezTo>
                  <a:pt x="2966" y="1826"/>
                  <a:pt x="2973" y="1843"/>
                  <a:pt x="2973" y="1853"/>
                </a:cubicBezTo>
                <a:cubicBezTo>
                  <a:pt x="2973" y="1854"/>
                  <a:pt x="2972" y="1855"/>
                  <a:pt x="2972" y="1856"/>
                </a:cubicBezTo>
                <a:cubicBezTo>
                  <a:pt x="2972" y="1858"/>
                  <a:pt x="2972" y="1861"/>
                  <a:pt x="2972" y="1863"/>
                </a:cubicBezTo>
                <a:cubicBezTo>
                  <a:pt x="2972" y="1870"/>
                  <a:pt x="2974" y="1876"/>
                  <a:pt x="2978" y="1881"/>
                </a:cubicBezTo>
                <a:cubicBezTo>
                  <a:pt x="2983" y="1886"/>
                  <a:pt x="2990" y="1888"/>
                  <a:pt x="2998" y="1888"/>
                </a:cubicBezTo>
                <a:cubicBezTo>
                  <a:pt x="2998" y="1888"/>
                  <a:pt x="2998" y="1888"/>
                  <a:pt x="2998" y="1888"/>
                </a:cubicBezTo>
                <a:cubicBezTo>
                  <a:pt x="3007" y="1888"/>
                  <a:pt x="3014" y="1886"/>
                  <a:pt x="3020" y="1881"/>
                </a:cubicBezTo>
                <a:cubicBezTo>
                  <a:pt x="3025" y="1875"/>
                  <a:pt x="3029" y="1868"/>
                  <a:pt x="3032" y="1859"/>
                </a:cubicBezTo>
                <a:cubicBezTo>
                  <a:pt x="3040" y="1840"/>
                  <a:pt x="3041" y="1822"/>
                  <a:pt x="3047" y="1808"/>
                </a:cubicBezTo>
                <a:cubicBezTo>
                  <a:pt x="3051" y="1800"/>
                  <a:pt x="3054" y="1788"/>
                  <a:pt x="3057" y="1777"/>
                </a:cubicBezTo>
                <a:cubicBezTo>
                  <a:pt x="3060" y="1766"/>
                  <a:pt x="3062" y="1756"/>
                  <a:pt x="3063" y="1753"/>
                </a:cubicBezTo>
                <a:cubicBezTo>
                  <a:pt x="3067" y="1744"/>
                  <a:pt x="3073" y="1722"/>
                  <a:pt x="3073" y="1705"/>
                </a:cubicBezTo>
                <a:cubicBezTo>
                  <a:pt x="3073" y="1703"/>
                  <a:pt x="3073" y="1702"/>
                  <a:pt x="3073" y="1701"/>
                </a:cubicBezTo>
                <a:cubicBezTo>
                  <a:pt x="3072" y="1693"/>
                  <a:pt x="3071" y="1684"/>
                  <a:pt x="3068" y="1676"/>
                </a:cubicBezTo>
                <a:close/>
                <a:moveTo>
                  <a:pt x="4007" y="1637"/>
                </a:moveTo>
                <a:cubicBezTo>
                  <a:pt x="4007" y="1637"/>
                  <a:pt x="4008" y="1637"/>
                  <a:pt x="4008" y="1637"/>
                </a:cubicBezTo>
                <a:cubicBezTo>
                  <a:pt x="4014" y="1637"/>
                  <a:pt x="4021" y="1631"/>
                  <a:pt x="4021" y="1623"/>
                </a:cubicBezTo>
                <a:cubicBezTo>
                  <a:pt x="4021" y="1622"/>
                  <a:pt x="4021" y="1622"/>
                  <a:pt x="4021" y="1621"/>
                </a:cubicBezTo>
                <a:cubicBezTo>
                  <a:pt x="4021" y="1616"/>
                  <a:pt x="4019" y="1612"/>
                  <a:pt x="4016" y="1609"/>
                </a:cubicBezTo>
                <a:cubicBezTo>
                  <a:pt x="4013" y="1606"/>
                  <a:pt x="4010" y="1605"/>
                  <a:pt x="4006" y="1605"/>
                </a:cubicBezTo>
                <a:cubicBezTo>
                  <a:pt x="3999" y="1605"/>
                  <a:pt x="3992" y="1609"/>
                  <a:pt x="3991" y="1617"/>
                </a:cubicBezTo>
                <a:cubicBezTo>
                  <a:pt x="3991" y="1617"/>
                  <a:pt x="3991" y="1617"/>
                  <a:pt x="3991" y="1617"/>
                </a:cubicBezTo>
                <a:cubicBezTo>
                  <a:pt x="3991" y="1618"/>
                  <a:pt x="3990" y="1619"/>
                  <a:pt x="3990" y="1621"/>
                </a:cubicBezTo>
                <a:cubicBezTo>
                  <a:pt x="3991" y="1631"/>
                  <a:pt x="3999" y="1637"/>
                  <a:pt x="4007" y="1637"/>
                </a:cubicBezTo>
                <a:close/>
                <a:moveTo>
                  <a:pt x="1369" y="1135"/>
                </a:moveTo>
                <a:cubicBezTo>
                  <a:pt x="1368" y="1129"/>
                  <a:pt x="1365" y="1124"/>
                  <a:pt x="1360" y="1119"/>
                </a:cubicBezTo>
                <a:cubicBezTo>
                  <a:pt x="1355" y="1115"/>
                  <a:pt x="1350" y="1111"/>
                  <a:pt x="1343" y="1111"/>
                </a:cubicBezTo>
                <a:cubicBezTo>
                  <a:pt x="1342" y="1111"/>
                  <a:pt x="1342" y="1112"/>
                  <a:pt x="1341" y="1112"/>
                </a:cubicBezTo>
                <a:cubicBezTo>
                  <a:pt x="1341" y="1112"/>
                  <a:pt x="1341" y="1112"/>
                  <a:pt x="1341" y="1112"/>
                </a:cubicBezTo>
                <a:cubicBezTo>
                  <a:pt x="1339" y="1112"/>
                  <a:pt x="1333" y="1109"/>
                  <a:pt x="1327" y="1106"/>
                </a:cubicBezTo>
                <a:cubicBezTo>
                  <a:pt x="1322" y="1102"/>
                  <a:pt x="1316" y="1097"/>
                  <a:pt x="1312" y="1093"/>
                </a:cubicBezTo>
                <a:cubicBezTo>
                  <a:pt x="1300" y="1081"/>
                  <a:pt x="1281" y="1082"/>
                  <a:pt x="1274" y="1082"/>
                </a:cubicBezTo>
                <a:cubicBezTo>
                  <a:pt x="1269" y="1082"/>
                  <a:pt x="1261" y="1084"/>
                  <a:pt x="1253" y="1087"/>
                </a:cubicBezTo>
                <a:cubicBezTo>
                  <a:pt x="1245" y="1089"/>
                  <a:pt x="1238" y="1092"/>
                  <a:pt x="1238" y="1092"/>
                </a:cubicBezTo>
                <a:cubicBezTo>
                  <a:pt x="1235" y="1092"/>
                  <a:pt x="1234" y="1094"/>
                  <a:pt x="1234" y="1097"/>
                </a:cubicBezTo>
                <a:cubicBezTo>
                  <a:pt x="1233" y="1098"/>
                  <a:pt x="1233" y="1098"/>
                  <a:pt x="1233" y="1099"/>
                </a:cubicBezTo>
                <a:cubicBezTo>
                  <a:pt x="1233" y="1104"/>
                  <a:pt x="1235" y="1108"/>
                  <a:pt x="1239" y="1111"/>
                </a:cubicBezTo>
                <a:cubicBezTo>
                  <a:pt x="1243" y="1113"/>
                  <a:pt x="1246" y="1113"/>
                  <a:pt x="1250" y="1114"/>
                </a:cubicBezTo>
                <a:cubicBezTo>
                  <a:pt x="1254" y="1114"/>
                  <a:pt x="1259" y="1113"/>
                  <a:pt x="1264" y="1113"/>
                </a:cubicBezTo>
                <a:cubicBezTo>
                  <a:pt x="1270" y="1113"/>
                  <a:pt x="1278" y="1112"/>
                  <a:pt x="1286" y="1112"/>
                </a:cubicBezTo>
                <a:cubicBezTo>
                  <a:pt x="1290" y="1112"/>
                  <a:pt x="1294" y="1113"/>
                  <a:pt x="1298" y="1113"/>
                </a:cubicBezTo>
                <a:cubicBezTo>
                  <a:pt x="1299" y="1113"/>
                  <a:pt x="1300" y="1114"/>
                  <a:pt x="1301" y="1114"/>
                </a:cubicBezTo>
                <a:cubicBezTo>
                  <a:pt x="1301" y="1114"/>
                  <a:pt x="1301" y="1114"/>
                  <a:pt x="1301" y="1114"/>
                </a:cubicBezTo>
                <a:cubicBezTo>
                  <a:pt x="1301" y="1114"/>
                  <a:pt x="1301" y="1114"/>
                  <a:pt x="1301" y="1114"/>
                </a:cubicBezTo>
                <a:cubicBezTo>
                  <a:pt x="1301" y="1114"/>
                  <a:pt x="1301" y="1114"/>
                  <a:pt x="1301" y="1114"/>
                </a:cubicBezTo>
                <a:cubicBezTo>
                  <a:pt x="1305" y="1120"/>
                  <a:pt x="1312" y="1124"/>
                  <a:pt x="1318" y="1128"/>
                </a:cubicBezTo>
                <a:cubicBezTo>
                  <a:pt x="1325" y="1133"/>
                  <a:pt x="1331" y="1137"/>
                  <a:pt x="1333" y="1139"/>
                </a:cubicBezTo>
                <a:cubicBezTo>
                  <a:pt x="1339" y="1144"/>
                  <a:pt x="1347" y="1145"/>
                  <a:pt x="1354" y="1145"/>
                </a:cubicBezTo>
                <a:cubicBezTo>
                  <a:pt x="1357" y="1145"/>
                  <a:pt x="1359" y="1145"/>
                  <a:pt x="1362" y="1144"/>
                </a:cubicBezTo>
                <a:cubicBezTo>
                  <a:pt x="1364" y="1143"/>
                  <a:pt x="1368" y="1141"/>
                  <a:pt x="1369" y="1137"/>
                </a:cubicBezTo>
                <a:cubicBezTo>
                  <a:pt x="1363" y="1136"/>
                  <a:pt x="1363" y="1136"/>
                  <a:pt x="1363" y="1136"/>
                </a:cubicBezTo>
                <a:cubicBezTo>
                  <a:pt x="1369" y="1137"/>
                  <a:pt x="1369" y="1137"/>
                  <a:pt x="1369" y="1137"/>
                </a:cubicBezTo>
                <a:cubicBezTo>
                  <a:pt x="1369" y="1136"/>
                  <a:pt x="1369" y="1136"/>
                  <a:pt x="1369" y="1135"/>
                </a:cubicBezTo>
                <a:close/>
                <a:moveTo>
                  <a:pt x="1328" y="1167"/>
                </a:moveTo>
                <a:cubicBezTo>
                  <a:pt x="1328" y="1167"/>
                  <a:pt x="1328" y="1167"/>
                  <a:pt x="1328" y="1167"/>
                </a:cubicBezTo>
                <a:cubicBezTo>
                  <a:pt x="1319" y="1169"/>
                  <a:pt x="1317" y="1178"/>
                  <a:pt x="1317" y="1184"/>
                </a:cubicBezTo>
                <a:cubicBezTo>
                  <a:pt x="1317" y="1188"/>
                  <a:pt x="1318" y="1191"/>
                  <a:pt x="1320" y="1194"/>
                </a:cubicBezTo>
                <a:cubicBezTo>
                  <a:pt x="1322" y="1198"/>
                  <a:pt x="1326" y="1200"/>
                  <a:pt x="1331" y="1200"/>
                </a:cubicBezTo>
                <a:cubicBezTo>
                  <a:pt x="1331" y="1200"/>
                  <a:pt x="1331" y="1200"/>
                  <a:pt x="1331" y="1200"/>
                </a:cubicBezTo>
                <a:cubicBezTo>
                  <a:pt x="1333" y="1200"/>
                  <a:pt x="1334" y="1201"/>
                  <a:pt x="1336" y="1200"/>
                </a:cubicBezTo>
                <a:cubicBezTo>
                  <a:pt x="1343" y="1198"/>
                  <a:pt x="1347" y="1191"/>
                  <a:pt x="1347" y="1185"/>
                </a:cubicBezTo>
                <a:cubicBezTo>
                  <a:pt x="1347" y="1176"/>
                  <a:pt x="1342" y="1167"/>
                  <a:pt x="1331" y="1166"/>
                </a:cubicBezTo>
                <a:cubicBezTo>
                  <a:pt x="1330" y="1166"/>
                  <a:pt x="1329" y="1167"/>
                  <a:pt x="1328" y="1167"/>
                </a:cubicBezTo>
                <a:close/>
                <a:moveTo>
                  <a:pt x="1341" y="1066"/>
                </a:moveTo>
                <a:cubicBezTo>
                  <a:pt x="1341" y="1058"/>
                  <a:pt x="1334" y="1053"/>
                  <a:pt x="1325" y="1053"/>
                </a:cubicBezTo>
                <a:cubicBezTo>
                  <a:pt x="1324" y="1053"/>
                  <a:pt x="1324" y="1053"/>
                  <a:pt x="1323" y="1053"/>
                </a:cubicBezTo>
                <a:cubicBezTo>
                  <a:pt x="1316" y="1053"/>
                  <a:pt x="1311" y="1060"/>
                  <a:pt x="1311" y="1065"/>
                </a:cubicBezTo>
                <a:cubicBezTo>
                  <a:pt x="1311" y="1069"/>
                  <a:pt x="1312" y="1073"/>
                  <a:pt x="1315" y="1075"/>
                </a:cubicBezTo>
                <a:cubicBezTo>
                  <a:pt x="1317" y="1078"/>
                  <a:pt x="1321" y="1080"/>
                  <a:pt x="1325" y="1080"/>
                </a:cubicBezTo>
                <a:cubicBezTo>
                  <a:pt x="1325" y="1080"/>
                  <a:pt x="1325" y="1080"/>
                  <a:pt x="1325" y="1080"/>
                </a:cubicBezTo>
                <a:cubicBezTo>
                  <a:pt x="1327" y="1080"/>
                  <a:pt x="1328" y="1079"/>
                  <a:pt x="1329" y="1079"/>
                </a:cubicBezTo>
                <a:cubicBezTo>
                  <a:pt x="1328" y="1073"/>
                  <a:pt x="1328" y="1073"/>
                  <a:pt x="1328" y="1073"/>
                </a:cubicBezTo>
                <a:cubicBezTo>
                  <a:pt x="1329" y="1079"/>
                  <a:pt x="1329" y="1079"/>
                  <a:pt x="1329" y="1079"/>
                </a:cubicBezTo>
                <a:cubicBezTo>
                  <a:pt x="1336" y="1077"/>
                  <a:pt x="1341" y="1072"/>
                  <a:pt x="1341" y="1066"/>
                </a:cubicBezTo>
                <a:close/>
                <a:moveTo>
                  <a:pt x="3938" y="1610"/>
                </a:moveTo>
                <a:cubicBezTo>
                  <a:pt x="3940" y="1609"/>
                  <a:pt x="3943" y="1606"/>
                  <a:pt x="3943" y="1603"/>
                </a:cubicBezTo>
                <a:cubicBezTo>
                  <a:pt x="3937" y="1602"/>
                  <a:pt x="3937" y="1602"/>
                  <a:pt x="3937" y="1602"/>
                </a:cubicBezTo>
                <a:cubicBezTo>
                  <a:pt x="3943" y="1603"/>
                  <a:pt x="3943" y="1603"/>
                  <a:pt x="3943" y="1603"/>
                </a:cubicBezTo>
                <a:cubicBezTo>
                  <a:pt x="3943" y="1602"/>
                  <a:pt x="3943" y="1601"/>
                  <a:pt x="3943" y="1601"/>
                </a:cubicBezTo>
                <a:cubicBezTo>
                  <a:pt x="3943" y="1594"/>
                  <a:pt x="3938" y="1588"/>
                  <a:pt x="3934" y="1584"/>
                </a:cubicBezTo>
                <a:cubicBezTo>
                  <a:pt x="3929" y="1579"/>
                  <a:pt x="3925" y="1575"/>
                  <a:pt x="3919" y="1575"/>
                </a:cubicBezTo>
                <a:cubicBezTo>
                  <a:pt x="3917" y="1575"/>
                  <a:pt x="3908" y="1573"/>
                  <a:pt x="3901" y="1571"/>
                </a:cubicBezTo>
                <a:cubicBezTo>
                  <a:pt x="3893" y="1569"/>
                  <a:pt x="3886" y="1567"/>
                  <a:pt x="3886" y="1567"/>
                </a:cubicBezTo>
                <a:cubicBezTo>
                  <a:pt x="3884" y="1567"/>
                  <a:pt x="3883" y="1567"/>
                  <a:pt x="3881" y="1567"/>
                </a:cubicBezTo>
                <a:cubicBezTo>
                  <a:pt x="3878" y="1569"/>
                  <a:pt x="3874" y="1570"/>
                  <a:pt x="3870" y="1573"/>
                </a:cubicBezTo>
                <a:cubicBezTo>
                  <a:pt x="3870" y="1573"/>
                  <a:pt x="3869" y="1572"/>
                  <a:pt x="3869" y="1572"/>
                </a:cubicBezTo>
                <a:cubicBezTo>
                  <a:pt x="3861" y="1567"/>
                  <a:pt x="3852" y="1567"/>
                  <a:pt x="3847" y="1566"/>
                </a:cubicBezTo>
                <a:cubicBezTo>
                  <a:pt x="3844" y="1566"/>
                  <a:pt x="3842" y="1566"/>
                  <a:pt x="3841" y="1566"/>
                </a:cubicBezTo>
                <a:cubicBezTo>
                  <a:pt x="3840" y="1565"/>
                  <a:pt x="3840" y="1565"/>
                  <a:pt x="3839" y="1564"/>
                </a:cubicBezTo>
                <a:cubicBezTo>
                  <a:pt x="3836" y="1557"/>
                  <a:pt x="3831" y="1551"/>
                  <a:pt x="3824" y="1551"/>
                </a:cubicBezTo>
                <a:cubicBezTo>
                  <a:pt x="3823" y="1551"/>
                  <a:pt x="3822" y="1551"/>
                  <a:pt x="3821" y="1552"/>
                </a:cubicBezTo>
                <a:cubicBezTo>
                  <a:pt x="3821" y="1538"/>
                  <a:pt x="3824" y="1522"/>
                  <a:pt x="3828" y="1517"/>
                </a:cubicBezTo>
                <a:cubicBezTo>
                  <a:pt x="3828" y="1517"/>
                  <a:pt x="3828" y="1517"/>
                  <a:pt x="3828" y="1517"/>
                </a:cubicBezTo>
                <a:cubicBezTo>
                  <a:pt x="3831" y="1513"/>
                  <a:pt x="3832" y="1508"/>
                  <a:pt x="3832" y="1504"/>
                </a:cubicBezTo>
                <a:cubicBezTo>
                  <a:pt x="3832" y="1500"/>
                  <a:pt x="3831" y="1496"/>
                  <a:pt x="3829" y="1493"/>
                </a:cubicBezTo>
                <a:cubicBezTo>
                  <a:pt x="3827" y="1490"/>
                  <a:pt x="3823" y="1488"/>
                  <a:pt x="3819" y="1488"/>
                </a:cubicBezTo>
                <a:cubicBezTo>
                  <a:pt x="3818" y="1488"/>
                  <a:pt x="3817" y="1488"/>
                  <a:pt x="3816" y="1488"/>
                </a:cubicBezTo>
                <a:cubicBezTo>
                  <a:pt x="3816" y="1488"/>
                  <a:pt x="3816" y="1488"/>
                  <a:pt x="3816" y="1488"/>
                </a:cubicBezTo>
                <a:cubicBezTo>
                  <a:pt x="3816" y="1488"/>
                  <a:pt x="3815" y="1488"/>
                  <a:pt x="3814" y="1487"/>
                </a:cubicBezTo>
                <a:cubicBezTo>
                  <a:pt x="3808" y="1482"/>
                  <a:pt x="3801" y="1469"/>
                  <a:pt x="3789" y="1459"/>
                </a:cubicBezTo>
                <a:cubicBezTo>
                  <a:pt x="3774" y="1447"/>
                  <a:pt x="3763" y="1439"/>
                  <a:pt x="3750" y="1422"/>
                </a:cubicBezTo>
                <a:cubicBezTo>
                  <a:pt x="3735" y="1403"/>
                  <a:pt x="3717" y="1391"/>
                  <a:pt x="3709" y="1383"/>
                </a:cubicBezTo>
                <a:cubicBezTo>
                  <a:pt x="3699" y="1373"/>
                  <a:pt x="3687" y="1368"/>
                  <a:pt x="3678" y="1368"/>
                </a:cubicBezTo>
                <a:cubicBezTo>
                  <a:pt x="3677" y="1368"/>
                  <a:pt x="3676" y="1368"/>
                  <a:pt x="3674" y="1368"/>
                </a:cubicBezTo>
                <a:cubicBezTo>
                  <a:pt x="3670" y="1369"/>
                  <a:pt x="3666" y="1374"/>
                  <a:pt x="3666" y="1378"/>
                </a:cubicBezTo>
                <a:cubicBezTo>
                  <a:pt x="3666" y="1383"/>
                  <a:pt x="3669" y="1386"/>
                  <a:pt x="3671" y="1390"/>
                </a:cubicBezTo>
                <a:cubicBezTo>
                  <a:pt x="3675" y="1396"/>
                  <a:pt x="3681" y="1401"/>
                  <a:pt x="3686" y="1406"/>
                </a:cubicBezTo>
                <a:cubicBezTo>
                  <a:pt x="3690" y="1411"/>
                  <a:pt x="3695" y="1415"/>
                  <a:pt x="3695" y="1415"/>
                </a:cubicBezTo>
                <a:cubicBezTo>
                  <a:pt x="3697" y="1418"/>
                  <a:pt x="3706" y="1427"/>
                  <a:pt x="3714" y="1437"/>
                </a:cubicBezTo>
                <a:cubicBezTo>
                  <a:pt x="3722" y="1446"/>
                  <a:pt x="3729" y="1459"/>
                  <a:pt x="3728" y="1463"/>
                </a:cubicBezTo>
                <a:cubicBezTo>
                  <a:pt x="3729" y="1473"/>
                  <a:pt x="3734" y="1485"/>
                  <a:pt x="3740" y="1497"/>
                </a:cubicBezTo>
                <a:cubicBezTo>
                  <a:pt x="3746" y="1509"/>
                  <a:pt x="3752" y="1519"/>
                  <a:pt x="3757" y="1523"/>
                </a:cubicBezTo>
                <a:cubicBezTo>
                  <a:pt x="3760" y="1527"/>
                  <a:pt x="3769" y="1533"/>
                  <a:pt x="3777" y="1540"/>
                </a:cubicBezTo>
                <a:cubicBezTo>
                  <a:pt x="3785" y="1547"/>
                  <a:pt x="3793" y="1556"/>
                  <a:pt x="3794" y="1559"/>
                </a:cubicBezTo>
                <a:cubicBezTo>
                  <a:pt x="3797" y="1565"/>
                  <a:pt x="3801" y="1570"/>
                  <a:pt x="3808" y="1571"/>
                </a:cubicBezTo>
                <a:cubicBezTo>
                  <a:pt x="3808" y="1583"/>
                  <a:pt x="3816" y="1589"/>
                  <a:pt x="3819" y="1591"/>
                </a:cubicBezTo>
                <a:cubicBezTo>
                  <a:pt x="3825" y="1595"/>
                  <a:pt x="3834" y="1597"/>
                  <a:pt x="3844" y="1597"/>
                </a:cubicBezTo>
                <a:cubicBezTo>
                  <a:pt x="3847" y="1597"/>
                  <a:pt x="3849" y="1597"/>
                  <a:pt x="3851" y="1597"/>
                </a:cubicBezTo>
                <a:cubicBezTo>
                  <a:pt x="3855" y="1596"/>
                  <a:pt x="3859" y="1596"/>
                  <a:pt x="3863" y="1594"/>
                </a:cubicBezTo>
                <a:cubicBezTo>
                  <a:pt x="3865" y="1594"/>
                  <a:pt x="3866" y="1594"/>
                  <a:pt x="3868" y="1593"/>
                </a:cubicBezTo>
                <a:cubicBezTo>
                  <a:pt x="3868" y="1593"/>
                  <a:pt x="3868" y="1593"/>
                  <a:pt x="3868" y="1594"/>
                </a:cubicBezTo>
                <a:cubicBezTo>
                  <a:pt x="3876" y="1602"/>
                  <a:pt x="3884" y="1608"/>
                  <a:pt x="3896" y="1608"/>
                </a:cubicBezTo>
                <a:cubicBezTo>
                  <a:pt x="3898" y="1608"/>
                  <a:pt x="3900" y="1608"/>
                  <a:pt x="3902" y="1608"/>
                </a:cubicBezTo>
                <a:cubicBezTo>
                  <a:pt x="3903" y="1608"/>
                  <a:pt x="3903" y="1608"/>
                  <a:pt x="3904" y="1608"/>
                </a:cubicBezTo>
                <a:cubicBezTo>
                  <a:pt x="3912" y="1608"/>
                  <a:pt x="3923" y="1611"/>
                  <a:pt x="3931" y="1611"/>
                </a:cubicBezTo>
                <a:cubicBezTo>
                  <a:pt x="3933" y="1611"/>
                  <a:pt x="3936" y="1611"/>
                  <a:pt x="3938" y="1610"/>
                </a:cubicBezTo>
                <a:close/>
                <a:moveTo>
                  <a:pt x="4119" y="1427"/>
                </a:moveTo>
                <a:cubicBezTo>
                  <a:pt x="4111" y="1436"/>
                  <a:pt x="4105" y="1453"/>
                  <a:pt x="4104" y="1466"/>
                </a:cubicBezTo>
                <a:cubicBezTo>
                  <a:pt x="4104" y="1469"/>
                  <a:pt x="4105" y="1472"/>
                  <a:pt x="4106" y="1475"/>
                </a:cubicBezTo>
                <a:cubicBezTo>
                  <a:pt x="4107" y="1478"/>
                  <a:pt x="4110" y="1481"/>
                  <a:pt x="4114" y="1482"/>
                </a:cubicBezTo>
                <a:cubicBezTo>
                  <a:pt x="4115" y="1483"/>
                  <a:pt x="4116" y="1483"/>
                  <a:pt x="4117" y="1483"/>
                </a:cubicBezTo>
                <a:cubicBezTo>
                  <a:pt x="4128" y="1482"/>
                  <a:pt x="4131" y="1473"/>
                  <a:pt x="4135" y="1464"/>
                </a:cubicBezTo>
                <a:cubicBezTo>
                  <a:pt x="4138" y="1455"/>
                  <a:pt x="4140" y="1445"/>
                  <a:pt x="4140" y="1436"/>
                </a:cubicBezTo>
                <a:cubicBezTo>
                  <a:pt x="4140" y="1434"/>
                  <a:pt x="4140" y="1431"/>
                  <a:pt x="4139" y="1429"/>
                </a:cubicBezTo>
                <a:cubicBezTo>
                  <a:pt x="4139" y="1426"/>
                  <a:pt x="4138" y="1423"/>
                  <a:pt x="4134" y="1421"/>
                </a:cubicBezTo>
                <a:cubicBezTo>
                  <a:pt x="4134" y="1421"/>
                  <a:pt x="4134" y="1421"/>
                  <a:pt x="4134" y="1421"/>
                </a:cubicBezTo>
                <a:cubicBezTo>
                  <a:pt x="4133" y="1421"/>
                  <a:pt x="4131" y="1420"/>
                  <a:pt x="4130" y="1420"/>
                </a:cubicBezTo>
                <a:cubicBezTo>
                  <a:pt x="4124" y="1420"/>
                  <a:pt x="4121" y="1423"/>
                  <a:pt x="4119" y="1427"/>
                </a:cubicBezTo>
                <a:close/>
                <a:moveTo>
                  <a:pt x="4266" y="830"/>
                </a:moveTo>
                <a:cubicBezTo>
                  <a:pt x="4263" y="839"/>
                  <a:pt x="4260" y="846"/>
                  <a:pt x="4257" y="852"/>
                </a:cubicBezTo>
                <a:cubicBezTo>
                  <a:pt x="4256" y="855"/>
                  <a:pt x="4254" y="857"/>
                  <a:pt x="4253" y="858"/>
                </a:cubicBezTo>
                <a:cubicBezTo>
                  <a:pt x="4253" y="858"/>
                  <a:pt x="4253" y="858"/>
                  <a:pt x="4253" y="858"/>
                </a:cubicBezTo>
                <a:cubicBezTo>
                  <a:pt x="4251" y="859"/>
                  <a:pt x="4249" y="859"/>
                  <a:pt x="4246" y="860"/>
                </a:cubicBezTo>
                <a:cubicBezTo>
                  <a:pt x="4236" y="864"/>
                  <a:pt x="4221" y="872"/>
                  <a:pt x="4214" y="880"/>
                </a:cubicBezTo>
                <a:cubicBezTo>
                  <a:pt x="4214" y="880"/>
                  <a:pt x="4213" y="880"/>
                  <a:pt x="4211" y="880"/>
                </a:cubicBezTo>
                <a:cubicBezTo>
                  <a:pt x="4203" y="880"/>
                  <a:pt x="4189" y="876"/>
                  <a:pt x="4180" y="876"/>
                </a:cubicBezTo>
                <a:cubicBezTo>
                  <a:pt x="4176" y="876"/>
                  <a:pt x="4172" y="876"/>
                  <a:pt x="4169" y="880"/>
                </a:cubicBezTo>
                <a:cubicBezTo>
                  <a:pt x="4165" y="886"/>
                  <a:pt x="4156" y="894"/>
                  <a:pt x="4150" y="900"/>
                </a:cubicBezTo>
                <a:cubicBezTo>
                  <a:pt x="4150" y="900"/>
                  <a:pt x="4146" y="901"/>
                  <a:pt x="4141" y="903"/>
                </a:cubicBezTo>
                <a:cubicBezTo>
                  <a:pt x="4136" y="904"/>
                  <a:pt x="4129" y="909"/>
                  <a:pt x="4130" y="918"/>
                </a:cubicBezTo>
                <a:cubicBezTo>
                  <a:pt x="4130" y="920"/>
                  <a:pt x="4130" y="922"/>
                  <a:pt x="4130" y="924"/>
                </a:cubicBezTo>
                <a:cubicBezTo>
                  <a:pt x="4132" y="932"/>
                  <a:pt x="4135" y="941"/>
                  <a:pt x="4139" y="947"/>
                </a:cubicBezTo>
                <a:cubicBezTo>
                  <a:pt x="4142" y="954"/>
                  <a:pt x="4146" y="959"/>
                  <a:pt x="4154" y="960"/>
                </a:cubicBezTo>
                <a:cubicBezTo>
                  <a:pt x="4159" y="960"/>
                  <a:pt x="4165" y="958"/>
                  <a:pt x="4169" y="953"/>
                </a:cubicBezTo>
                <a:cubicBezTo>
                  <a:pt x="4173" y="949"/>
                  <a:pt x="4176" y="942"/>
                  <a:pt x="4176" y="933"/>
                </a:cubicBezTo>
                <a:cubicBezTo>
                  <a:pt x="4176" y="933"/>
                  <a:pt x="4176" y="933"/>
                  <a:pt x="4176" y="933"/>
                </a:cubicBezTo>
                <a:cubicBezTo>
                  <a:pt x="4176" y="933"/>
                  <a:pt x="4180" y="934"/>
                  <a:pt x="4182" y="935"/>
                </a:cubicBezTo>
                <a:cubicBezTo>
                  <a:pt x="4185" y="936"/>
                  <a:pt x="4189" y="938"/>
                  <a:pt x="4193" y="938"/>
                </a:cubicBezTo>
                <a:cubicBezTo>
                  <a:pt x="4194" y="938"/>
                  <a:pt x="4195" y="938"/>
                  <a:pt x="4195" y="938"/>
                </a:cubicBezTo>
                <a:cubicBezTo>
                  <a:pt x="4204" y="936"/>
                  <a:pt x="4209" y="930"/>
                  <a:pt x="4212" y="922"/>
                </a:cubicBezTo>
                <a:cubicBezTo>
                  <a:pt x="4214" y="924"/>
                  <a:pt x="4216" y="925"/>
                  <a:pt x="4218" y="925"/>
                </a:cubicBezTo>
                <a:cubicBezTo>
                  <a:pt x="4221" y="926"/>
                  <a:pt x="4223" y="926"/>
                  <a:pt x="4226" y="926"/>
                </a:cubicBezTo>
                <a:cubicBezTo>
                  <a:pt x="4232" y="926"/>
                  <a:pt x="4238" y="923"/>
                  <a:pt x="4240" y="919"/>
                </a:cubicBezTo>
                <a:cubicBezTo>
                  <a:pt x="4243" y="916"/>
                  <a:pt x="4244" y="914"/>
                  <a:pt x="4244" y="911"/>
                </a:cubicBezTo>
                <a:cubicBezTo>
                  <a:pt x="4246" y="910"/>
                  <a:pt x="4251" y="907"/>
                  <a:pt x="4256" y="905"/>
                </a:cubicBezTo>
                <a:cubicBezTo>
                  <a:pt x="4263" y="903"/>
                  <a:pt x="4268" y="901"/>
                  <a:pt x="4272" y="898"/>
                </a:cubicBezTo>
                <a:cubicBezTo>
                  <a:pt x="4273" y="897"/>
                  <a:pt x="4279" y="894"/>
                  <a:pt x="4285" y="891"/>
                </a:cubicBezTo>
                <a:cubicBezTo>
                  <a:pt x="4287" y="889"/>
                  <a:pt x="4290" y="888"/>
                  <a:pt x="4293" y="886"/>
                </a:cubicBezTo>
                <a:cubicBezTo>
                  <a:pt x="4295" y="884"/>
                  <a:pt x="4297" y="882"/>
                  <a:pt x="4298" y="878"/>
                </a:cubicBezTo>
                <a:cubicBezTo>
                  <a:pt x="4299" y="874"/>
                  <a:pt x="4299" y="865"/>
                  <a:pt x="4300" y="856"/>
                </a:cubicBezTo>
                <a:cubicBezTo>
                  <a:pt x="4300" y="852"/>
                  <a:pt x="4300" y="848"/>
                  <a:pt x="4301" y="845"/>
                </a:cubicBezTo>
                <a:cubicBezTo>
                  <a:pt x="4301" y="843"/>
                  <a:pt x="4302" y="842"/>
                  <a:pt x="4302" y="842"/>
                </a:cubicBezTo>
                <a:cubicBezTo>
                  <a:pt x="4303" y="841"/>
                  <a:pt x="4305" y="841"/>
                  <a:pt x="4308" y="839"/>
                </a:cubicBezTo>
                <a:cubicBezTo>
                  <a:pt x="4310" y="837"/>
                  <a:pt x="4313" y="833"/>
                  <a:pt x="4313" y="828"/>
                </a:cubicBezTo>
                <a:cubicBezTo>
                  <a:pt x="4313" y="824"/>
                  <a:pt x="4312" y="819"/>
                  <a:pt x="4308" y="812"/>
                </a:cubicBezTo>
                <a:cubicBezTo>
                  <a:pt x="4305" y="805"/>
                  <a:pt x="4303" y="797"/>
                  <a:pt x="4300" y="791"/>
                </a:cubicBezTo>
                <a:cubicBezTo>
                  <a:pt x="4300" y="789"/>
                  <a:pt x="4299" y="788"/>
                  <a:pt x="4298" y="786"/>
                </a:cubicBezTo>
                <a:cubicBezTo>
                  <a:pt x="4303" y="785"/>
                  <a:pt x="4308" y="783"/>
                  <a:pt x="4313" y="783"/>
                </a:cubicBezTo>
                <a:cubicBezTo>
                  <a:pt x="4327" y="782"/>
                  <a:pt x="4340" y="780"/>
                  <a:pt x="4344" y="776"/>
                </a:cubicBezTo>
                <a:cubicBezTo>
                  <a:pt x="4344" y="776"/>
                  <a:pt x="4345" y="776"/>
                  <a:pt x="4345" y="776"/>
                </a:cubicBezTo>
                <a:cubicBezTo>
                  <a:pt x="4348" y="776"/>
                  <a:pt x="4353" y="776"/>
                  <a:pt x="4358" y="775"/>
                </a:cubicBezTo>
                <a:cubicBezTo>
                  <a:pt x="4363" y="773"/>
                  <a:pt x="4370" y="769"/>
                  <a:pt x="4370" y="761"/>
                </a:cubicBezTo>
                <a:cubicBezTo>
                  <a:pt x="4370" y="759"/>
                  <a:pt x="4370" y="758"/>
                  <a:pt x="4370" y="757"/>
                </a:cubicBezTo>
                <a:cubicBezTo>
                  <a:pt x="4367" y="748"/>
                  <a:pt x="4360" y="744"/>
                  <a:pt x="4354" y="741"/>
                </a:cubicBezTo>
                <a:cubicBezTo>
                  <a:pt x="4347" y="739"/>
                  <a:pt x="4340" y="738"/>
                  <a:pt x="4335" y="738"/>
                </a:cubicBezTo>
                <a:cubicBezTo>
                  <a:pt x="4333" y="738"/>
                  <a:pt x="4332" y="738"/>
                  <a:pt x="4330" y="738"/>
                </a:cubicBezTo>
                <a:cubicBezTo>
                  <a:pt x="4329" y="737"/>
                  <a:pt x="4327" y="735"/>
                  <a:pt x="4325" y="732"/>
                </a:cubicBezTo>
                <a:cubicBezTo>
                  <a:pt x="4321" y="729"/>
                  <a:pt x="4317" y="726"/>
                  <a:pt x="4311" y="726"/>
                </a:cubicBezTo>
                <a:cubicBezTo>
                  <a:pt x="4309" y="726"/>
                  <a:pt x="4308" y="726"/>
                  <a:pt x="4307" y="726"/>
                </a:cubicBezTo>
                <a:cubicBezTo>
                  <a:pt x="4300" y="728"/>
                  <a:pt x="4296" y="734"/>
                  <a:pt x="4294" y="739"/>
                </a:cubicBezTo>
                <a:cubicBezTo>
                  <a:pt x="4292" y="743"/>
                  <a:pt x="4292" y="747"/>
                  <a:pt x="4291" y="750"/>
                </a:cubicBezTo>
                <a:cubicBezTo>
                  <a:pt x="4289" y="751"/>
                  <a:pt x="4284" y="754"/>
                  <a:pt x="4280" y="756"/>
                </a:cubicBezTo>
                <a:cubicBezTo>
                  <a:pt x="4275" y="760"/>
                  <a:pt x="4268" y="763"/>
                  <a:pt x="4267" y="772"/>
                </a:cubicBezTo>
                <a:cubicBezTo>
                  <a:pt x="4267" y="775"/>
                  <a:pt x="4269" y="778"/>
                  <a:pt x="4271" y="780"/>
                </a:cubicBezTo>
                <a:cubicBezTo>
                  <a:pt x="4272" y="782"/>
                  <a:pt x="4274" y="783"/>
                  <a:pt x="4275" y="784"/>
                </a:cubicBezTo>
                <a:cubicBezTo>
                  <a:pt x="4271" y="790"/>
                  <a:pt x="4271" y="797"/>
                  <a:pt x="4270" y="805"/>
                </a:cubicBezTo>
                <a:cubicBezTo>
                  <a:pt x="4270" y="814"/>
                  <a:pt x="4269" y="824"/>
                  <a:pt x="4266" y="830"/>
                </a:cubicBezTo>
                <a:close/>
                <a:moveTo>
                  <a:pt x="3920" y="1392"/>
                </a:moveTo>
                <a:cubicBezTo>
                  <a:pt x="3917" y="1395"/>
                  <a:pt x="3916" y="1398"/>
                  <a:pt x="3915" y="1401"/>
                </a:cubicBezTo>
                <a:cubicBezTo>
                  <a:pt x="3914" y="1402"/>
                  <a:pt x="3914" y="1403"/>
                  <a:pt x="3914" y="1404"/>
                </a:cubicBezTo>
                <a:cubicBezTo>
                  <a:pt x="3914" y="1404"/>
                  <a:pt x="3913" y="1404"/>
                  <a:pt x="3913" y="1404"/>
                </a:cubicBezTo>
                <a:cubicBezTo>
                  <a:pt x="3910" y="1407"/>
                  <a:pt x="3907" y="1408"/>
                  <a:pt x="3897" y="1411"/>
                </a:cubicBezTo>
                <a:cubicBezTo>
                  <a:pt x="3886" y="1415"/>
                  <a:pt x="3883" y="1425"/>
                  <a:pt x="3881" y="1432"/>
                </a:cubicBezTo>
                <a:cubicBezTo>
                  <a:pt x="3880" y="1431"/>
                  <a:pt x="3878" y="1430"/>
                  <a:pt x="3877" y="1429"/>
                </a:cubicBezTo>
                <a:cubicBezTo>
                  <a:pt x="3873" y="1427"/>
                  <a:pt x="3870" y="1424"/>
                  <a:pt x="3864" y="1424"/>
                </a:cubicBezTo>
                <a:cubicBezTo>
                  <a:pt x="3862" y="1424"/>
                  <a:pt x="3859" y="1425"/>
                  <a:pt x="3857" y="1427"/>
                </a:cubicBezTo>
                <a:cubicBezTo>
                  <a:pt x="3854" y="1431"/>
                  <a:pt x="3854" y="1436"/>
                  <a:pt x="3854" y="1441"/>
                </a:cubicBezTo>
                <a:cubicBezTo>
                  <a:pt x="3854" y="1453"/>
                  <a:pt x="3857" y="1471"/>
                  <a:pt x="3863" y="1487"/>
                </a:cubicBezTo>
                <a:cubicBezTo>
                  <a:pt x="3868" y="1499"/>
                  <a:pt x="3876" y="1509"/>
                  <a:pt x="3883" y="1515"/>
                </a:cubicBezTo>
                <a:cubicBezTo>
                  <a:pt x="3891" y="1522"/>
                  <a:pt x="3897" y="1526"/>
                  <a:pt x="3903" y="1527"/>
                </a:cubicBezTo>
                <a:cubicBezTo>
                  <a:pt x="3909" y="1526"/>
                  <a:pt x="3920" y="1527"/>
                  <a:pt x="3927" y="1529"/>
                </a:cubicBezTo>
                <a:cubicBezTo>
                  <a:pt x="3931" y="1530"/>
                  <a:pt x="3938" y="1532"/>
                  <a:pt x="3946" y="1532"/>
                </a:cubicBezTo>
                <a:cubicBezTo>
                  <a:pt x="3950" y="1532"/>
                  <a:pt x="3955" y="1531"/>
                  <a:pt x="3959" y="1529"/>
                </a:cubicBezTo>
                <a:cubicBezTo>
                  <a:pt x="3964" y="1528"/>
                  <a:pt x="3968" y="1523"/>
                  <a:pt x="3968" y="1517"/>
                </a:cubicBezTo>
                <a:cubicBezTo>
                  <a:pt x="3968" y="1517"/>
                  <a:pt x="3968" y="1516"/>
                  <a:pt x="3968" y="1516"/>
                </a:cubicBezTo>
                <a:cubicBezTo>
                  <a:pt x="3968" y="1511"/>
                  <a:pt x="3967" y="1506"/>
                  <a:pt x="3967" y="1501"/>
                </a:cubicBezTo>
                <a:cubicBezTo>
                  <a:pt x="3967" y="1491"/>
                  <a:pt x="3969" y="1482"/>
                  <a:pt x="3975" y="1476"/>
                </a:cubicBezTo>
                <a:cubicBezTo>
                  <a:pt x="3979" y="1472"/>
                  <a:pt x="3984" y="1467"/>
                  <a:pt x="3988" y="1462"/>
                </a:cubicBezTo>
                <a:cubicBezTo>
                  <a:pt x="3992" y="1458"/>
                  <a:pt x="3995" y="1451"/>
                  <a:pt x="3995" y="1444"/>
                </a:cubicBezTo>
                <a:cubicBezTo>
                  <a:pt x="3995" y="1440"/>
                  <a:pt x="3995" y="1437"/>
                  <a:pt x="3993" y="1433"/>
                </a:cubicBezTo>
                <a:cubicBezTo>
                  <a:pt x="3988" y="1419"/>
                  <a:pt x="3981" y="1408"/>
                  <a:pt x="3982" y="1404"/>
                </a:cubicBezTo>
                <a:cubicBezTo>
                  <a:pt x="3982" y="1403"/>
                  <a:pt x="3982" y="1403"/>
                  <a:pt x="3983" y="1402"/>
                </a:cubicBezTo>
                <a:cubicBezTo>
                  <a:pt x="3986" y="1398"/>
                  <a:pt x="3990" y="1396"/>
                  <a:pt x="3994" y="1393"/>
                </a:cubicBezTo>
                <a:cubicBezTo>
                  <a:pt x="3997" y="1390"/>
                  <a:pt x="4002" y="1386"/>
                  <a:pt x="4002" y="1380"/>
                </a:cubicBezTo>
                <a:cubicBezTo>
                  <a:pt x="4002" y="1379"/>
                  <a:pt x="4002" y="1377"/>
                  <a:pt x="4000" y="1375"/>
                </a:cubicBezTo>
                <a:cubicBezTo>
                  <a:pt x="3999" y="1373"/>
                  <a:pt x="3996" y="1373"/>
                  <a:pt x="3995" y="1373"/>
                </a:cubicBezTo>
                <a:cubicBezTo>
                  <a:pt x="3991" y="1373"/>
                  <a:pt x="3990" y="1374"/>
                  <a:pt x="3989" y="1374"/>
                </a:cubicBezTo>
                <a:cubicBezTo>
                  <a:pt x="3987" y="1375"/>
                  <a:pt x="3986" y="1375"/>
                  <a:pt x="3985" y="1375"/>
                </a:cubicBezTo>
                <a:cubicBezTo>
                  <a:pt x="3985" y="1375"/>
                  <a:pt x="3985" y="1375"/>
                  <a:pt x="3985" y="1375"/>
                </a:cubicBezTo>
                <a:cubicBezTo>
                  <a:pt x="3985" y="1375"/>
                  <a:pt x="3985" y="1375"/>
                  <a:pt x="3983" y="1373"/>
                </a:cubicBezTo>
                <a:cubicBezTo>
                  <a:pt x="3982" y="1370"/>
                  <a:pt x="3980" y="1364"/>
                  <a:pt x="3980" y="1353"/>
                </a:cubicBezTo>
                <a:cubicBezTo>
                  <a:pt x="3980" y="1351"/>
                  <a:pt x="3979" y="1349"/>
                  <a:pt x="3977" y="1347"/>
                </a:cubicBezTo>
                <a:cubicBezTo>
                  <a:pt x="3975" y="1345"/>
                  <a:pt x="3973" y="1344"/>
                  <a:pt x="3971" y="1344"/>
                </a:cubicBezTo>
                <a:cubicBezTo>
                  <a:pt x="3965" y="1344"/>
                  <a:pt x="3961" y="1347"/>
                  <a:pt x="3957" y="1351"/>
                </a:cubicBezTo>
                <a:cubicBezTo>
                  <a:pt x="3953" y="1355"/>
                  <a:pt x="3949" y="1359"/>
                  <a:pt x="3948" y="1365"/>
                </a:cubicBezTo>
                <a:cubicBezTo>
                  <a:pt x="3948" y="1366"/>
                  <a:pt x="3948" y="1367"/>
                  <a:pt x="3948" y="1367"/>
                </a:cubicBezTo>
                <a:cubicBezTo>
                  <a:pt x="3948" y="1371"/>
                  <a:pt x="3949" y="1374"/>
                  <a:pt x="3950" y="1376"/>
                </a:cubicBezTo>
                <a:cubicBezTo>
                  <a:pt x="3950" y="1377"/>
                  <a:pt x="3950" y="1377"/>
                  <a:pt x="3951" y="1378"/>
                </a:cubicBezTo>
                <a:cubicBezTo>
                  <a:pt x="3949" y="1378"/>
                  <a:pt x="3947" y="1378"/>
                  <a:pt x="3945" y="1378"/>
                </a:cubicBezTo>
                <a:cubicBezTo>
                  <a:pt x="3932" y="1378"/>
                  <a:pt x="3924" y="1385"/>
                  <a:pt x="3920" y="1392"/>
                </a:cubicBezTo>
                <a:close/>
                <a:moveTo>
                  <a:pt x="4009" y="1068"/>
                </a:moveTo>
                <a:cubicBezTo>
                  <a:pt x="4005" y="1076"/>
                  <a:pt x="4003" y="1085"/>
                  <a:pt x="4003" y="1093"/>
                </a:cubicBezTo>
                <a:cubicBezTo>
                  <a:pt x="4003" y="1096"/>
                  <a:pt x="4003" y="1099"/>
                  <a:pt x="4005" y="1102"/>
                </a:cubicBezTo>
                <a:cubicBezTo>
                  <a:pt x="4006" y="1106"/>
                  <a:pt x="4010" y="1108"/>
                  <a:pt x="4014" y="1108"/>
                </a:cubicBezTo>
                <a:cubicBezTo>
                  <a:pt x="4014" y="1108"/>
                  <a:pt x="4014" y="1108"/>
                  <a:pt x="4015" y="1108"/>
                </a:cubicBezTo>
                <a:cubicBezTo>
                  <a:pt x="4015" y="1108"/>
                  <a:pt x="4015" y="1108"/>
                  <a:pt x="4016" y="1108"/>
                </a:cubicBezTo>
                <a:cubicBezTo>
                  <a:pt x="4025" y="1107"/>
                  <a:pt x="4030" y="1099"/>
                  <a:pt x="4034" y="1091"/>
                </a:cubicBezTo>
                <a:cubicBezTo>
                  <a:pt x="4038" y="1083"/>
                  <a:pt x="4041" y="1073"/>
                  <a:pt x="4041" y="1065"/>
                </a:cubicBezTo>
                <a:cubicBezTo>
                  <a:pt x="4041" y="1062"/>
                  <a:pt x="4041" y="1059"/>
                  <a:pt x="4039" y="1056"/>
                </a:cubicBezTo>
                <a:cubicBezTo>
                  <a:pt x="4038" y="1053"/>
                  <a:pt x="4034" y="1051"/>
                  <a:pt x="4030" y="1051"/>
                </a:cubicBezTo>
                <a:cubicBezTo>
                  <a:pt x="4029" y="1051"/>
                  <a:pt x="4029" y="1051"/>
                  <a:pt x="4028" y="1051"/>
                </a:cubicBezTo>
                <a:cubicBezTo>
                  <a:pt x="4028" y="1051"/>
                  <a:pt x="4028" y="1051"/>
                  <a:pt x="4028" y="1051"/>
                </a:cubicBezTo>
                <a:cubicBezTo>
                  <a:pt x="4019" y="1053"/>
                  <a:pt x="4013" y="1061"/>
                  <a:pt x="4009" y="1068"/>
                </a:cubicBezTo>
                <a:close/>
                <a:moveTo>
                  <a:pt x="3994" y="1206"/>
                </a:moveTo>
                <a:cubicBezTo>
                  <a:pt x="3994" y="1209"/>
                  <a:pt x="3995" y="1213"/>
                  <a:pt x="3997" y="1217"/>
                </a:cubicBezTo>
                <a:cubicBezTo>
                  <a:pt x="3997" y="1217"/>
                  <a:pt x="3997" y="1217"/>
                  <a:pt x="3997" y="1217"/>
                </a:cubicBezTo>
                <a:cubicBezTo>
                  <a:pt x="4001" y="1226"/>
                  <a:pt x="4008" y="1233"/>
                  <a:pt x="4014" y="1238"/>
                </a:cubicBezTo>
                <a:cubicBezTo>
                  <a:pt x="4017" y="1241"/>
                  <a:pt x="4019" y="1244"/>
                  <a:pt x="4021" y="1246"/>
                </a:cubicBezTo>
                <a:cubicBezTo>
                  <a:pt x="4021" y="1246"/>
                  <a:pt x="4022" y="1247"/>
                  <a:pt x="4022" y="1247"/>
                </a:cubicBezTo>
                <a:cubicBezTo>
                  <a:pt x="4017" y="1254"/>
                  <a:pt x="4000" y="1267"/>
                  <a:pt x="3997" y="1282"/>
                </a:cubicBezTo>
                <a:cubicBezTo>
                  <a:pt x="3996" y="1283"/>
                  <a:pt x="3996" y="1284"/>
                  <a:pt x="3996" y="1285"/>
                </a:cubicBezTo>
                <a:cubicBezTo>
                  <a:pt x="3996" y="1286"/>
                  <a:pt x="3997" y="1288"/>
                  <a:pt x="3998" y="1289"/>
                </a:cubicBezTo>
                <a:cubicBezTo>
                  <a:pt x="3999" y="1291"/>
                  <a:pt x="4002" y="1292"/>
                  <a:pt x="4003" y="1292"/>
                </a:cubicBezTo>
                <a:cubicBezTo>
                  <a:pt x="4003" y="1292"/>
                  <a:pt x="4004" y="1292"/>
                  <a:pt x="4004" y="1292"/>
                </a:cubicBezTo>
                <a:cubicBezTo>
                  <a:pt x="4009" y="1292"/>
                  <a:pt x="4011" y="1289"/>
                  <a:pt x="4014" y="1287"/>
                </a:cubicBezTo>
                <a:cubicBezTo>
                  <a:pt x="4024" y="1279"/>
                  <a:pt x="4038" y="1264"/>
                  <a:pt x="4043" y="1255"/>
                </a:cubicBezTo>
                <a:cubicBezTo>
                  <a:pt x="4046" y="1251"/>
                  <a:pt x="4049" y="1250"/>
                  <a:pt x="4054" y="1249"/>
                </a:cubicBezTo>
                <a:cubicBezTo>
                  <a:pt x="4057" y="1249"/>
                  <a:pt x="4060" y="1249"/>
                  <a:pt x="4063" y="1248"/>
                </a:cubicBezTo>
                <a:cubicBezTo>
                  <a:pt x="4065" y="1248"/>
                  <a:pt x="4069" y="1246"/>
                  <a:pt x="4071" y="1242"/>
                </a:cubicBezTo>
                <a:cubicBezTo>
                  <a:pt x="4075" y="1235"/>
                  <a:pt x="4075" y="1235"/>
                  <a:pt x="4075" y="1235"/>
                </a:cubicBezTo>
                <a:cubicBezTo>
                  <a:pt x="4076" y="1233"/>
                  <a:pt x="4076" y="1231"/>
                  <a:pt x="4075" y="1230"/>
                </a:cubicBezTo>
                <a:cubicBezTo>
                  <a:pt x="4074" y="1228"/>
                  <a:pt x="4072" y="1227"/>
                  <a:pt x="4071" y="1226"/>
                </a:cubicBezTo>
                <a:cubicBezTo>
                  <a:pt x="4071" y="1226"/>
                  <a:pt x="4058" y="1224"/>
                  <a:pt x="4048" y="1220"/>
                </a:cubicBezTo>
                <a:cubicBezTo>
                  <a:pt x="4046" y="1219"/>
                  <a:pt x="4044" y="1219"/>
                  <a:pt x="4042" y="1219"/>
                </a:cubicBezTo>
                <a:cubicBezTo>
                  <a:pt x="4039" y="1219"/>
                  <a:pt x="4036" y="1219"/>
                  <a:pt x="4034" y="1220"/>
                </a:cubicBezTo>
                <a:cubicBezTo>
                  <a:pt x="4034" y="1219"/>
                  <a:pt x="4034" y="1218"/>
                  <a:pt x="4035" y="1216"/>
                </a:cubicBezTo>
                <a:cubicBezTo>
                  <a:pt x="4037" y="1207"/>
                  <a:pt x="4041" y="1204"/>
                  <a:pt x="4045" y="1201"/>
                </a:cubicBezTo>
                <a:cubicBezTo>
                  <a:pt x="4049" y="1198"/>
                  <a:pt x="4055" y="1193"/>
                  <a:pt x="4055" y="1184"/>
                </a:cubicBezTo>
                <a:cubicBezTo>
                  <a:pt x="4055" y="1182"/>
                  <a:pt x="4055" y="1181"/>
                  <a:pt x="4054" y="1179"/>
                </a:cubicBezTo>
                <a:cubicBezTo>
                  <a:pt x="4053" y="1169"/>
                  <a:pt x="4048" y="1163"/>
                  <a:pt x="4043" y="1159"/>
                </a:cubicBezTo>
                <a:cubicBezTo>
                  <a:pt x="4038" y="1155"/>
                  <a:pt x="4034" y="1153"/>
                  <a:pt x="4030" y="1153"/>
                </a:cubicBezTo>
                <a:cubicBezTo>
                  <a:pt x="4026" y="1153"/>
                  <a:pt x="4021" y="1157"/>
                  <a:pt x="4021" y="1160"/>
                </a:cubicBezTo>
                <a:cubicBezTo>
                  <a:pt x="4019" y="1169"/>
                  <a:pt x="4022" y="1175"/>
                  <a:pt x="4016" y="1179"/>
                </a:cubicBezTo>
                <a:cubicBezTo>
                  <a:pt x="4012" y="1183"/>
                  <a:pt x="4007" y="1186"/>
                  <a:pt x="4003" y="1190"/>
                </a:cubicBezTo>
                <a:cubicBezTo>
                  <a:pt x="3998" y="1193"/>
                  <a:pt x="3994" y="1199"/>
                  <a:pt x="3994" y="1206"/>
                </a:cubicBezTo>
                <a:close/>
              </a:path>
            </a:pathLst>
          </a:custGeom>
          <a:solidFill>
            <a:schemeClr val="bg1">
              <a:alpha val="1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: 圆角 5"/>
          <p:cNvSpPr/>
          <p:nvPr userDrawn="1"/>
        </p:nvSpPr>
        <p:spPr>
          <a:xfrm>
            <a:off x="1463864" y="2607129"/>
            <a:ext cx="9804400" cy="2260600"/>
          </a:xfrm>
          <a:prstGeom prst="roundRect">
            <a:avLst/>
          </a:prstGeom>
          <a:gradFill>
            <a:gsLst>
              <a:gs pos="100000">
                <a:schemeClr val="accent2">
                  <a:alpha val="0"/>
                </a:schemeClr>
              </a:gs>
              <a:gs pos="0">
                <a:schemeClr val="accent1">
                  <a:alpha val="40000"/>
                </a:schemeClr>
              </a:gs>
            </a:gsLst>
            <a:lin ang="2700000" scaled="1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endParaRPr kumimoji="0" lang="zh-CN" altLang="en-US" sz="1800" b="0" i="0" u="none" strike="noStrike" kern="0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</a:endParaRPr>
          </a:p>
        </p:txBody>
      </p:sp>
      <p:sp>
        <p:nvSpPr>
          <p:cNvPr id="2" name="矩形: 圆角 1"/>
          <p:cNvSpPr/>
          <p:nvPr userDrawn="1"/>
        </p:nvSpPr>
        <p:spPr>
          <a:xfrm>
            <a:off x="1333500" y="2377673"/>
            <a:ext cx="9804400" cy="2260600"/>
          </a:xfrm>
          <a:prstGeom prst="roundRect">
            <a:avLst/>
          </a:prstGeo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2700000" scaled="1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endParaRPr kumimoji="0" lang="zh-CN" altLang="en-US" sz="1800" b="0" i="0" u="none" strike="noStrike" kern="0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</a:endParaRPr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5482370" y="2533650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5483486" y="3429002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pic>
        <p:nvPicPr>
          <p:cNvPr id="4" name="图形 3"/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10262"/>
          <a:stretch>
            <a:fillRect/>
          </a:stretch>
        </p:blipFill>
        <p:spPr>
          <a:xfrm>
            <a:off x="923737" y="1983973"/>
            <a:ext cx="4323404" cy="3113212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t>2022/9/8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669925" y="1130301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t>2022/9/8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16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2700000" scaled="1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  <p:sp>
        <p:nvSpPr>
          <p:cNvPr id="8" name="Freeform 113"/>
          <p:cNvSpPr>
            <a:spLocks noEditPoints="1"/>
          </p:cNvSpPr>
          <p:nvPr userDrawn="1"/>
        </p:nvSpPr>
        <p:spPr bwMode="auto">
          <a:xfrm>
            <a:off x="561232" y="688977"/>
            <a:ext cx="11069536" cy="5442156"/>
          </a:xfrm>
          <a:custGeom>
            <a:avLst/>
            <a:gdLst>
              <a:gd name="T0" fmla="*/ 1302 w 4832"/>
              <a:gd name="T1" fmla="*/ 472 h 2374"/>
              <a:gd name="T2" fmla="*/ 92 w 4832"/>
              <a:gd name="T3" fmla="*/ 600 h 2374"/>
              <a:gd name="T4" fmla="*/ 1495 w 4832"/>
              <a:gd name="T5" fmla="*/ 1292 h 2374"/>
              <a:gd name="T6" fmla="*/ 1140 w 4832"/>
              <a:gd name="T7" fmla="*/ 1152 h 2374"/>
              <a:gd name="T8" fmla="*/ 1388 w 4832"/>
              <a:gd name="T9" fmla="*/ 822 h 2374"/>
              <a:gd name="T10" fmla="*/ 1513 w 4832"/>
              <a:gd name="T11" fmla="*/ 658 h 2374"/>
              <a:gd name="T12" fmla="*/ 1510 w 4832"/>
              <a:gd name="T13" fmla="*/ 476 h 2374"/>
              <a:gd name="T14" fmla="*/ 1245 w 4832"/>
              <a:gd name="T15" fmla="*/ 556 h 2374"/>
              <a:gd name="T16" fmla="*/ 1284 w 4832"/>
              <a:gd name="T17" fmla="*/ 342 h 2374"/>
              <a:gd name="T18" fmla="*/ 1483 w 4832"/>
              <a:gd name="T19" fmla="*/ 457 h 2374"/>
              <a:gd name="T20" fmla="*/ 1210 w 4832"/>
              <a:gd name="T21" fmla="*/ 260 h 2374"/>
              <a:gd name="T22" fmla="*/ 1115 w 4832"/>
              <a:gd name="T23" fmla="*/ 248 h 2374"/>
              <a:gd name="T24" fmla="*/ 972 w 4832"/>
              <a:gd name="T25" fmla="*/ 264 h 2374"/>
              <a:gd name="T26" fmla="*/ 897 w 4832"/>
              <a:gd name="T27" fmla="*/ 188 h 2374"/>
              <a:gd name="T28" fmla="*/ 782 w 4832"/>
              <a:gd name="T29" fmla="*/ 326 h 2374"/>
              <a:gd name="T30" fmla="*/ 208 w 4832"/>
              <a:gd name="T31" fmla="*/ 312 h 2374"/>
              <a:gd name="T32" fmla="*/ 196 w 4832"/>
              <a:gd name="T33" fmla="*/ 519 h 2374"/>
              <a:gd name="T34" fmla="*/ 417 w 4832"/>
              <a:gd name="T35" fmla="*/ 484 h 2374"/>
              <a:gd name="T36" fmla="*/ 813 w 4832"/>
              <a:gd name="T37" fmla="*/ 1027 h 2374"/>
              <a:gd name="T38" fmla="*/ 1225 w 4832"/>
              <a:gd name="T39" fmla="*/ 1313 h 2374"/>
              <a:gd name="T40" fmla="*/ 1402 w 4832"/>
              <a:gd name="T41" fmla="*/ 1972 h 2374"/>
              <a:gd name="T42" fmla="*/ 1500 w 4832"/>
              <a:gd name="T43" fmla="*/ 2229 h 2374"/>
              <a:gd name="T44" fmla="*/ 1858 w 4832"/>
              <a:gd name="T45" fmla="*/ 1697 h 2374"/>
              <a:gd name="T46" fmla="*/ 1242 w 4832"/>
              <a:gd name="T47" fmla="*/ 708 h 2374"/>
              <a:gd name="T48" fmla="*/ 1197 w 4832"/>
              <a:gd name="T49" fmla="*/ 354 h 2374"/>
              <a:gd name="T50" fmla="*/ 1678 w 4832"/>
              <a:gd name="T51" fmla="*/ 1473 h 2374"/>
              <a:gd name="T52" fmla="*/ 4069 w 4832"/>
              <a:gd name="T53" fmla="*/ 1312 h 2374"/>
              <a:gd name="T54" fmla="*/ 4372 w 4832"/>
              <a:gd name="T55" fmla="*/ 1753 h 2374"/>
              <a:gd name="T56" fmla="*/ 4278 w 4832"/>
              <a:gd name="T57" fmla="*/ 1604 h 2374"/>
              <a:gd name="T58" fmla="*/ 3915 w 4832"/>
              <a:gd name="T59" fmla="*/ 1902 h 2374"/>
              <a:gd name="T60" fmla="*/ 4355 w 4832"/>
              <a:gd name="T61" fmla="*/ 2105 h 2374"/>
              <a:gd name="T62" fmla="*/ 4769 w 4832"/>
              <a:gd name="T63" fmla="*/ 2066 h 2374"/>
              <a:gd name="T64" fmla="*/ 2422 w 4832"/>
              <a:gd name="T65" fmla="*/ 804 h 2374"/>
              <a:gd name="T66" fmla="*/ 4823 w 4832"/>
              <a:gd name="T67" fmla="*/ 362 h 2374"/>
              <a:gd name="T68" fmla="*/ 4216 w 4832"/>
              <a:gd name="T69" fmla="*/ 296 h 2374"/>
              <a:gd name="T70" fmla="*/ 3529 w 4832"/>
              <a:gd name="T71" fmla="*/ 259 h 2374"/>
              <a:gd name="T72" fmla="*/ 3291 w 4832"/>
              <a:gd name="T73" fmla="*/ 342 h 2374"/>
              <a:gd name="T74" fmla="*/ 2474 w 4832"/>
              <a:gd name="T75" fmla="*/ 531 h 2374"/>
              <a:gd name="T76" fmla="*/ 2305 w 4832"/>
              <a:gd name="T77" fmla="*/ 617 h 2374"/>
              <a:gd name="T78" fmla="*/ 2144 w 4832"/>
              <a:gd name="T79" fmla="*/ 1215 h 2374"/>
              <a:gd name="T80" fmla="*/ 2625 w 4832"/>
              <a:gd name="T81" fmla="*/ 2014 h 2374"/>
              <a:gd name="T82" fmla="*/ 2980 w 4832"/>
              <a:gd name="T83" fmla="*/ 1294 h 2374"/>
              <a:gd name="T84" fmla="*/ 3319 w 4832"/>
              <a:gd name="T85" fmla="*/ 1093 h 2374"/>
              <a:gd name="T86" fmla="*/ 3704 w 4832"/>
              <a:gd name="T87" fmla="*/ 1197 h 2374"/>
              <a:gd name="T88" fmla="*/ 3889 w 4832"/>
              <a:gd name="T89" fmla="*/ 1144 h 2374"/>
              <a:gd name="T90" fmla="*/ 4171 w 4832"/>
              <a:gd name="T91" fmla="*/ 771 h 2374"/>
              <a:gd name="T92" fmla="*/ 4460 w 4832"/>
              <a:gd name="T93" fmla="*/ 517 h 2374"/>
              <a:gd name="T94" fmla="*/ 2804 w 4832"/>
              <a:gd name="T95" fmla="*/ 472 h 2374"/>
              <a:gd name="T96" fmla="*/ 2604 w 4832"/>
              <a:gd name="T97" fmla="*/ 555 h 2374"/>
              <a:gd name="T98" fmla="*/ 2520 w 4832"/>
              <a:gd name="T99" fmla="*/ 531 h 2374"/>
              <a:gd name="T100" fmla="*/ 2577 w 4832"/>
              <a:gd name="T101" fmla="*/ 935 h 2374"/>
              <a:gd name="T102" fmla="*/ 2607 w 4832"/>
              <a:gd name="T103" fmla="*/ 851 h 2374"/>
              <a:gd name="T104" fmla="*/ 2929 w 4832"/>
              <a:gd name="T105" fmla="*/ 1150 h 2374"/>
              <a:gd name="T106" fmla="*/ 3433 w 4832"/>
              <a:gd name="T107" fmla="*/ 335 h 2374"/>
              <a:gd name="T108" fmla="*/ 2048 w 4832"/>
              <a:gd name="T109" fmla="*/ 113 h 2374"/>
              <a:gd name="T110" fmla="*/ 1424 w 4832"/>
              <a:gd name="T111" fmla="*/ 188 h 2374"/>
              <a:gd name="T112" fmla="*/ 1778 w 4832"/>
              <a:gd name="T113" fmla="*/ 447 h 2374"/>
              <a:gd name="T114" fmla="*/ 1978 w 4832"/>
              <a:gd name="T115" fmla="*/ 315 h 2374"/>
              <a:gd name="T116" fmla="*/ 3020 w 4832"/>
              <a:gd name="T117" fmla="*/ 1881 h 2374"/>
              <a:gd name="T118" fmla="*/ 1328 w 4832"/>
              <a:gd name="T119" fmla="*/ 1167 h 2374"/>
              <a:gd name="T120" fmla="*/ 3863 w 4832"/>
              <a:gd name="T121" fmla="*/ 1594 h 2374"/>
              <a:gd name="T122" fmla="*/ 4308 w 4832"/>
              <a:gd name="T123" fmla="*/ 812 h 2374"/>
              <a:gd name="T124" fmla="*/ 3980 w 4832"/>
              <a:gd name="T125" fmla="*/ 1353 h 23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832" h="2374">
                <a:moveTo>
                  <a:pt x="3080" y="309"/>
                </a:moveTo>
                <a:cubicBezTo>
                  <a:pt x="3080" y="309"/>
                  <a:pt x="3080" y="309"/>
                  <a:pt x="3080" y="309"/>
                </a:cubicBezTo>
                <a:cubicBezTo>
                  <a:pt x="3088" y="312"/>
                  <a:pt x="3102" y="313"/>
                  <a:pt x="3113" y="320"/>
                </a:cubicBezTo>
                <a:cubicBezTo>
                  <a:pt x="3121" y="325"/>
                  <a:pt x="3131" y="328"/>
                  <a:pt x="3140" y="328"/>
                </a:cubicBezTo>
                <a:cubicBezTo>
                  <a:pt x="3140" y="328"/>
                  <a:pt x="3140" y="328"/>
                  <a:pt x="3140" y="328"/>
                </a:cubicBezTo>
                <a:cubicBezTo>
                  <a:pt x="3148" y="328"/>
                  <a:pt x="3155" y="326"/>
                  <a:pt x="3160" y="320"/>
                </a:cubicBezTo>
                <a:cubicBezTo>
                  <a:pt x="3163" y="316"/>
                  <a:pt x="3165" y="312"/>
                  <a:pt x="3165" y="307"/>
                </a:cubicBezTo>
                <a:cubicBezTo>
                  <a:pt x="3165" y="303"/>
                  <a:pt x="3163" y="299"/>
                  <a:pt x="3161" y="295"/>
                </a:cubicBezTo>
                <a:cubicBezTo>
                  <a:pt x="3159" y="292"/>
                  <a:pt x="3156" y="289"/>
                  <a:pt x="3152" y="288"/>
                </a:cubicBezTo>
                <a:cubicBezTo>
                  <a:pt x="3152" y="288"/>
                  <a:pt x="3152" y="288"/>
                  <a:pt x="3152" y="288"/>
                </a:cubicBezTo>
                <a:cubicBezTo>
                  <a:pt x="3152" y="287"/>
                  <a:pt x="3152" y="287"/>
                  <a:pt x="3152" y="286"/>
                </a:cubicBezTo>
                <a:cubicBezTo>
                  <a:pt x="3152" y="285"/>
                  <a:pt x="3153" y="281"/>
                  <a:pt x="3160" y="277"/>
                </a:cubicBezTo>
                <a:cubicBezTo>
                  <a:pt x="3175" y="267"/>
                  <a:pt x="3191" y="255"/>
                  <a:pt x="3206" y="253"/>
                </a:cubicBezTo>
                <a:cubicBezTo>
                  <a:pt x="3215" y="251"/>
                  <a:pt x="3231" y="250"/>
                  <a:pt x="3245" y="250"/>
                </a:cubicBezTo>
                <a:cubicBezTo>
                  <a:pt x="3257" y="250"/>
                  <a:pt x="3269" y="251"/>
                  <a:pt x="3273" y="253"/>
                </a:cubicBezTo>
                <a:cubicBezTo>
                  <a:pt x="3275" y="253"/>
                  <a:pt x="3277" y="253"/>
                  <a:pt x="3279" y="253"/>
                </a:cubicBezTo>
                <a:cubicBezTo>
                  <a:pt x="3288" y="253"/>
                  <a:pt x="3297" y="247"/>
                  <a:pt x="3304" y="241"/>
                </a:cubicBezTo>
                <a:cubicBezTo>
                  <a:pt x="3312" y="235"/>
                  <a:pt x="3318" y="228"/>
                  <a:pt x="3321" y="222"/>
                </a:cubicBezTo>
                <a:cubicBezTo>
                  <a:pt x="3322" y="220"/>
                  <a:pt x="3322" y="218"/>
                  <a:pt x="3322" y="216"/>
                </a:cubicBezTo>
                <a:cubicBezTo>
                  <a:pt x="3322" y="211"/>
                  <a:pt x="3319" y="207"/>
                  <a:pt x="3315" y="205"/>
                </a:cubicBezTo>
                <a:cubicBezTo>
                  <a:pt x="3311" y="203"/>
                  <a:pt x="3307" y="202"/>
                  <a:pt x="3302" y="202"/>
                </a:cubicBezTo>
                <a:cubicBezTo>
                  <a:pt x="3296" y="202"/>
                  <a:pt x="3289" y="204"/>
                  <a:pt x="3285" y="210"/>
                </a:cubicBezTo>
                <a:cubicBezTo>
                  <a:pt x="3285" y="213"/>
                  <a:pt x="3274" y="216"/>
                  <a:pt x="3263" y="216"/>
                </a:cubicBezTo>
                <a:cubicBezTo>
                  <a:pt x="3255" y="216"/>
                  <a:pt x="3247" y="214"/>
                  <a:pt x="3245" y="214"/>
                </a:cubicBezTo>
                <a:cubicBezTo>
                  <a:pt x="3243" y="213"/>
                  <a:pt x="3242" y="213"/>
                  <a:pt x="3240" y="213"/>
                </a:cubicBezTo>
                <a:cubicBezTo>
                  <a:pt x="3232" y="213"/>
                  <a:pt x="3217" y="216"/>
                  <a:pt x="3202" y="218"/>
                </a:cubicBezTo>
                <a:cubicBezTo>
                  <a:pt x="3188" y="221"/>
                  <a:pt x="3173" y="224"/>
                  <a:pt x="3169" y="224"/>
                </a:cubicBezTo>
                <a:cubicBezTo>
                  <a:pt x="3160" y="224"/>
                  <a:pt x="3155" y="230"/>
                  <a:pt x="3151" y="235"/>
                </a:cubicBezTo>
                <a:cubicBezTo>
                  <a:pt x="3146" y="241"/>
                  <a:pt x="3141" y="246"/>
                  <a:pt x="3134" y="250"/>
                </a:cubicBezTo>
                <a:cubicBezTo>
                  <a:pt x="3118" y="258"/>
                  <a:pt x="3096" y="270"/>
                  <a:pt x="3088" y="274"/>
                </a:cubicBezTo>
                <a:cubicBezTo>
                  <a:pt x="3080" y="279"/>
                  <a:pt x="3074" y="289"/>
                  <a:pt x="3073" y="299"/>
                </a:cubicBezTo>
                <a:cubicBezTo>
                  <a:pt x="3073" y="302"/>
                  <a:pt x="3075" y="307"/>
                  <a:pt x="3080" y="309"/>
                </a:cubicBezTo>
                <a:close/>
                <a:moveTo>
                  <a:pt x="969" y="199"/>
                </a:moveTo>
                <a:cubicBezTo>
                  <a:pt x="977" y="199"/>
                  <a:pt x="989" y="196"/>
                  <a:pt x="995" y="196"/>
                </a:cubicBezTo>
                <a:cubicBezTo>
                  <a:pt x="995" y="196"/>
                  <a:pt x="995" y="196"/>
                  <a:pt x="995" y="196"/>
                </a:cubicBezTo>
                <a:cubicBezTo>
                  <a:pt x="995" y="200"/>
                  <a:pt x="995" y="199"/>
                  <a:pt x="996" y="201"/>
                </a:cubicBezTo>
                <a:cubicBezTo>
                  <a:pt x="999" y="206"/>
                  <a:pt x="1003" y="208"/>
                  <a:pt x="1009" y="209"/>
                </a:cubicBezTo>
                <a:cubicBezTo>
                  <a:pt x="1019" y="210"/>
                  <a:pt x="1024" y="213"/>
                  <a:pt x="1031" y="213"/>
                </a:cubicBezTo>
                <a:cubicBezTo>
                  <a:pt x="1031" y="213"/>
                  <a:pt x="1032" y="213"/>
                  <a:pt x="1032" y="213"/>
                </a:cubicBezTo>
                <a:cubicBezTo>
                  <a:pt x="1035" y="213"/>
                  <a:pt x="1038" y="211"/>
                  <a:pt x="1039" y="209"/>
                </a:cubicBezTo>
                <a:cubicBezTo>
                  <a:pt x="1041" y="206"/>
                  <a:pt x="1041" y="204"/>
                  <a:pt x="1041" y="202"/>
                </a:cubicBezTo>
                <a:cubicBezTo>
                  <a:pt x="1041" y="195"/>
                  <a:pt x="1039" y="189"/>
                  <a:pt x="1035" y="183"/>
                </a:cubicBezTo>
                <a:cubicBezTo>
                  <a:pt x="1032" y="179"/>
                  <a:pt x="1031" y="177"/>
                  <a:pt x="1028" y="174"/>
                </a:cubicBezTo>
                <a:cubicBezTo>
                  <a:pt x="1024" y="172"/>
                  <a:pt x="1021" y="171"/>
                  <a:pt x="1014" y="169"/>
                </a:cubicBezTo>
                <a:cubicBezTo>
                  <a:pt x="1004" y="165"/>
                  <a:pt x="994" y="164"/>
                  <a:pt x="985" y="164"/>
                </a:cubicBezTo>
                <a:cubicBezTo>
                  <a:pt x="981" y="164"/>
                  <a:pt x="978" y="165"/>
                  <a:pt x="975" y="165"/>
                </a:cubicBezTo>
                <a:cubicBezTo>
                  <a:pt x="971" y="165"/>
                  <a:pt x="966" y="165"/>
                  <a:pt x="960" y="166"/>
                </a:cubicBezTo>
                <a:cubicBezTo>
                  <a:pt x="955" y="167"/>
                  <a:pt x="949" y="173"/>
                  <a:pt x="948" y="181"/>
                </a:cubicBezTo>
                <a:cubicBezTo>
                  <a:pt x="948" y="182"/>
                  <a:pt x="948" y="182"/>
                  <a:pt x="948" y="183"/>
                </a:cubicBezTo>
                <a:cubicBezTo>
                  <a:pt x="948" y="194"/>
                  <a:pt x="959" y="199"/>
                  <a:pt x="969" y="199"/>
                </a:cubicBezTo>
                <a:close/>
                <a:moveTo>
                  <a:pt x="1296" y="449"/>
                </a:moveTo>
                <a:cubicBezTo>
                  <a:pt x="1294" y="449"/>
                  <a:pt x="1292" y="449"/>
                  <a:pt x="1290" y="450"/>
                </a:cubicBezTo>
                <a:cubicBezTo>
                  <a:pt x="1290" y="450"/>
                  <a:pt x="1290" y="450"/>
                  <a:pt x="1290" y="450"/>
                </a:cubicBezTo>
                <a:cubicBezTo>
                  <a:pt x="1285" y="452"/>
                  <a:pt x="1281" y="455"/>
                  <a:pt x="1281" y="461"/>
                </a:cubicBezTo>
                <a:cubicBezTo>
                  <a:pt x="1282" y="470"/>
                  <a:pt x="1289" y="473"/>
                  <a:pt x="1296" y="474"/>
                </a:cubicBezTo>
                <a:cubicBezTo>
                  <a:pt x="1298" y="474"/>
                  <a:pt x="1300" y="473"/>
                  <a:pt x="1302" y="472"/>
                </a:cubicBezTo>
                <a:cubicBezTo>
                  <a:pt x="1306" y="470"/>
                  <a:pt x="1309" y="466"/>
                  <a:pt x="1309" y="461"/>
                </a:cubicBezTo>
                <a:cubicBezTo>
                  <a:pt x="1309" y="458"/>
                  <a:pt x="1308" y="455"/>
                  <a:pt x="1305" y="452"/>
                </a:cubicBezTo>
                <a:cubicBezTo>
                  <a:pt x="1303" y="450"/>
                  <a:pt x="1300" y="449"/>
                  <a:pt x="1296" y="449"/>
                </a:cubicBezTo>
                <a:close/>
                <a:moveTo>
                  <a:pt x="1480" y="1152"/>
                </a:moveTo>
                <a:cubicBezTo>
                  <a:pt x="1480" y="1152"/>
                  <a:pt x="1480" y="1152"/>
                  <a:pt x="1480" y="1152"/>
                </a:cubicBezTo>
                <a:cubicBezTo>
                  <a:pt x="1480" y="1152"/>
                  <a:pt x="1480" y="1152"/>
                  <a:pt x="1480" y="1152"/>
                </a:cubicBezTo>
                <a:cubicBezTo>
                  <a:pt x="1471" y="1152"/>
                  <a:pt x="1469" y="1162"/>
                  <a:pt x="1469" y="1169"/>
                </a:cubicBezTo>
                <a:cubicBezTo>
                  <a:pt x="1469" y="1173"/>
                  <a:pt x="1470" y="1177"/>
                  <a:pt x="1472" y="1181"/>
                </a:cubicBezTo>
                <a:cubicBezTo>
                  <a:pt x="1474" y="1184"/>
                  <a:pt x="1478" y="1188"/>
                  <a:pt x="1483" y="1188"/>
                </a:cubicBezTo>
                <a:cubicBezTo>
                  <a:pt x="1483" y="1188"/>
                  <a:pt x="1483" y="1188"/>
                  <a:pt x="1483" y="1188"/>
                </a:cubicBezTo>
                <a:cubicBezTo>
                  <a:pt x="1485" y="1188"/>
                  <a:pt x="1486" y="1187"/>
                  <a:pt x="1488" y="1186"/>
                </a:cubicBezTo>
                <a:cubicBezTo>
                  <a:pt x="1495" y="1184"/>
                  <a:pt x="1499" y="1176"/>
                  <a:pt x="1499" y="1170"/>
                </a:cubicBezTo>
                <a:cubicBezTo>
                  <a:pt x="1499" y="1162"/>
                  <a:pt x="1494" y="1152"/>
                  <a:pt x="1483" y="1152"/>
                </a:cubicBezTo>
                <a:cubicBezTo>
                  <a:pt x="1482" y="1152"/>
                  <a:pt x="1481" y="1152"/>
                  <a:pt x="1480" y="1152"/>
                </a:cubicBezTo>
                <a:cubicBezTo>
                  <a:pt x="1480" y="1152"/>
                  <a:pt x="1480" y="1152"/>
                  <a:pt x="1480" y="1152"/>
                </a:cubicBezTo>
                <a:cubicBezTo>
                  <a:pt x="1480" y="1152"/>
                  <a:pt x="1480" y="1152"/>
                  <a:pt x="1480" y="1152"/>
                </a:cubicBezTo>
                <a:close/>
                <a:moveTo>
                  <a:pt x="54" y="612"/>
                </a:moveTo>
                <a:cubicBezTo>
                  <a:pt x="51" y="611"/>
                  <a:pt x="38" y="605"/>
                  <a:pt x="38" y="605"/>
                </a:cubicBezTo>
                <a:cubicBezTo>
                  <a:pt x="37" y="605"/>
                  <a:pt x="37" y="605"/>
                  <a:pt x="37" y="605"/>
                </a:cubicBezTo>
                <a:cubicBezTo>
                  <a:pt x="33" y="604"/>
                  <a:pt x="30" y="604"/>
                  <a:pt x="26" y="604"/>
                </a:cubicBezTo>
                <a:cubicBezTo>
                  <a:pt x="21" y="604"/>
                  <a:pt x="16" y="605"/>
                  <a:pt x="12" y="606"/>
                </a:cubicBezTo>
                <a:cubicBezTo>
                  <a:pt x="7" y="607"/>
                  <a:pt x="3" y="609"/>
                  <a:pt x="0" y="614"/>
                </a:cubicBezTo>
                <a:cubicBezTo>
                  <a:pt x="0" y="615"/>
                  <a:pt x="0" y="616"/>
                  <a:pt x="0" y="617"/>
                </a:cubicBezTo>
                <a:cubicBezTo>
                  <a:pt x="0" y="622"/>
                  <a:pt x="2" y="624"/>
                  <a:pt x="4" y="626"/>
                </a:cubicBezTo>
                <a:cubicBezTo>
                  <a:pt x="11" y="630"/>
                  <a:pt x="20" y="632"/>
                  <a:pt x="28" y="632"/>
                </a:cubicBezTo>
                <a:cubicBezTo>
                  <a:pt x="33" y="632"/>
                  <a:pt x="40" y="630"/>
                  <a:pt x="45" y="628"/>
                </a:cubicBezTo>
                <a:cubicBezTo>
                  <a:pt x="48" y="627"/>
                  <a:pt x="50" y="627"/>
                  <a:pt x="53" y="626"/>
                </a:cubicBezTo>
                <a:cubicBezTo>
                  <a:pt x="54" y="625"/>
                  <a:pt x="54" y="624"/>
                  <a:pt x="55" y="624"/>
                </a:cubicBezTo>
                <a:cubicBezTo>
                  <a:pt x="56" y="623"/>
                  <a:pt x="58" y="622"/>
                  <a:pt x="59" y="618"/>
                </a:cubicBezTo>
                <a:cubicBezTo>
                  <a:pt x="59" y="614"/>
                  <a:pt x="55" y="612"/>
                  <a:pt x="54" y="612"/>
                </a:cubicBezTo>
                <a:close/>
                <a:moveTo>
                  <a:pt x="1421" y="1133"/>
                </a:moveTo>
                <a:cubicBezTo>
                  <a:pt x="1413" y="1133"/>
                  <a:pt x="1406" y="1135"/>
                  <a:pt x="1402" y="1135"/>
                </a:cubicBezTo>
                <a:cubicBezTo>
                  <a:pt x="1395" y="1137"/>
                  <a:pt x="1389" y="1143"/>
                  <a:pt x="1383" y="1148"/>
                </a:cubicBezTo>
                <a:cubicBezTo>
                  <a:pt x="1377" y="1154"/>
                  <a:pt x="1372" y="1159"/>
                  <a:pt x="1372" y="1159"/>
                </a:cubicBezTo>
                <a:cubicBezTo>
                  <a:pt x="1371" y="1161"/>
                  <a:pt x="1370" y="1163"/>
                  <a:pt x="1371" y="1165"/>
                </a:cubicBezTo>
                <a:cubicBezTo>
                  <a:pt x="1371" y="1167"/>
                  <a:pt x="1373" y="1169"/>
                  <a:pt x="1375" y="1169"/>
                </a:cubicBezTo>
                <a:cubicBezTo>
                  <a:pt x="1376" y="1169"/>
                  <a:pt x="1388" y="1172"/>
                  <a:pt x="1397" y="1172"/>
                </a:cubicBezTo>
                <a:cubicBezTo>
                  <a:pt x="1402" y="1172"/>
                  <a:pt x="1406" y="1176"/>
                  <a:pt x="1414" y="1181"/>
                </a:cubicBezTo>
                <a:cubicBezTo>
                  <a:pt x="1416" y="1182"/>
                  <a:pt x="1419" y="1183"/>
                  <a:pt x="1421" y="1183"/>
                </a:cubicBezTo>
                <a:cubicBezTo>
                  <a:pt x="1426" y="1183"/>
                  <a:pt x="1431" y="1181"/>
                  <a:pt x="1435" y="1179"/>
                </a:cubicBezTo>
                <a:cubicBezTo>
                  <a:pt x="1437" y="1178"/>
                  <a:pt x="1438" y="1178"/>
                  <a:pt x="1440" y="1177"/>
                </a:cubicBezTo>
                <a:cubicBezTo>
                  <a:pt x="1440" y="1177"/>
                  <a:pt x="1440" y="1177"/>
                  <a:pt x="1440" y="1177"/>
                </a:cubicBezTo>
                <a:cubicBezTo>
                  <a:pt x="1441" y="1177"/>
                  <a:pt x="1441" y="1178"/>
                  <a:pt x="1442" y="1179"/>
                </a:cubicBezTo>
                <a:cubicBezTo>
                  <a:pt x="1444" y="1180"/>
                  <a:pt x="1444" y="1183"/>
                  <a:pt x="1450" y="1183"/>
                </a:cubicBezTo>
                <a:cubicBezTo>
                  <a:pt x="1454" y="1183"/>
                  <a:pt x="1457" y="1179"/>
                  <a:pt x="1457" y="1178"/>
                </a:cubicBezTo>
                <a:cubicBezTo>
                  <a:pt x="1458" y="1175"/>
                  <a:pt x="1458" y="1173"/>
                  <a:pt x="1459" y="1169"/>
                </a:cubicBezTo>
                <a:cubicBezTo>
                  <a:pt x="1459" y="1169"/>
                  <a:pt x="1459" y="1168"/>
                  <a:pt x="1459" y="1167"/>
                </a:cubicBezTo>
                <a:cubicBezTo>
                  <a:pt x="1458" y="1146"/>
                  <a:pt x="1441" y="1137"/>
                  <a:pt x="1431" y="1134"/>
                </a:cubicBezTo>
                <a:cubicBezTo>
                  <a:pt x="1428" y="1133"/>
                  <a:pt x="1424" y="1133"/>
                  <a:pt x="1421" y="1133"/>
                </a:cubicBezTo>
                <a:close/>
                <a:moveTo>
                  <a:pt x="128" y="575"/>
                </a:moveTo>
                <a:cubicBezTo>
                  <a:pt x="128" y="575"/>
                  <a:pt x="128" y="575"/>
                  <a:pt x="128" y="575"/>
                </a:cubicBezTo>
                <a:cubicBezTo>
                  <a:pt x="124" y="574"/>
                  <a:pt x="124" y="574"/>
                  <a:pt x="122" y="574"/>
                </a:cubicBezTo>
                <a:cubicBezTo>
                  <a:pt x="118" y="573"/>
                  <a:pt x="114" y="577"/>
                  <a:pt x="113" y="580"/>
                </a:cubicBezTo>
                <a:cubicBezTo>
                  <a:pt x="111" y="584"/>
                  <a:pt x="110" y="588"/>
                  <a:pt x="109" y="591"/>
                </a:cubicBezTo>
                <a:cubicBezTo>
                  <a:pt x="108" y="594"/>
                  <a:pt x="107" y="595"/>
                  <a:pt x="106" y="595"/>
                </a:cubicBezTo>
                <a:cubicBezTo>
                  <a:pt x="101" y="596"/>
                  <a:pt x="96" y="598"/>
                  <a:pt x="92" y="600"/>
                </a:cubicBezTo>
                <a:cubicBezTo>
                  <a:pt x="90" y="601"/>
                  <a:pt x="88" y="602"/>
                  <a:pt x="86" y="604"/>
                </a:cubicBezTo>
                <a:cubicBezTo>
                  <a:pt x="85" y="605"/>
                  <a:pt x="82" y="607"/>
                  <a:pt x="82" y="611"/>
                </a:cubicBezTo>
                <a:cubicBezTo>
                  <a:pt x="82" y="613"/>
                  <a:pt x="84" y="616"/>
                  <a:pt x="85" y="617"/>
                </a:cubicBezTo>
                <a:cubicBezTo>
                  <a:pt x="87" y="618"/>
                  <a:pt x="88" y="619"/>
                  <a:pt x="89" y="619"/>
                </a:cubicBezTo>
                <a:cubicBezTo>
                  <a:pt x="92" y="620"/>
                  <a:pt x="96" y="620"/>
                  <a:pt x="99" y="620"/>
                </a:cubicBezTo>
                <a:cubicBezTo>
                  <a:pt x="104" y="620"/>
                  <a:pt x="110" y="620"/>
                  <a:pt x="116" y="618"/>
                </a:cubicBezTo>
                <a:cubicBezTo>
                  <a:pt x="121" y="616"/>
                  <a:pt x="125" y="616"/>
                  <a:pt x="129" y="611"/>
                </a:cubicBezTo>
                <a:cubicBezTo>
                  <a:pt x="130" y="608"/>
                  <a:pt x="131" y="605"/>
                  <a:pt x="131" y="601"/>
                </a:cubicBezTo>
                <a:cubicBezTo>
                  <a:pt x="132" y="597"/>
                  <a:pt x="132" y="592"/>
                  <a:pt x="132" y="588"/>
                </a:cubicBezTo>
                <a:cubicBezTo>
                  <a:pt x="132" y="586"/>
                  <a:pt x="133" y="584"/>
                  <a:pt x="132" y="582"/>
                </a:cubicBezTo>
                <a:cubicBezTo>
                  <a:pt x="132" y="580"/>
                  <a:pt x="132" y="577"/>
                  <a:pt x="128" y="575"/>
                </a:cubicBezTo>
                <a:close/>
                <a:moveTo>
                  <a:pt x="1894" y="1537"/>
                </a:moveTo>
                <a:cubicBezTo>
                  <a:pt x="1894" y="1537"/>
                  <a:pt x="1894" y="1537"/>
                  <a:pt x="1894" y="1537"/>
                </a:cubicBezTo>
                <a:cubicBezTo>
                  <a:pt x="1884" y="1532"/>
                  <a:pt x="1868" y="1530"/>
                  <a:pt x="1864" y="1523"/>
                </a:cubicBezTo>
                <a:cubicBezTo>
                  <a:pt x="1860" y="1517"/>
                  <a:pt x="1854" y="1511"/>
                  <a:pt x="1847" y="1507"/>
                </a:cubicBezTo>
                <a:cubicBezTo>
                  <a:pt x="1841" y="1503"/>
                  <a:pt x="1834" y="1500"/>
                  <a:pt x="1828" y="1500"/>
                </a:cubicBezTo>
                <a:cubicBezTo>
                  <a:pt x="1826" y="1500"/>
                  <a:pt x="1825" y="1500"/>
                  <a:pt x="1823" y="1501"/>
                </a:cubicBezTo>
                <a:cubicBezTo>
                  <a:pt x="1820" y="1502"/>
                  <a:pt x="1816" y="1504"/>
                  <a:pt x="1811" y="1504"/>
                </a:cubicBezTo>
                <a:cubicBezTo>
                  <a:pt x="1808" y="1504"/>
                  <a:pt x="1804" y="1503"/>
                  <a:pt x="1801" y="1500"/>
                </a:cubicBezTo>
                <a:cubicBezTo>
                  <a:pt x="1792" y="1493"/>
                  <a:pt x="1777" y="1485"/>
                  <a:pt x="1772" y="1480"/>
                </a:cubicBezTo>
                <a:cubicBezTo>
                  <a:pt x="1764" y="1473"/>
                  <a:pt x="1749" y="1469"/>
                  <a:pt x="1740" y="1469"/>
                </a:cubicBezTo>
                <a:cubicBezTo>
                  <a:pt x="1739" y="1469"/>
                  <a:pt x="1739" y="1468"/>
                  <a:pt x="1734" y="1468"/>
                </a:cubicBezTo>
                <a:cubicBezTo>
                  <a:pt x="1732" y="1468"/>
                  <a:pt x="1730" y="1469"/>
                  <a:pt x="1728" y="1470"/>
                </a:cubicBezTo>
                <a:cubicBezTo>
                  <a:pt x="1728" y="1466"/>
                  <a:pt x="1726" y="1463"/>
                  <a:pt x="1723" y="1460"/>
                </a:cubicBezTo>
                <a:cubicBezTo>
                  <a:pt x="1720" y="1457"/>
                  <a:pt x="1715" y="1456"/>
                  <a:pt x="1711" y="1456"/>
                </a:cubicBezTo>
                <a:cubicBezTo>
                  <a:pt x="1711" y="1456"/>
                  <a:pt x="1710" y="1456"/>
                  <a:pt x="1710" y="1456"/>
                </a:cubicBezTo>
                <a:cubicBezTo>
                  <a:pt x="1712" y="1453"/>
                  <a:pt x="1715" y="1451"/>
                  <a:pt x="1715" y="1446"/>
                </a:cubicBezTo>
                <a:cubicBezTo>
                  <a:pt x="1715" y="1442"/>
                  <a:pt x="1715" y="1437"/>
                  <a:pt x="1712" y="1431"/>
                </a:cubicBezTo>
                <a:cubicBezTo>
                  <a:pt x="1711" y="1426"/>
                  <a:pt x="1706" y="1419"/>
                  <a:pt x="1698" y="1419"/>
                </a:cubicBezTo>
                <a:cubicBezTo>
                  <a:pt x="1697" y="1419"/>
                  <a:pt x="1697" y="1419"/>
                  <a:pt x="1697" y="1419"/>
                </a:cubicBezTo>
                <a:cubicBezTo>
                  <a:pt x="1697" y="1419"/>
                  <a:pt x="1697" y="1419"/>
                  <a:pt x="1697" y="1419"/>
                </a:cubicBezTo>
                <a:cubicBezTo>
                  <a:pt x="1695" y="1417"/>
                  <a:pt x="1693" y="1404"/>
                  <a:pt x="1682" y="1390"/>
                </a:cubicBezTo>
                <a:cubicBezTo>
                  <a:pt x="1669" y="1373"/>
                  <a:pt x="1653" y="1361"/>
                  <a:pt x="1636" y="1361"/>
                </a:cubicBezTo>
                <a:cubicBezTo>
                  <a:pt x="1635" y="1361"/>
                  <a:pt x="1633" y="1361"/>
                  <a:pt x="1631" y="1362"/>
                </a:cubicBezTo>
                <a:cubicBezTo>
                  <a:pt x="1625" y="1363"/>
                  <a:pt x="1619" y="1364"/>
                  <a:pt x="1616" y="1364"/>
                </a:cubicBezTo>
                <a:cubicBezTo>
                  <a:pt x="1612" y="1364"/>
                  <a:pt x="1610" y="1364"/>
                  <a:pt x="1606" y="1357"/>
                </a:cubicBezTo>
                <a:cubicBezTo>
                  <a:pt x="1599" y="1340"/>
                  <a:pt x="1590" y="1336"/>
                  <a:pt x="1587" y="1330"/>
                </a:cubicBezTo>
                <a:cubicBezTo>
                  <a:pt x="1584" y="1325"/>
                  <a:pt x="1578" y="1323"/>
                  <a:pt x="1574" y="1323"/>
                </a:cubicBezTo>
                <a:cubicBezTo>
                  <a:pt x="1570" y="1323"/>
                  <a:pt x="1567" y="1324"/>
                  <a:pt x="1566" y="1324"/>
                </a:cubicBezTo>
                <a:cubicBezTo>
                  <a:pt x="1563" y="1321"/>
                  <a:pt x="1563" y="1321"/>
                  <a:pt x="1563" y="1321"/>
                </a:cubicBezTo>
                <a:cubicBezTo>
                  <a:pt x="1562" y="1319"/>
                  <a:pt x="1559" y="1318"/>
                  <a:pt x="1557" y="1319"/>
                </a:cubicBezTo>
                <a:cubicBezTo>
                  <a:pt x="1564" y="1308"/>
                  <a:pt x="1567" y="1294"/>
                  <a:pt x="1567" y="1285"/>
                </a:cubicBezTo>
                <a:cubicBezTo>
                  <a:pt x="1567" y="1284"/>
                  <a:pt x="1567" y="1283"/>
                  <a:pt x="1566" y="1281"/>
                </a:cubicBezTo>
                <a:cubicBezTo>
                  <a:pt x="1566" y="1280"/>
                  <a:pt x="1566" y="1279"/>
                  <a:pt x="1565" y="1278"/>
                </a:cubicBezTo>
                <a:cubicBezTo>
                  <a:pt x="1564" y="1277"/>
                  <a:pt x="1562" y="1276"/>
                  <a:pt x="1560" y="1276"/>
                </a:cubicBezTo>
                <a:cubicBezTo>
                  <a:pt x="1559" y="1276"/>
                  <a:pt x="1558" y="1276"/>
                  <a:pt x="1557" y="1277"/>
                </a:cubicBezTo>
                <a:cubicBezTo>
                  <a:pt x="1557" y="1277"/>
                  <a:pt x="1557" y="1277"/>
                  <a:pt x="1557" y="1277"/>
                </a:cubicBezTo>
                <a:cubicBezTo>
                  <a:pt x="1553" y="1279"/>
                  <a:pt x="1553" y="1281"/>
                  <a:pt x="1551" y="1283"/>
                </a:cubicBezTo>
                <a:cubicBezTo>
                  <a:pt x="1550" y="1286"/>
                  <a:pt x="1548" y="1290"/>
                  <a:pt x="1546" y="1292"/>
                </a:cubicBezTo>
                <a:cubicBezTo>
                  <a:pt x="1546" y="1293"/>
                  <a:pt x="1545" y="1293"/>
                  <a:pt x="1545" y="1294"/>
                </a:cubicBezTo>
                <a:cubicBezTo>
                  <a:pt x="1544" y="1291"/>
                  <a:pt x="1541" y="1288"/>
                  <a:pt x="1535" y="1284"/>
                </a:cubicBezTo>
                <a:cubicBezTo>
                  <a:pt x="1530" y="1280"/>
                  <a:pt x="1525" y="1279"/>
                  <a:pt x="1519" y="1279"/>
                </a:cubicBezTo>
                <a:cubicBezTo>
                  <a:pt x="1514" y="1279"/>
                  <a:pt x="1509" y="1280"/>
                  <a:pt x="1504" y="1283"/>
                </a:cubicBezTo>
                <a:cubicBezTo>
                  <a:pt x="1500" y="1285"/>
                  <a:pt x="1496" y="1288"/>
                  <a:pt x="1496" y="1294"/>
                </a:cubicBezTo>
                <a:cubicBezTo>
                  <a:pt x="1496" y="1294"/>
                  <a:pt x="1496" y="1294"/>
                  <a:pt x="1496" y="1294"/>
                </a:cubicBezTo>
                <a:cubicBezTo>
                  <a:pt x="1496" y="1294"/>
                  <a:pt x="1495" y="1293"/>
                  <a:pt x="1495" y="1292"/>
                </a:cubicBezTo>
                <a:cubicBezTo>
                  <a:pt x="1491" y="1284"/>
                  <a:pt x="1483" y="1281"/>
                  <a:pt x="1476" y="1281"/>
                </a:cubicBezTo>
                <a:cubicBezTo>
                  <a:pt x="1470" y="1281"/>
                  <a:pt x="1464" y="1283"/>
                  <a:pt x="1459" y="1287"/>
                </a:cubicBezTo>
                <a:cubicBezTo>
                  <a:pt x="1458" y="1285"/>
                  <a:pt x="1456" y="1282"/>
                  <a:pt x="1455" y="1279"/>
                </a:cubicBezTo>
                <a:cubicBezTo>
                  <a:pt x="1454" y="1276"/>
                  <a:pt x="1453" y="1274"/>
                  <a:pt x="1452" y="1272"/>
                </a:cubicBezTo>
                <a:cubicBezTo>
                  <a:pt x="1450" y="1270"/>
                  <a:pt x="1449" y="1267"/>
                  <a:pt x="1443" y="1266"/>
                </a:cubicBezTo>
                <a:cubicBezTo>
                  <a:pt x="1434" y="1267"/>
                  <a:pt x="1422" y="1275"/>
                  <a:pt x="1415" y="1289"/>
                </a:cubicBezTo>
                <a:cubicBezTo>
                  <a:pt x="1414" y="1290"/>
                  <a:pt x="1414" y="1292"/>
                  <a:pt x="1413" y="1293"/>
                </a:cubicBezTo>
                <a:cubicBezTo>
                  <a:pt x="1413" y="1291"/>
                  <a:pt x="1413" y="1289"/>
                  <a:pt x="1414" y="1288"/>
                </a:cubicBezTo>
                <a:cubicBezTo>
                  <a:pt x="1414" y="1287"/>
                  <a:pt x="1415" y="1283"/>
                  <a:pt x="1417" y="1280"/>
                </a:cubicBezTo>
                <a:cubicBezTo>
                  <a:pt x="1419" y="1276"/>
                  <a:pt x="1421" y="1272"/>
                  <a:pt x="1422" y="1267"/>
                </a:cubicBezTo>
                <a:cubicBezTo>
                  <a:pt x="1422" y="1263"/>
                  <a:pt x="1418" y="1258"/>
                  <a:pt x="1414" y="1257"/>
                </a:cubicBezTo>
                <a:cubicBezTo>
                  <a:pt x="1413" y="1257"/>
                  <a:pt x="1411" y="1256"/>
                  <a:pt x="1410" y="1256"/>
                </a:cubicBezTo>
                <a:cubicBezTo>
                  <a:pt x="1402" y="1257"/>
                  <a:pt x="1397" y="1261"/>
                  <a:pt x="1392" y="1265"/>
                </a:cubicBezTo>
                <a:cubicBezTo>
                  <a:pt x="1389" y="1267"/>
                  <a:pt x="1387" y="1269"/>
                  <a:pt x="1385" y="1270"/>
                </a:cubicBezTo>
                <a:cubicBezTo>
                  <a:pt x="1384" y="1271"/>
                  <a:pt x="1383" y="1271"/>
                  <a:pt x="1383" y="1272"/>
                </a:cubicBezTo>
                <a:cubicBezTo>
                  <a:pt x="1382" y="1272"/>
                  <a:pt x="1382" y="1272"/>
                  <a:pt x="1382" y="1272"/>
                </a:cubicBezTo>
                <a:cubicBezTo>
                  <a:pt x="1382" y="1272"/>
                  <a:pt x="1382" y="1272"/>
                  <a:pt x="1382" y="1272"/>
                </a:cubicBezTo>
                <a:cubicBezTo>
                  <a:pt x="1373" y="1275"/>
                  <a:pt x="1362" y="1284"/>
                  <a:pt x="1354" y="1297"/>
                </a:cubicBezTo>
                <a:cubicBezTo>
                  <a:pt x="1347" y="1308"/>
                  <a:pt x="1344" y="1314"/>
                  <a:pt x="1339" y="1317"/>
                </a:cubicBezTo>
                <a:cubicBezTo>
                  <a:pt x="1338" y="1317"/>
                  <a:pt x="1336" y="1318"/>
                  <a:pt x="1335" y="1318"/>
                </a:cubicBezTo>
                <a:cubicBezTo>
                  <a:pt x="1334" y="1318"/>
                  <a:pt x="1332" y="1318"/>
                  <a:pt x="1332" y="1317"/>
                </a:cubicBezTo>
                <a:cubicBezTo>
                  <a:pt x="1332" y="1317"/>
                  <a:pt x="1332" y="1317"/>
                  <a:pt x="1332" y="1317"/>
                </a:cubicBezTo>
                <a:cubicBezTo>
                  <a:pt x="1332" y="1313"/>
                  <a:pt x="1330" y="1311"/>
                  <a:pt x="1329" y="1309"/>
                </a:cubicBezTo>
                <a:cubicBezTo>
                  <a:pt x="1323" y="1303"/>
                  <a:pt x="1315" y="1297"/>
                  <a:pt x="1306" y="1297"/>
                </a:cubicBezTo>
                <a:cubicBezTo>
                  <a:pt x="1304" y="1297"/>
                  <a:pt x="1301" y="1298"/>
                  <a:pt x="1299" y="1301"/>
                </a:cubicBezTo>
                <a:cubicBezTo>
                  <a:pt x="1298" y="1303"/>
                  <a:pt x="1288" y="1308"/>
                  <a:pt x="1277" y="1314"/>
                </a:cubicBezTo>
                <a:cubicBezTo>
                  <a:pt x="1276" y="1314"/>
                  <a:pt x="1275" y="1315"/>
                  <a:pt x="1275" y="1315"/>
                </a:cubicBezTo>
                <a:cubicBezTo>
                  <a:pt x="1271" y="1315"/>
                  <a:pt x="1265" y="1308"/>
                  <a:pt x="1264" y="1304"/>
                </a:cubicBezTo>
                <a:cubicBezTo>
                  <a:pt x="1260" y="1296"/>
                  <a:pt x="1257" y="1299"/>
                  <a:pt x="1256" y="1282"/>
                </a:cubicBezTo>
                <a:cubicBezTo>
                  <a:pt x="1256" y="1279"/>
                  <a:pt x="1256" y="1277"/>
                  <a:pt x="1256" y="1275"/>
                </a:cubicBezTo>
                <a:cubicBezTo>
                  <a:pt x="1256" y="1260"/>
                  <a:pt x="1259" y="1244"/>
                  <a:pt x="1261" y="1236"/>
                </a:cubicBezTo>
                <a:cubicBezTo>
                  <a:pt x="1262" y="1234"/>
                  <a:pt x="1262" y="1232"/>
                  <a:pt x="1262" y="1231"/>
                </a:cubicBezTo>
                <a:cubicBezTo>
                  <a:pt x="1262" y="1223"/>
                  <a:pt x="1257" y="1215"/>
                  <a:pt x="1251" y="1208"/>
                </a:cubicBezTo>
                <a:cubicBezTo>
                  <a:pt x="1245" y="1202"/>
                  <a:pt x="1239" y="1196"/>
                  <a:pt x="1231" y="1196"/>
                </a:cubicBezTo>
                <a:cubicBezTo>
                  <a:pt x="1231" y="1196"/>
                  <a:pt x="1230" y="1196"/>
                  <a:pt x="1229" y="1196"/>
                </a:cubicBezTo>
                <a:cubicBezTo>
                  <a:pt x="1224" y="1197"/>
                  <a:pt x="1220" y="1200"/>
                  <a:pt x="1216" y="1202"/>
                </a:cubicBezTo>
                <a:cubicBezTo>
                  <a:pt x="1212" y="1205"/>
                  <a:pt x="1209" y="1206"/>
                  <a:pt x="1208" y="1206"/>
                </a:cubicBezTo>
                <a:cubicBezTo>
                  <a:pt x="1208" y="1206"/>
                  <a:pt x="1207" y="1206"/>
                  <a:pt x="1207" y="1206"/>
                </a:cubicBezTo>
                <a:cubicBezTo>
                  <a:pt x="1204" y="1205"/>
                  <a:pt x="1205" y="1205"/>
                  <a:pt x="1202" y="1204"/>
                </a:cubicBezTo>
                <a:cubicBezTo>
                  <a:pt x="1200" y="1203"/>
                  <a:pt x="1197" y="1202"/>
                  <a:pt x="1192" y="1202"/>
                </a:cubicBezTo>
                <a:cubicBezTo>
                  <a:pt x="1193" y="1199"/>
                  <a:pt x="1194" y="1197"/>
                  <a:pt x="1195" y="1194"/>
                </a:cubicBezTo>
                <a:cubicBezTo>
                  <a:pt x="1195" y="1191"/>
                  <a:pt x="1196" y="1188"/>
                  <a:pt x="1196" y="1186"/>
                </a:cubicBezTo>
                <a:cubicBezTo>
                  <a:pt x="1196" y="1181"/>
                  <a:pt x="1195" y="1177"/>
                  <a:pt x="1195" y="1173"/>
                </a:cubicBezTo>
                <a:cubicBezTo>
                  <a:pt x="1195" y="1166"/>
                  <a:pt x="1196" y="1161"/>
                  <a:pt x="1201" y="1157"/>
                </a:cubicBezTo>
                <a:cubicBezTo>
                  <a:pt x="1209" y="1150"/>
                  <a:pt x="1211" y="1141"/>
                  <a:pt x="1211" y="1132"/>
                </a:cubicBezTo>
                <a:cubicBezTo>
                  <a:pt x="1211" y="1127"/>
                  <a:pt x="1210" y="1122"/>
                  <a:pt x="1208" y="1117"/>
                </a:cubicBezTo>
                <a:cubicBezTo>
                  <a:pt x="1206" y="1113"/>
                  <a:pt x="1204" y="1109"/>
                  <a:pt x="1198" y="1108"/>
                </a:cubicBezTo>
                <a:cubicBezTo>
                  <a:pt x="1197" y="1108"/>
                  <a:pt x="1195" y="1108"/>
                  <a:pt x="1194" y="1108"/>
                </a:cubicBezTo>
                <a:cubicBezTo>
                  <a:pt x="1185" y="1108"/>
                  <a:pt x="1175" y="1111"/>
                  <a:pt x="1167" y="1111"/>
                </a:cubicBezTo>
                <a:cubicBezTo>
                  <a:pt x="1166" y="1111"/>
                  <a:pt x="1165" y="1111"/>
                  <a:pt x="1164" y="1111"/>
                </a:cubicBezTo>
                <a:cubicBezTo>
                  <a:pt x="1164" y="1110"/>
                  <a:pt x="1163" y="1110"/>
                  <a:pt x="1162" y="1110"/>
                </a:cubicBezTo>
                <a:cubicBezTo>
                  <a:pt x="1150" y="1111"/>
                  <a:pt x="1142" y="1121"/>
                  <a:pt x="1142" y="1133"/>
                </a:cubicBezTo>
                <a:cubicBezTo>
                  <a:pt x="1142" y="1135"/>
                  <a:pt x="1142" y="1138"/>
                  <a:pt x="1143" y="1140"/>
                </a:cubicBezTo>
                <a:cubicBezTo>
                  <a:pt x="1143" y="1142"/>
                  <a:pt x="1143" y="1143"/>
                  <a:pt x="1143" y="1144"/>
                </a:cubicBezTo>
                <a:cubicBezTo>
                  <a:pt x="1143" y="1147"/>
                  <a:pt x="1142" y="1149"/>
                  <a:pt x="1141" y="1151"/>
                </a:cubicBezTo>
                <a:cubicBezTo>
                  <a:pt x="1141" y="1151"/>
                  <a:pt x="1141" y="1151"/>
                  <a:pt x="1140" y="1152"/>
                </a:cubicBezTo>
                <a:cubicBezTo>
                  <a:pt x="1139" y="1150"/>
                  <a:pt x="1136" y="1148"/>
                  <a:pt x="1131" y="1148"/>
                </a:cubicBezTo>
                <a:cubicBezTo>
                  <a:pt x="1126" y="1148"/>
                  <a:pt x="1121" y="1151"/>
                  <a:pt x="1115" y="1156"/>
                </a:cubicBezTo>
                <a:cubicBezTo>
                  <a:pt x="1110" y="1160"/>
                  <a:pt x="1108" y="1161"/>
                  <a:pt x="1106" y="1161"/>
                </a:cubicBezTo>
                <a:cubicBezTo>
                  <a:pt x="1105" y="1161"/>
                  <a:pt x="1101" y="1159"/>
                  <a:pt x="1093" y="1151"/>
                </a:cubicBezTo>
                <a:cubicBezTo>
                  <a:pt x="1080" y="1138"/>
                  <a:pt x="1068" y="1127"/>
                  <a:pt x="1066" y="1110"/>
                </a:cubicBezTo>
                <a:cubicBezTo>
                  <a:pt x="1065" y="1101"/>
                  <a:pt x="1064" y="1091"/>
                  <a:pt x="1064" y="1083"/>
                </a:cubicBezTo>
                <a:cubicBezTo>
                  <a:pt x="1064" y="1075"/>
                  <a:pt x="1065" y="1068"/>
                  <a:pt x="1067" y="1064"/>
                </a:cubicBezTo>
                <a:cubicBezTo>
                  <a:pt x="1069" y="1058"/>
                  <a:pt x="1071" y="1051"/>
                  <a:pt x="1071" y="1044"/>
                </a:cubicBezTo>
                <a:cubicBezTo>
                  <a:pt x="1071" y="1040"/>
                  <a:pt x="1070" y="1036"/>
                  <a:pt x="1069" y="1032"/>
                </a:cubicBezTo>
                <a:cubicBezTo>
                  <a:pt x="1068" y="1029"/>
                  <a:pt x="1067" y="1027"/>
                  <a:pt x="1064" y="1025"/>
                </a:cubicBezTo>
                <a:cubicBezTo>
                  <a:pt x="1064" y="1025"/>
                  <a:pt x="1064" y="1024"/>
                  <a:pt x="1064" y="1024"/>
                </a:cubicBezTo>
                <a:cubicBezTo>
                  <a:pt x="1067" y="1021"/>
                  <a:pt x="1074" y="1016"/>
                  <a:pt x="1077" y="1015"/>
                </a:cubicBezTo>
                <a:cubicBezTo>
                  <a:pt x="1088" y="1010"/>
                  <a:pt x="1099" y="999"/>
                  <a:pt x="1104" y="991"/>
                </a:cubicBezTo>
                <a:cubicBezTo>
                  <a:pt x="1104" y="991"/>
                  <a:pt x="1108" y="990"/>
                  <a:pt x="1113" y="990"/>
                </a:cubicBezTo>
                <a:cubicBezTo>
                  <a:pt x="1116" y="990"/>
                  <a:pt x="1120" y="990"/>
                  <a:pt x="1125" y="990"/>
                </a:cubicBezTo>
                <a:cubicBezTo>
                  <a:pt x="1138" y="991"/>
                  <a:pt x="1136" y="990"/>
                  <a:pt x="1149" y="998"/>
                </a:cubicBezTo>
                <a:cubicBezTo>
                  <a:pt x="1153" y="1000"/>
                  <a:pt x="1156" y="1001"/>
                  <a:pt x="1160" y="1001"/>
                </a:cubicBezTo>
                <a:cubicBezTo>
                  <a:pt x="1166" y="1001"/>
                  <a:pt x="1170" y="997"/>
                  <a:pt x="1171" y="993"/>
                </a:cubicBezTo>
                <a:cubicBezTo>
                  <a:pt x="1173" y="990"/>
                  <a:pt x="1173" y="987"/>
                  <a:pt x="1173" y="984"/>
                </a:cubicBezTo>
                <a:cubicBezTo>
                  <a:pt x="1173" y="984"/>
                  <a:pt x="1174" y="979"/>
                  <a:pt x="1183" y="979"/>
                </a:cubicBezTo>
                <a:cubicBezTo>
                  <a:pt x="1183" y="979"/>
                  <a:pt x="1184" y="979"/>
                  <a:pt x="1185" y="979"/>
                </a:cubicBezTo>
                <a:cubicBezTo>
                  <a:pt x="1186" y="979"/>
                  <a:pt x="1188" y="979"/>
                  <a:pt x="1189" y="979"/>
                </a:cubicBezTo>
                <a:cubicBezTo>
                  <a:pt x="1200" y="979"/>
                  <a:pt x="1212" y="976"/>
                  <a:pt x="1217" y="977"/>
                </a:cubicBezTo>
                <a:cubicBezTo>
                  <a:pt x="1218" y="977"/>
                  <a:pt x="1218" y="977"/>
                  <a:pt x="1218" y="977"/>
                </a:cubicBezTo>
                <a:cubicBezTo>
                  <a:pt x="1219" y="978"/>
                  <a:pt x="1221" y="982"/>
                  <a:pt x="1223" y="985"/>
                </a:cubicBezTo>
                <a:cubicBezTo>
                  <a:pt x="1226" y="988"/>
                  <a:pt x="1229" y="993"/>
                  <a:pt x="1237" y="994"/>
                </a:cubicBezTo>
                <a:cubicBezTo>
                  <a:pt x="1239" y="994"/>
                  <a:pt x="1242" y="993"/>
                  <a:pt x="1243" y="992"/>
                </a:cubicBezTo>
                <a:cubicBezTo>
                  <a:pt x="1244" y="991"/>
                  <a:pt x="1245" y="991"/>
                  <a:pt x="1245" y="990"/>
                </a:cubicBezTo>
                <a:cubicBezTo>
                  <a:pt x="1246" y="998"/>
                  <a:pt x="1248" y="1009"/>
                  <a:pt x="1252" y="1018"/>
                </a:cubicBezTo>
                <a:cubicBezTo>
                  <a:pt x="1255" y="1027"/>
                  <a:pt x="1259" y="1036"/>
                  <a:pt x="1267" y="1040"/>
                </a:cubicBezTo>
                <a:cubicBezTo>
                  <a:pt x="1269" y="1040"/>
                  <a:pt x="1270" y="1042"/>
                  <a:pt x="1271" y="1047"/>
                </a:cubicBezTo>
                <a:cubicBezTo>
                  <a:pt x="1272" y="1050"/>
                  <a:pt x="1272" y="1053"/>
                  <a:pt x="1274" y="1056"/>
                </a:cubicBezTo>
                <a:cubicBezTo>
                  <a:pt x="1276" y="1059"/>
                  <a:pt x="1279" y="1062"/>
                  <a:pt x="1284" y="1062"/>
                </a:cubicBezTo>
                <a:cubicBezTo>
                  <a:pt x="1284" y="1062"/>
                  <a:pt x="1285" y="1062"/>
                  <a:pt x="1285" y="1062"/>
                </a:cubicBezTo>
                <a:cubicBezTo>
                  <a:pt x="1289" y="1062"/>
                  <a:pt x="1293" y="1060"/>
                  <a:pt x="1295" y="1057"/>
                </a:cubicBezTo>
                <a:cubicBezTo>
                  <a:pt x="1301" y="1050"/>
                  <a:pt x="1303" y="1038"/>
                  <a:pt x="1303" y="1029"/>
                </a:cubicBezTo>
                <a:cubicBezTo>
                  <a:pt x="1303" y="1025"/>
                  <a:pt x="1303" y="1021"/>
                  <a:pt x="1302" y="1018"/>
                </a:cubicBezTo>
                <a:cubicBezTo>
                  <a:pt x="1300" y="1014"/>
                  <a:pt x="1298" y="1004"/>
                  <a:pt x="1295" y="994"/>
                </a:cubicBezTo>
                <a:cubicBezTo>
                  <a:pt x="1292" y="985"/>
                  <a:pt x="1289" y="976"/>
                  <a:pt x="1285" y="971"/>
                </a:cubicBezTo>
                <a:cubicBezTo>
                  <a:pt x="1283" y="969"/>
                  <a:pt x="1282" y="966"/>
                  <a:pt x="1282" y="962"/>
                </a:cubicBezTo>
                <a:cubicBezTo>
                  <a:pt x="1282" y="956"/>
                  <a:pt x="1284" y="951"/>
                  <a:pt x="1288" y="950"/>
                </a:cubicBezTo>
                <a:cubicBezTo>
                  <a:pt x="1296" y="946"/>
                  <a:pt x="1305" y="938"/>
                  <a:pt x="1315" y="929"/>
                </a:cubicBezTo>
                <a:cubicBezTo>
                  <a:pt x="1324" y="920"/>
                  <a:pt x="1333" y="911"/>
                  <a:pt x="1337" y="907"/>
                </a:cubicBezTo>
                <a:cubicBezTo>
                  <a:pt x="1340" y="905"/>
                  <a:pt x="1345" y="901"/>
                  <a:pt x="1351" y="898"/>
                </a:cubicBezTo>
                <a:cubicBezTo>
                  <a:pt x="1356" y="894"/>
                  <a:pt x="1363" y="890"/>
                  <a:pt x="1363" y="881"/>
                </a:cubicBezTo>
                <a:cubicBezTo>
                  <a:pt x="1363" y="878"/>
                  <a:pt x="1362" y="876"/>
                  <a:pt x="1361" y="873"/>
                </a:cubicBezTo>
                <a:cubicBezTo>
                  <a:pt x="1356" y="865"/>
                  <a:pt x="1354" y="860"/>
                  <a:pt x="1353" y="855"/>
                </a:cubicBezTo>
                <a:cubicBezTo>
                  <a:pt x="1355" y="857"/>
                  <a:pt x="1357" y="858"/>
                  <a:pt x="1359" y="858"/>
                </a:cubicBezTo>
                <a:cubicBezTo>
                  <a:pt x="1365" y="857"/>
                  <a:pt x="1368" y="854"/>
                  <a:pt x="1371" y="851"/>
                </a:cubicBezTo>
                <a:cubicBezTo>
                  <a:pt x="1375" y="847"/>
                  <a:pt x="1377" y="843"/>
                  <a:pt x="1377" y="838"/>
                </a:cubicBezTo>
                <a:cubicBezTo>
                  <a:pt x="1377" y="836"/>
                  <a:pt x="1377" y="834"/>
                  <a:pt x="1376" y="833"/>
                </a:cubicBezTo>
                <a:cubicBezTo>
                  <a:pt x="1375" y="831"/>
                  <a:pt x="1375" y="829"/>
                  <a:pt x="1375" y="828"/>
                </a:cubicBezTo>
                <a:cubicBezTo>
                  <a:pt x="1375" y="827"/>
                  <a:pt x="1375" y="826"/>
                  <a:pt x="1375" y="826"/>
                </a:cubicBezTo>
                <a:cubicBezTo>
                  <a:pt x="1375" y="826"/>
                  <a:pt x="1375" y="826"/>
                  <a:pt x="1376" y="826"/>
                </a:cubicBezTo>
                <a:cubicBezTo>
                  <a:pt x="1376" y="826"/>
                  <a:pt x="1377" y="826"/>
                  <a:pt x="1378" y="826"/>
                </a:cubicBezTo>
                <a:cubicBezTo>
                  <a:pt x="1382" y="826"/>
                  <a:pt x="1386" y="825"/>
                  <a:pt x="1388" y="822"/>
                </a:cubicBezTo>
                <a:cubicBezTo>
                  <a:pt x="1390" y="819"/>
                  <a:pt x="1391" y="816"/>
                  <a:pt x="1391" y="813"/>
                </a:cubicBezTo>
                <a:cubicBezTo>
                  <a:pt x="1391" y="811"/>
                  <a:pt x="1390" y="808"/>
                  <a:pt x="1389" y="806"/>
                </a:cubicBezTo>
                <a:cubicBezTo>
                  <a:pt x="1390" y="805"/>
                  <a:pt x="1393" y="803"/>
                  <a:pt x="1396" y="804"/>
                </a:cubicBezTo>
                <a:cubicBezTo>
                  <a:pt x="1396" y="804"/>
                  <a:pt x="1397" y="804"/>
                  <a:pt x="1398" y="804"/>
                </a:cubicBezTo>
                <a:cubicBezTo>
                  <a:pt x="1400" y="805"/>
                  <a:pt x="1403" y="805"/>
                  <a:pt x="1406" y="805"/>
                </a:cubicBezTo>
                <a:cubicBezTo>
                  <a:pt x="1412" y="805"/>
                  <a:pt x="1418" y="804"/>
                  <a:pt x="1423" y="803"/>
                </a:cubicBezTo>
                <a:cubicBezTo>
                  <a:pt x="1429" y="801"/>
                  <a:pt x="1433" y="799"/>
                  <a:pt x="1437" y="794"/>
                </a:cubicBezTo>
                <a:cubicBezTo>
                  <a:pt x="1438" y="793"/>
                  <a:pt x="1439" y="791"/>
                  <a:pt x="1439" y="789"/>
                </a:cubicBezTo>
                <a:cubicBezTo>
                  <a:pt x="1438" y="783"/>
                  <a:pt x="1435" y="781"/>
                  <a:pt x="1434" y="778"/>
                </a:cubicBezTo>
                <a:cubicBezTo>
                  <a:pt x="1432" y="775"/>
                  <a:pt x="1431" y="772"/>
                  <a:pt x="1431" y="769"/>
                </a:cubicBezTo>
                <a:cubicBezTo>
                  <a:pt x="1431" y="766"/>
                  <a:pt x="1433" y="762"/>
                  <a:pt x="1437" y="759"/>
                </a:cubicBezTo>
                <a:cubicBezTo>
                  <a:pt x="1440" y="756"/>
                  <a:pt x="1445" y="753"/>
                  <a:pt x="1448" y="753"/>
                </a:cubicBezTo>
                <a:cubicBezTo>
                  <a:pt x="1451" y="753"/>
                  <a:pt x="1456" y="752"/>
                  <a:pt x="1460" y="752"/>
                </a:cubicBezTo>
                <a:cubicBezTo>
                  <a:pt x="1462" y="752"/>
                  <a:pt x="1464" y="752"/>
                  <a:pt x="1466" y="751"/>
                </a:cubicBezTo>
                <a:cubicBezTo>
                  <a:pt x="1468" y="750"/>
                  <a:pt x="1471" y="748"/>
                  <a:pt x="1472" y="745"/>
                </a:cubicBezTo>
                <a:cubicBezTo>
                  <a:pt x="1472" y="745"/>
                  <a:pt x="1472" y="745"/>
                  <a:pt x="1472" y="745"/>
                </a:cubicBezTo>
                <a:cubicBezTo>
                  <a:pt x="1472" y="744"/>
                  <a:pt x="1473" y="743"/>
                  <a:pt x="1474" y="742"/>
                </a:cubicBezTo>
                <a:cubicBezTo>
                  <a:pt x="1475" y="746"/>
                  <a:pt x="1475" y="751"/>
                  <a:pt x="1476" y="755"/>
                </a:cubicBezTo>
                <a:cubicBezTo>
                  <a:pt x="1476" y="758"/>
                  <a:pt x="1477" y="762"/>
                  <a:pt x="1479" y="764"/>
                </a:cubicBezTo>
                <a:cubicBezTo>
                  <a:pt x="1481" y="767"/>
                  <a:pt x="1485" y="770"/>
                  <a:pt x="1489" y="770"/>
                </a:cubicBezTo>
                <a:cubicBezTo>
                  <a:pt x="1497" y="770"/>
                  <a:pt x="1502" y="766"/>
                  <a:pt x="1507" y="762"/>
                </a:cubicBezTo>
                <a:cubicBezTo>
                  <a:pt x="1510" y="760"/>
                  <a:pt x="1512" y="759"/>
                  <a:pt x="1513" y="757"/>
                </a:cubicBezTo>
                <a:cubicBezTo>
                  <a:pt x="1514" y="757"/>
                  <a:pt x="1515" y="756"/>
                  <a:pt x="1515" y="756"/>
                </a:cubicBezTo>
                <a:cubicBezTo>
                  <a:pt x="1516" y="756"/>
                  <a:pt x="1516" y="756"/>
                  <a:pt x="1516" y="756"/>
                </a:cubicBezTo>
                <a:cubicBezTo>
                  <a:pt x="1516" y="755"/>
                  <a:pt x="1516" y="755"/>
                  <a:pt x="1516" y="755"/>
                </a:cubicBezTo>
                <a:cubicBezTo>
                  <a:pt x="1520" y="754"/>
                  <a:pt x="1541" y="749"/>
                  <a:pt x="1545" y="747"/>
                </a:cubicBezTo>
                <a:cubicBezTo>
                  <a:pt x="1546" y="747"/>
                  <a:pt x="1554" y="746"/>
                  <a:pt x="1561" y="744"/>
                </a:cubicBezTo>
                <a:cubicBezTo>
                  <a:pt x="1565" y="743"/>
                  <a:pt x="1568" y="742"/>
                  <a:pt x="1572" y="740"/>
                </a:cubicBezTo>
                <a:cubicBezTo>
                  <a:pt x="1575" y="738"/>
                  <a:pt x="1578" y="735"/>
                  <a:pt x="1579" y="729"/>
                </a:cubicBezTo>
                <a:cubicBezTo>
                  <a:pt x="1579" y="728"/>
                  <a:pt x="1578" y="727"/>
                  <a:pt x="1578" y="726"/>
                </a:cubicBezTo>
                <a:cubicBezTo>
                  <a:pt x="1574" y="716"/>
                  <a:pt x="1571" y="706"/>
                  <a:pt x="1566" y="701"/>
                </a:cubicBezTo>
                <a:cubicBezTo>
                  <a:pt x="1565" y="699"/>
                  <a:pt x="1562" y="697"/>
                  <a:pt x="1559" y="697"/>
                </a:cubicBezTo>
                <a:cubicBezTo>
                  <a:pt x="1554" y="697"/>
                  <a:pt x="1552" y="700"/>
                  <a:pt x="1551" y="702"/>
                </a:cubicBezTo>
                <a:cubicBezTo>
                  <a:pt x="1549" y="704"/>
                  <a:pt x="1547" y="707"/>
                  <a:pt x="1545" y="709"/>
                </a:cubicBezTo>
                <a:cubicBezTo>
                  <a:pt x="1544" y="712"/>
                  <a:pt x="1542" y="712"/>
                  <a:pt x="1542" y="712"/>
                </a:cubicBezTo>
                <a:cubicBezTo>
                  <a:pt x="1541" y="712"/>
                  <a:pt x="1541" y="712"/>
                  <a:pt x="1541" y="712"/>
                </a:cubicBezTo>
                <a:cubicBezTo>
                  <a:pt x="1541" y="712"/>
                  <a:pt x="1540" y="707"/>
                  <a:pt x="1540" y="703"/>
                </a:cubicBezTo>
                <a:cubicBezTo>
                  <a:pt x="1540" y="701"/>
                  <a:pt x="1540" y="699"/>
                  <a:pt x="1539" y="697"/>
                </a:cubicBezTo>
                <a:cubicBezTo>
                  <a:pt x="1539" y="694"/>
                  <a:pt x="1536" y="690"/>
                  <a:pt x="1531" y="690"/>
                </a:cubicBezTo>
                <a:cubicBezTo>
                  <a:pt x="1529" y="690"/>
                  <a:pt x="1527" y="691"/>
                  <a:pt x="1525" y="693"/>
                </a:cubicBezTo>
                <a:cubicBezTo>
                  <a:pt x="1521" y="695"/>
                  <a:pt x="1519" y="698"/>
                  <a:pt x="1517" y="699"/>
                </a:cubicBezTo>
                <a:cubicBezTo>
                  <a:pt x="1517" y="699"/>
                  <a:pt x="1517" y="700"/>
                  <a:pt x="1517" y="700"/>
                </a:cubicBezTo>
                <a:cubicBezTo>
                  <a:pt x="1516" y="699"/>
                  <a:pt x="1514" y="697"/>
                  <a:pt x="1513" y="695"/>
                </a:cubicBezTo>
                <a:cubicBezTo>
                  <a:pt x="1513" y="695"/>
                  <a:pt x="1513" y="695"/>
                  <a:pt x="1513" y="695"/>
                </a:cubicBezTo>
                <a:cubicBezTo>
                  <a:pt x="1515" y="692"/>
                  <a:pt x="1518" y="688"/>
                  <a:pt x="1518" y="683"/>
                </a:cubicBezTo>
                <a:cubicBezTo>
                  <a:pt x="1518" y="679"/>
                  <a:pt x="1517" y="675"/>
                  <a:pt x="1514" y="671"/>
                </a:cubicBezTo>
                <a:cubicBezTo>
                  <a:pt x="1509" y="663"/>
                  <a:pt x="1502" y="659"/>
                  <a:pt x="1495" y="659"/>
                </a:cubicBezTo>
                <a:cubicBezTo>
                  <a:pt x="1487" y="659"/>
                  <a:pt x="1481" y="662"/>
                  <a:pt x="1475" y="666"/>
                </a:cubicBezTo>
                <a:cubicBezTo>
                  <a:pt x="1468" y="670"/>
                  <a:pt x="1466" y="671"/>
                  <a:pt x="1463" y="672"/>
                </a:cubicBezTo>
                <a:cubicBezTo>
                  <a:pt x="1463" y="672"/>
                  <a:pt x="1464" y="672"/>
                  <a:pt x="1464" y="671"/>
                </a:cubicBezTo>
                <a:cubicBezTo>
                  <a:pt x="1471" y="664"/>
                  <a:pt x="1481" y="660"/>
                  <a:pt x="1489" y="650"/>
                </a:cubicBezTo>
                <a:cubicBezTo>
                  <a:pt x="1490" y="650"/>
                  <a:pt x="1490" y="650"/>
                  <a:pt x="1492" y="650"/>
                </a:cubicBezTo>
                <a:cubicBezTo>
                  <a:pt x="1494" y="650"/>
                  <a:pt x="1498" y="651"/>
                  <a:pt x="1501" y="653"/>
                </a:cubicBezTo>
                <a:cubicBezTo>
                  <a:pt x="1504" y="654"/>
                  <a:pt x="1507" y="656"/>
                  <a:pt x="1507" y="656"/>
                </a:cubicBezTo>
                <a:cubicBezTo>
                  <a:pt x="1509" y="657"/>
                  <a:pt x="1511" y="657"/>
                  <a:pt x="1513" y="656"/>
                </a:cubicBezTo>
                <a:cubicBezTo>
                  <a:pt x="1513" y="657"/>
                  <a:pt x="1513" y="657"/>
                  <a:pt x="1513" y="658"/>
                </a:cubicBezTo>
                <a:cubicBezTo>
                  <a:pt x="1513" y="662"/>
                  <a:pt x="1513" y="665"/>
                  <a:pt x="1514" y="669"/>
                </a:cubicBezTo>
                <a:cubicBezTo>
                  <a:pt x="1515" y="672"/>
                  <a:pt x="1518" y="677"/>
                  <a:pt x="1524" y="677"/>
                </a:cubicBezTo>
                <a:cubicBezTo>
                  <a:pt x="1529" y="677"/>
                  <a:pt x="1534" y="675"/>
                  <a:pt x="1539" y="672"/>
                </a:cubicBezTo>
                <a:cubicBezTo>
                  <a:pt x="1542" y="671"/>
                  <a:pt x="1544" y="669"/>
                  <a:pt x="1546" y="668"/>
                </a:cubicBezTo>
                <a:cubicBezTo>
                  <a:pt x="1547" y="666"/>
                  <a:pt x="1549" y="665"/>
                  <a:pt x="1550" y="661"/>
                </a:cubicBezTo>
                <a:cubicBezTo>
                  <a:pt x="1550" y="661"/>
                  <a:pt x="1551" y="661"/>
                  <a:pt x="1551" y="661"/>
                </a:cubicBezTo>
                <a:cubicBezTo>
                  <a:pt x="1556" y="660"/>
                  <a:pt x="1561" y="659"/>
                  <a:pt x="1566" y="655"/>
                </a:cubicBezTo>
                <a:cubicBezTo>
                  <a:pt x="1572" y="650"/>
                  <a:pt x="1579" y="650"/>
                  <a:pt x="1587" y="646"/>
                </a:cubicBezTo>
                <a:cubicBezTo>
                  <a:pt x="1592" y="643"/>
                  <a:pt x="1593" y="639"/>
                  <a:pt x="1595" y="636"/>
                </a:cubicBezTo>
                <a:cubicBezTo>
                  <a:pt x="1598" y="633"/>
                  <a:pt x="1599" y="632"/>
                  <a:pt x="1600" y="632"/>
                </a:cubicBezTo>
                <a:cubicBezTo>
                  <a:pt x="1600" y="632"/>
                  <a:pt x="1601" y="632"/>
                  <a:pt x="1601" y="634"/>
                </a:cubicBezTo>
                <a:cubicBezTo>
                  <a:pt x="1601" y="636"/>
                  <a:pt x="1600" y="639"/>
                  <a:pt x="1596" y="642"/>
                </a:cubicBezTo>
                <a:cubicBezTo>
                  <a:pt x="1589" y="647"/>
                  <a:pt x="1585" y="656"/>
                  <a:pt x="1583" y="663"/>
                </a:cubicBezTo>
                <a:cubicBezTo>
                  <a:pt x="1580" y="670"/>
                  <a:pt x="1578" y="676"/>
                  <a:pt x="1577" y="677"/>
                </a:cubicBezTo>
                <a:cubicBezTo>
                  <a:pt x="1574" y="679"/>
                  <a:pt x="1573" y="683"/>
                  <a:pt x="1573" y="687"/>
                </a:cubicBezTo>
                <a:cubicBezTo>
                  <a:pt x="1572" y="690"/>
                  <a:pt x="1574" y="693"/>
                  <a:pt x="1577" y="695"/>
                </a:cubicBezTo>
                <a:cubicBezTo>
                  <a:pt x="1579" y="697"/>
                  <a:pt x="1583" y="698"/>
                  <a:pt x="1586" y="698"/>
                </a:cubicBezTo>
                <a:cubicBezTo>
                  <a:pt x="1587" y="698"/>
                  <a:pt x="1588" y="698"/>
                  <a:pt x="1589" y="698"/>
                </a:cubicBezTo>
                <a:cubicBezTo>
                  <a:pt x="1591" y="698"/>
                  <a:pt x="1593" y="698"/>
                  <a:pt x="1594" y="698"/>
                </a:cubicBezTo>
                <a:cubicBezTo>
                  <a:pt x="1598" y="698"/>
                  <a:pt x="1601" y="698"/>
                  <a:pt x="1605" y="698"/>
                </a:cubicBezTo>
                <a:cubicBezTo>
                  <a:pt x="1608" y="698"/>
                  <a:pt x="1612" y="698"/>
                  <a:pt x="1616" y="696"/>
                </a:cubicBezTo>
                <a:cubicBezTo>
                  <a:pt x="1617" y="696"/>
                  <a:pt x="1617" y="696"/>
                  <a:pt x="1618" y="696"/>
                </a:cubicBezTo>
                <a:cubicBezTo>
                  <a:pt x="1620" y="696"/>
                  <a:pt x="1622" y="698"/>
                  <a:pt x="1623" y="700"/>
                </a:cubicBezTo>
                <a:cubicBezTo>
                  <a:pt x="1624" y="703"/>
                  <a:pt x="1628" y="705"/>
                  <a:pt x="1630" y="705"/>
                </a:cubicBezTo>
                <a:cubicBezTo>
                  <a:pt x="1635" y="704"/>
                  <a:pt x="1637" y="702"/>
                  <a:pt x="1639" y="701"/>
                </a:cubicBezTo>
                <a:cubicBezTo>
                  <a:pt x="1640" y="700"/>
                  <a:pt x="1641" y="699"/>
                  <a:pt x="1641" y="699"/>
                </a:cubicBezTo>
                <a:cubicBezTo>
                  <a:pt x="1641" y="699"/>
                  <a:pt x="1641" y="699"/>
                  <a:pt x="1642" y="699"/>
                </a:cubicBezTo>
                <a:cubicBezTo>
                  <a:pt x="1643" y="698"/>
                  <a:pt x="1645" y="698"/>
                  <a:pt x="1647" y="698"/>
                </a:cubicBezTo>
                <a:cubicBezTo>
                  <a:pt x="1650" y="698"/>
                  <a:pt x="1652" y="699"/>
                  <a:pt x="1652" y="699"/>
                </a:cubicBezTo>
                <a:cubicBezTo>
                  <a:pt x="1654" y="702"/>
                  <a:pt x="1656" y="704"/>
                  <a:pt x="1660" y="704"/>
                </a:cubicBezTo>
                <a:cubicBezTo>
                  <a:pt x="1665" y="704"/>
                  <a:pt x="1667" y="701"/>
                  <a:pt x="1668" y="699"/>
                </a:cubicBezTo>
                <a:cubicBezTo>
                  <a:pt x="1669" y="696"/>
                  <a:pt x="1669" y="694"/>
                  <a:pt x="1669" y="691"/>
                </a:cubicBezTo>
                <a:cubicBezTo>
                  <a:pt x="1669" y="689"/>
                  <a:pt x="1669" y="685"/>
                  <a:pt x="1667" y="682"/>
                </a:cubicBezTo>
                <a:cubicBezTo>
                  <a:pt x="1664" y="675"/>
                  <a:pt x="1659" y="668"/>
                  <a:pt x="1656" y="661"/>
                </a:cubicBezTo>
                <a:cubicBezTo>
                  <a:pt x="1653" y="654"/>
                  <a:pt x="1647" y="647"/>
                  <a:pt x="1639" y="648"/>
                </a:cubicBezTo>
                <a:cubicBezTo>
                  <a:pt x="1637" y="648"/>
                  <a:pt x="1634" y="648"/>
                  <a:pt x="1631" y="649"/>
                </a:cubicBezTo>
                <a:cubicBezTo>
                  <a:pt x="1630" y="649"/>
                  <a:pt x="1629" y="649"/>
                  <a:pt x="1629" y="649"/>
                </a:cubicBezTo>
                <a:cubicBezTo>
                  <a:pt x="1627" y="649"/>
                  <a:pt x="1627" y="649"/>
                  <a:pt x="1626" y="648"/>
                </a:cubicBezTo>
                <a:cubicBezTo>
                  <a:pt x="1624" y="647"/>
                  <a:pt x="1622" y="645"/>
                  <a:pt x="1619" y="643"/>
                </a:cubicBezTo>
                <a:cubicBezTo>
                  <a:pt x="1619" y="643"/>
                  <a:pt x="1618" y="642"/>
                  <a:pt x="1618" y="642"/>
                </a:cubicBezTo>
                <a:cubicBezTo>
                  <a:pt x="1621" y="636"/>
                  <a:pt x="1623" y="633"/>
                  <a:pt x="1626" y="625"/>
                </a:cubicBezTo>
                <a:cubicBezTo>
                  <a:pt x="1627" y="624"/>
                  <a:pt x="1629" y="620"/>
                  <a:pt x="1632" y="616"/>
                </a:cubicBezTo>
                <a:cubicBezTo>
                  <a:pt x="1634" y="612"/>
                  <a:pt x="1636" y="608"/>
                  <a:pt x="1637" y="602"/>
                </a:cubicBezTo>
                <a:cubicBezTo>
                  <a:pt x="1637" y="597"/>
                  <a:pt x="1632" y="591"/>
                  <a:pt x="1626" y="590"/>
                </a:cubicBezTo>
                <a:cubicBezTo>
                  <a:pt x="1618" y="588"/>
                  <a:pt x="1614" y="586"/>
                  <a:pt x="1612" y="584"/>
                </a:cubicBezTo>
                <a:cubicBezTo>
                  <a:pt x="1610" y="583"/>
                  <a:pt x="1609" y="582"/>
                  <a:pt x="1608" y="579"/>
                </a:cubicBezTo>
                <a:cubicBezTo>
                  <a:pt x="1606" y="572"/>
                  <a:pt x="1601" y="566"/>
                  <a:pt x="1595" y="561"/>
                </a:cubicBezTo>
                <a:cubicBezTo>
                  <a:pt x="1592" y="558"/>
                  <a:pt x="1589" y="556"/>
                  <a:pt x="1587" y="554"/>
                </a:cubicBezTo>
                <a:cubicBezTo>
                  <a:pt x="1584" y="553"/>
                  <a:pt x="1582" y="551"/>
                  <a:pt x="1578" y="551"/>
                </a:cubicBezTo>
                <a:cubicBezTo>
                  <a:pt x="1576" y="551"/>
                  <a:pt x="1571" y="551"/>
                  <a:pt x="1567" y="550"/>
                </a:cubicBezTo>
                <a:cubicBezTo>
                  <a:pt x="1565" y="550"/>
                  <a:pt x="1563" y="549"/>
                  <a:pt x="1562" y="549"/>
                </a:cubicBezTo>
                <a:cubicBezTo>
                  <a:pt x="1562" y="549"/>
                  <a:pt x="1562" y="549"/>
                  <a:pt x="1562" y="548"/>
                </a:cubicBezTo>
                <a:cubicBezTo>
                  <a:pt x="1559" y="538"/>
                  <a:pt x="1548" y="525"/>
                  <a:pt x="1542" y="517"/>
                </a:cubicBezTo>
                <a:cubicBezTo>
                  <a:pt x="1540" y="514"/>
                  <a:pt x="1533" y="505"/>
                  <a:pt x="1526" y="496"/>
                </a:cubicBezTo>
                <a:cubicBezTo>
                  <a:pt x="1523" y="491"/>
                  <a:pt x="1520" y="487"/>
                  <a:pt x="1517" y="484"/>
                </a:cubicBezTo>
                <a:cubicBezTo>
                  <a:pt x="1514" y="480"/>
                  <a:pt x="1512" y="478"/>
                  <a:pt x="1510" y="476"/>
                </a:cubicBezTo>
                <a:cubicBezTo>
                  <a:pt x="1509" y="475"/>
                  <a:pt x="1506" y="474"/>
                  <a:pt x="1504" y="474"/>
                </a:cubicBezTo>
                <a:cubicBezTo>
                  <a:pt x="1495" y="475"/>
                  <a:pt x="1491" y="481"/>
                  <a:pt x="1483" y="493"/>
                </a:cubicBezTo>
                <a:cubicBezTo>
                  <a:pt x="1476" y="505"/>
                  <a:pt x="1470" y="507"/>
                  <a:pt x="1467" y="507"/>
                </a:cubicBezTo>
                <a:cubicBezTo>
                  <a:pt x="1466" y="507"/>
                  <a:pt x="1465" y="507"/>
                  <a:pt x="1463" y="506"/>
                </a:cubicBezTo>
                <a:cubicBezTo>
                  <a:pt x="1459" y="504"/>
                  <a:pt x="1457" y="503"/>
                  <a:pt x="1455" y="502"/>
                </a:cubicBezTo>
                <a:cubicBezTo>
                  <a:pt x="1454" y="501"/>
                  <a:pt x="1452" y="499"/>
                  <a:pt x="1448" y="494"/>
                </a:cubicBezTo>
                <a:cubicBezTo>
                  <a:pt x="1447" y="493"/>
                  <a:pt x="1447" y="492"/>
                  <a:pt x="1447" y="492"/>
                </a:cubicBezTo>
                <a:cubicBezTo>
                  <a:pt x="1447" y="492"/>
                  <a:pt x="1448" y="491"/>
                  <a:pt x="1450" y="489"/>
                </a:cubicBezTo>
                <a:cubicBezTo>
                  <a:pt x="1451" y="488"/>
                  <a:pt x="1454" y="486"/>
                  <a:pt x="1454" y="480"/>
                </a:cubicBezTo>
                <a:cubicBezTo>
                  <a:pt x="1454" y="479"/>
                  <a:pt x="1454" y="477"/>
                  <a:pt x="1453" y="476"/>
                </a:cubicBezTo>
                <a:cubicBezTo>
                  <a:pt x="1449" y="469"/>
                  <a:pt x="1443" y="467"/>
                  <a:pt x="1436" y="465"/>
                </a:cubicBezTo>
                <a:cubicBezTo>
                  <a:pt x="1429" y="463"/>
                  <a:pt x="1421" y="462"/>
                  <a:pt x="1415" y="461"/>
                </a:cubicBezTo>
                <a:cubicBezTo>
                  <a:pt x="1412" y="461"/>
                  <a:pt x="1408" y="458"/>
                  <a:pt x="1402" y="453"/>
                </a:cubicBezTo>
                <a:cubicBezTo>
                  <a:pt x="1396" y="449"/>
                  <a:pt x="1389" y="444"/>
                  <a:pt x="1378" y="443"/>
                </a:cubicBezTo>
                <a:cubicBezTo>
                  <a:pt x="1376" y="443"/>
                  <a:pt x="1373" y="443"/>
                  <a:pt x="1370" y="443"/>
                </a:cubicBezTo>
                <a:cubicBezTo>
                  <a:pt x="1354" y="443"/>
                  <a:pt x="1337" y="446"/>
                  <a:pt x="1334" y="446"/>
                </a:cubicBezTo>
                <a:cubicBezTo>
                  <a:pt x="1331" y="446"/>
                  <a:pt x="1327" y="448"/>
                  <a:pt x="1326" y="450"/>
                </a:cubicBezTo>
                <a:cubicBezTo>
                  <a:pt x="1321" y="457"/>
                  <a:pt x="1322" y="465"/>
                  <a:pt x="1320" y="476"/>
                </a:cubicBezTo>
                <a:cubicBezTo>
                  <a:pt x="1320" y="478"/>
                  <a:pt x="1320" y="480"/>
                  <a:pt x="1320" y="481"/>
                </a:cubicBezTo>
                <a:cubicBezTo>
                  <a:pt x="1320" y="486"/>
                  <a:pt x="1320" y="489"/>
                  <a:pt x="1321" y="492"/>
                </a:cubicBezTo>
                <a:cubicBezTo>
                  <a:pt x="1321" y="492"/>
                  <a:pt x="1322" y="493"/>
                  <a:pt x="1322" y="493"/>
                </a:cubicBezTo>
                <a:cubicBezTo>
                  <a:pt x="1319" y="494"/>
                  <a:pt x="1316" y="495"/>
                  <a:pt x="1314" y="496"/>
                </a:cubicBezTo>
                <a:cubicBezTo>
                  <a:pt x="1313" y="496"/>
                  <a:pt x="1311" y="497"/>
                  <a:pt x="1310" y="498"/>
                </a:cubicBezTo>
                <a:cubicBezTo>
                  <a:pt x="1309" y="499"/>
                  <a:pt x="1307" y="501"/>
                  <a:pt x="1307" y="504"/>
                </a:cubicBezTo>
                <a:cubicBezTo>
                  <a:pt x="1307" y="507"/>
                  <a:pt x="1309" y="509"/>
                  <a:pt x="1311" y="510"/>
                </a:cubicBezTo>
                <a:cubicBezTo>
                  <a:pt x="1312" y="512"/>
                  <a:pt x="1314" y="513"/>
                  <a:pt x="1316" y="514"/>
                </a:cubicBezTo>
                <a:cubicBezTo>
                  <a:pt x="1320" y="516"/>
                  <a:pt x="1326" y="522"/>
                  <a:pt x="1330" y="528"/>
                </a:cubicBezTo>
                <a:cubicBezTo>
                  <a:pt x="1333" y="532"/>
                  <a:pt x="1336" y="536"/>
                  <a:pt x="1337" y="538"/>
                </a:cubicBezTo>
                <a:cubicBezTo>
                  <a:pt x="1337" y="539"/>
                  <a:pt x="1337" y="540"/>
                  <a:pt x="1336" y="542"/>
                </a:cubicBezTo>
                <a:cubicBezTo>
                  <a:pt x="1335" y="545"/>
                  <a:pt x="1334" y="549"/>
                  <a:pt x="1331" y="551"/>
                </a:cubicBezTo>
                <a:cubicBezTo>
                  <a:pt x="1327" y="555"/>
                  <a:pt x="1321" y="558"/>
                  <a:pt x="1320" y="559"/>
                </a:cubicBezTo>
                <a:cubicBezTo>
                  <a:pt x="1320" y="559"/>
                  <a:pt x="1320" y="558"/>
                  <a:pt x="1320" y="558"/>
                </a:cubicBezTo>
                <a:cubicBezTo>
                  <a:pt x="1316" y="552"/>
                  <a:pt x="1311" y="549"/>
                  <a:pt x="1305" y="549"/>
                </a:cubicBezTo>
                <a:cubicBezTo>
                  <a:pt x="1303" y="549"/>
                  <a:pt x="1300" y="550"/>
                  <a:pt x="1298" y="552"/>
                </a:cubicBezTo>
                <a:cubicBezTo>
                  <a:pt x="1296" y="553"/>
                  <a:pt x="1294" y="557"/>
                  <a:pt x="1294" y="560"/>
                </a:cubicBezTo>
                <a:cubicBezTo>
                  <a:pt x="1294" y="561"/>
                  <a:pt x="1294" y="563"/>
                  <a:pt x="1295" y="565"/>
                </a:cubicBezTo>
                <a:cubicBezTo>
                  <a:pt x="1297" y="570"/>
                  <a:pt x="1300" y="573"/>
                  <a:pt x="1302" y="576"/>
                </a:cubicBezTo>
                <a:cubicBezTo>
                  <a:pt x="1304" y="579"/>
                  <a:pt x="1305" y="581"/>
                  <a:pt x="1305" y="583"/>
                </a:cubicBezTo>
                <a:cubicBezTo>
                  <a:pt x="1305" y="588"/>
                  <a:pt x="1307" y="593"/>
                  <a:pt x="1308" y="598"/>
                </a:cubicBezTo>
                <a:cubicBezTo>
                  <a:pt x="1310" y="603"/>
                  <a:pt x="1311" y="608"/>
                  <a:pt x="1311" y="612"/>
                </a:cubicBezTo>
                <a:cubicBezTo>
                  <a:pt x="1311" y="614"/>
                  <a:pt x="1310" y="615"/>
                  <a:pt x="1310" y="615"/>
                </a:cubicBezTo>
                <a:cubicBezTo>
                  <a:pt x="1308" y="616"/>
                  <a:pt x="1308" y="616"/>
                  <a:pt x="1306" y="616"/>
                </a:cubicBezTo>
                <a:cubicBezTo>
                  <a:pt x="1303" y="616"/>
                  <a:pt x="1300" y="615"/>
                  <a:pt x="1296" y="615"/>
                </a:cubicBezTo>
                <a:cubicBezTo>
                  <a:pt x="1295" y="615"/>
                  <a:pt x="1294" y="615"/>
                  <a:pt x="1293" y="616"/>
                </a:cubicBezTo>
                <a:cubicBezTo>
                  <a:pt x="1292" y="615"/>
                  <a:pt x="1291" y="613"/>
                  <a:pt x="1291" y="612"/>
                </a:cubicBezTo>
                <a:cubicBezTo>
                  <a:pt x="1295" y="609"/>
                  <a:pt x="1294" y="605"/>
                  <a:pt x="1295" y="602"/>
                </a:cubicBezTo>
                <a:cubicBezTo>
                  <a:pt x="1295" y="593"/>
                  <a:pt x="1292" y="583"/>
                  <a:pt x="1291" y="583"/>
                </a:cubicBezTo>
                <a:cubicBezTo>
                  <a:pt x="1291" y="581"/>
                  <a:pt x="1289" y="579"/>
                  <a:pt x="1286" y="578"/>
                </a:cubicBezTo>
                <a:cubicBezTo>
                  <a:pt x="1284" y="578"/>
                  <a:pt x="1282" y="579"/>
                  <a:pt x="1280" y="581"/>
                </a:cubicBezTo>
                <a:cubicBezTo>
                  <a:pt x="1280" y="581"/>
                  <a:pt x="1280" y="583"/>
                  <a:pt x="1278" y="585"/>
                </a:cubicBezTo>
                <a:cubicBezTo>
                  <a:pt x="1277" y="583"/>
                  <a:pt x="1276" y="581"/>
                  <a:pt x="1276" y="579"/>
                </a:cubicBezTo>
                <a:cubicBezTo>
                  <a:pt x="1274" y="576"/>
                  <a:pt x="1273" y="575"/>
                  <a:pt x="1273" y="572"/>
                </a:cubicBezTo>
                <a:cubicBezTo>
                  <a:pt x="1273" y="567"/>
                  <a:pt x="1272" y="562"/>
                  <a:pt x="1269" y="559"/>
                </a:cubicBezTo>
                <a:cubicBezTo>
                  <a:pt x="1265" y="556"/>
                  <a:pt x="1261" y="554"/>
                  <a:pt x="1256" y="554"/>
                </a:cubicBezTo>
                <a:cubicBezTo>
                  <a:pt x="1253" y="554"/>
                  <a:pt x="1251" y="555"/>
                  <a:pt x="1248" y="555"/>
                </a:cubicBezTo>
                <a:cubicBezTo>
                  <a:pt x="1247" y="555"/>
                  <a:pt x="1246" y="556"/>
                  <a:pt x="1245" y="556"/>
                </a:cubicBezTo>
                <a:cubicBezTo>
                  <a:pt x="1238" y="556"/>
                  <a:pt x="1226" y="550"/>
                  <a:pt x="1209" y="547"/>
                </a:cubicBezTo>
                <a:cubicBezTo>
                  <a:pt x="1189" y="543"/>
                  <a:pt x="1183" y="540"/>
                  <a:pt x="1167" y="531"/>
                </a:cubicBezTo>
                <a:cubicBezTo>
                  <a:pt x="1160" y="527"/>
                  <a:pt x="1154" y="525"/>
                  <a:pt x="1149" y="525"/>
                </a:cubicBezTo>
                <a:cubicBezTo>
                  <a:pt x="1142" y="525"/>
                  <a:pt x="1137" y="528"/>
                  <a:pt x="1134" y="529"/>
                </a:cubicBezTo>
                <a:cubicBezTo>
                  <a:pt x="1134" y="527"/>
                  <a:pt x="1133" y="523"/>
                  <a:pt x="1132" y="519"/>
                </a:cubicBezTo>
                <a:cubicBezTo>
                  <a:pt x="1130" y="515"/>
                  <a:pt x="1127" y="509"/>
                  <a:pt x="1120" y="507"/>
                </a:cubicBezTo>
                <a:cubicBezTo>
                  <a:pt x="1114" y="505"/>
                  <a:pt x="1109" y="506"/>
                  <a:pt x="1109" y="505"/>
                </a:cubicBezTo>
                <a:cubicBezTo>
                  <a:pt x="1109" y="505"/>
                  <a:pt x="1109" y="505"/>
                  <a:pt x="1108" y="504"/>
                </a:cubicBezTo>
                <a:cubicBezTo>
                  <a:pt x="1108" y="503"/>
                  <a:pt x="1107" y="501"/>
                  <a:pt x="1106" y="497"/>
                </a:cubicBezTo>
                <a:cubicBezTo>
                  <a:pt x="1106" y="495"/>
                  <a:pt x="1106" y="493"/>
                  <a:pt x="1106" y="491"/>
                </a:cubicBezTo>
                <a:cubicBezTo>
                  <a:pt x="1106" y="486"/>
                  <a:pt x="1107" y="484"/>
                  <a:pt x="1111" y="479"/>
                </a:cubicBezTo>
                <a:cubicBezTo>
                  <a:pt x="1115" y="475"/>
                  <a:pt x="1122" y="469"/>
                  <a:pt x="1133" y="461"/>
                </a:cubicBezTo>
                <a:cubicBezTo>
                  <a:pt x="1146" y="451"/>
                  <a:pt x="1152" y="444"/>
                  <a:pt x="1156" y="439"/>
                </a:cubicBezTo>
                <a:cubicBezTo>
                  <a:pt x="1161" y="435"/>
                  <a:pt x="1162" y="433"/>
                  <a:pt x="1171" y="432"/>
                </a:cubicBezTo>
                <a:cubicBezTo>
                  <a:pt x="1176" y="431"/>
                  <a:pt x="1180" y="431"/>
                  <a:pt x="1183" y="431"/>
                </a:cubicBezTo>
                <a:cubicBezTo>
                  <a:pt x="1187" y="431"/>
                  <a:pt x="1191" y="432"/>
                  <a:pt x="1194" y="432"/>
                </a:cubicBezTo>
                <a:cubicBezTo>
                  <a:pt x="1196" y="431"/>
                  <a:pt x="1198" y="432"/>
                  <a:pt x="1201" y="430"/>
                </a:cubicBezTo>
                <a:cubicBezTo>
                  <a:pt x="1204" y="428"/>
                  <a:pt x="1206" y="424"/>
                  <a:pt x="1205" y="422"/>
                </a:cubicBezTo>
                <a:cubicBezTo>
                  <a:pt x="1205" y="421"/>
                  <a:pt x="1206" y="419"/>
                  <a:pt x="1206" y="416"/>
                </a:cubicBezTo>
                <a:cubicBezTo>
                  <a:pt x="1207" y="417"/>
                  <a:pt x="1207" y="418"/>
                  <a:pt x="1208" y="418"/>
                </a:cubicBezTo>
                <a:cubicBezTo>
                  <a:pt x="1210" y="419"/>
                  <a:pt x="1212" y="421"/>
                  <a:pt x="1213" y="421"/>
                </a:cubicBezTo>
                <a:cubicBezTo>
                  <a:pt x="1212" y="421"/>
                  <a:pt x="1212" y="421"/>
                  <a:pt x="1212" y="421"/>
                </a:cubicBezTo>
                <a:cubicBezTo>
                  <a:pt x="1208" y="426"/>
                  <a:pt x="1205" y="428"/>
                  <a:pt x="1205" y="434"/>
                </a:cubicBezTo>
                <a:cubicBezTo>
                  <a:pt x="1205" y="439"/>
                  <a:pt x="1210" y="442"/>
                  <a:pt x="1212" y="442"/>
                </a:cubicBezTo>
                <a:cubicBezTo>
                  <a:pt x="1215" y="443"/>
                  <a:pt x="1217" y="443"/>
                  <a:pt x="1220" y="443"/>
                </a:cubicBezTo>
                <a:cubicBezTo>
                  <a:pt x="1226" y="443"/>
                  <a:pt x="1232" y="440"/>
                  <a:pt x="1237" y="438"/>
                </a:cubicBezTo>
                <a:cubicBezTo>
                  <a:pt x="1242" y="435"/>
                  <a:pt x="1245" y="433"/>
                  <a:pt x="1246" y="433"/>
                </a:cubicBezTo>
                <a:cubicBezTo>
                  <a:pt x="1247" y="432"/>
                  <a:pt x="1248" y="431"/>
                  <a:pt x="1251" y="431"/>
                </a:cubicBezTo>
                <a:cubicBezTo>
                  <a:pt x="1253" y="430"/>
                  <a:pt x="1257" y="429"/>
                  <a:pt x="1259" y="429"/>
                </a:cubicBezTo>
                <a:cubicBezTo>
                  <a:pt x="1260" y="429"/>
                  <a:pt x="1261" y="429"/>
                  <a:pt x="1261" y="429"/>
                </a:cubicBezTo>
                <a:cubicBezTo>
                  <a:pt x="1261" y="429"/>
                  <a:pt x="1261" y="429"/>
                  <a:pt x="1261" y="429"/>
                </a:cubicBezTo>
                <a:cubicBezTo>
                  <a:pt x="1263" y="432"/>
                  <a:pt x="1264" y="436"/>
                  <a:pt x="1266" y="440"/>
                </a:cubicBezTo>
                <a:cubicBezTo>
                  <a:pt x="1266" y="440"/>
                  <a:pt x="1266" y="440"/>
                  <a:pt x="1266" y="440"/>
                </a:cubicBezTo>
                <a:cubicBezTo>
                  <a:pt x="1263" y="438"/>
                  <a:pt x="1260" y="437"/>
                  <a:pt x="1256" y="437"/>
                </a:cubicBezTo>
                <a:cubicBezTo>
                  <a:pt x="1251" y="437"/>
                  <a:pt x="1246" y="439"/>
                  <a:pt x="1243" y="444"/>
                </a:cubicBezTo>
                <a:cubicBezTo>
                  <a:pt x="1243" y="444"/>
                  <a:pt x="1243" y="444"/>
                  <a:pt x="1243" y="444"/>
                </a:cubicBezTo>
                <a:cubicBezTo>
                  <a:pt x="1242" y="445"/>
                  <a:pt x="1241" y="447"/>
                  <a:pt x="1241" y="449"/>
                </a:cubicBezTo>
                <a:cubicBezTo>
                  <a:pt x="1242" y="455"/>
                  <a:pt x="1246" y="456"/>
                  <a:pt x="1249" y="458"/>
                </a:cubicBezTo>
                <a:cubicBezTo>
                  <a:pt x="1252" y="459"/>
                  <a:pt x="1256" y="460"/>
                  <a:pt x="1259" y="460"/>
                </a:cubicBezTo>
                <a:cubicBezTo>
                  <a:pt x="1262" y="460"/>
                  <a:pt x="1267" y="460"/>
                  <a:pt x="1270" y="455"/>
                </a:cubicBezTo>
                <a:cubicBezTo>
                  <a:pt x="1271" y="454"/>
                  <a:pt x="1271" y="452"/>
                  <a:pt x="1271" y="450"/>
                </a:cubicBezTo>
                <a:cubicBezTo>
                  <a:pt x="1271" y="448"/>
                  <a:pt x="1271" y="447"/>
                  <a:pt x="1270" y="445"/>
                </a:cubicBezTo>
                <a:cubicBezTo>
                  <a:pt x="1272" y="447"/>
                  <a:pt x="1275" y="449"/>
                  <a:pt x="1279" y="449"/>
                </a:cubicBezTo>
                <a:cubicBezTo>
                  <a:pt x="1284" y="448"/>
                  <a:pt x="1288" y="447"/>
                  <a:pt x="1292" y="444"/>
                </a:cubicBezTo>
                <a:cubicBezTo>
                  <a:pt x="1297" y="441"/>
                  <a:pt x="1301" y="437"/>
                  <a:pt x="1301" y="430"/>
                </a:cubicBezTo>
                <a:cubicBezTo>
                  <a:pt x="1301" y="425"/>
                  <a:pt x="1298" y="420"/>
                  <a:pt x="1292" y="417"/>
                </a:cubicBezTo>
                <a:cubicBezTo>
                  <a:pt x="1284" y="411"/>
                  <a:pt x="1278" y="409"/>
                  <a:pt x="1273" y="407"/>
                </a:cubicBezTo>
                <a:cubicBezTo>
                  <a:pt x="1267" y="405"/>
                  <a:pt x="1264" y="403"/>
                  <a:pt x="1260" y="399"/>
                </a:cubicBezTo>
                <a:cubicBezTo>
                  <a:pt x="1259" y="396"/>
                  <a:pt x="1257" y="395"/>
                  <a:pt x="1256" y="393"/>
                </a:cubicBezTo>
                <a:cubicBezTo>
                  <a:pt x="1260" y="392"/>
                  <a:pt x="1268" y="388"/>
                  <a:pt x="1271" y="387"/>
                </a:cubicBezTo>
                <a:cubicBezTo>
                  <a:pt x="1271" y="387"/>
                  <a:pt x="1277" y="386"/>
                  <a:pt x="1282" y="384"/>
                </a:cubicBezTo>
                <a:cubicBezTo>
                  <a:pt x="1286" y="382"/>
                  <a:pt x="1293" y="377"/>
                  <a:pt x="1293" y="368"/>
                </a:cubicBezTo>
                <a:cubicBezTo>
                  <a:pt x="1293" y="367"/>
                  <a:pt x="1293" y="365"/>
                  <a:pt x="1293" y="364"/>
                </a:cubicBezTo>
                <a:cubicBezTo>
                  <a:pt x="1290" y="356"/>
                  <a:pt x="1285" y="351"/>
                  <a:pt x="1281" y="349"/>
                </a:cubicBezTo>
                <a:cubicBezTo>
                  <a:pt x="1279" y="348"/>
                  <a:pt x="1277" y="347"/>
                  <a:pt x="1276" y="346"/>
                </a:cubicBezTo>
                <a:cubicBezTo>
                  <a:pt x="1278" y="345"/>
                  <a:pt x="1281" y="343"/>
                  <a:pt x="1284" y="342"/>
                </a:cubicBezTo>
                <a:cubicBezTo>
                  <a:pt x="1284" y="342"/>
                  <a:pt x="1286" y="341"/>
                  <a:pt x="1289" y="341"/>
                </a:cubicBezTo>
                <a:cubicBezTo>
                  <a:pt x="1292" y="341"/>
                  <a:pt x="1295" y="341"/>
                  <a:pt x="1298" y="342"/>
                </a:cubicBezTo>
                <a:cubicBezTo>
                  <a:pt x="1300" y="342"/>
                  <a:pt x="1302" y="342"/>
                  <a:pt x="1302" y="342"/>
                </a:cubicBezTo>
                <a:cubicBezTo>
                  <a:pt x="1302" y="342"/>
                  <a:pt x="1304" y="343"/>
                  <a:pt x="1306" y="343"/>
                </a:cubicBezTo>
                <a:cubicBezTo>
                  <a:pt x="1308" y="342"/>
                  <a:pt x="1310" y="342"/>
                  <a:pt x="1313" y="341"/>
                </a:cubicBezTo>
                <a:cubicBezTo>
                  <a:pt x="1314" y="341"/>
                  <a:pt x="1316" y="340"/>
                  <a:pt x="1317" y="339"/>
                </a:cubicBezTo>
                <a:cubicBezTo>
                  <a:pt x="1317" y="339"/>
                  <a:pt x="1318" y="340"/>
                  <a:pt x="1319" y="341"/>
                </a:cubicBezTo>
                <a:cubicBezTo>
                  <a:pt x="1320" y="343"/>
                  <a:pt x="1323" y="344"/>
                  <a:pt x="1326" y="344"/>
                </a:cubicBezTo>
                <a:cubicBezTo>
                  <a:pt x="1327" y="344"/>
                  <a:pt x="1328" y="344"/>
                  <a:pt x="1330" y="343"/>
                </a:cubicBezTo>
                <a:cubicBezTo>
                  <a:pt x="1332" y="343"/>
                  <a:pt x="1334" y="343"/>
                  <a:pt x="1335" y="343"/>
                </a:cubicBezTo>
                <a:cubicBezTo>
                  <a:pt x="1338" y="343"/>
                  <a:pt x="1338" y="343"/>
                  <a:pt x="1343" y="346"/>
                </a:cubicBezTo>
                <a:cubicBezTo>
                  <a:pt x="1343" y="347"/>
                  <a:pt x="1343" y="347"/>
                  <a:pt x="1343" y="347"/>
                </a:cubicBezTo>
                <a:cubicBezTo>
                  <a:pt x="1343" y="349"/>
                  <a:pt x="1342" y="353"/>
                  <a:pt x="1340" y="355"/>
                </a:cubicBezTo>
                <a:cubicBezTo>
                  <a:pt x="1340" y="357"/>
                  <a:pt x="1339" y="358"/>
                  <a:pt x="1338" y="359"/>
                </a:cubicBezTo>
                <a:cubicBezTo>
                  <a:pt x="1338" y="360"/>
                  <a:pt x="1337" y="360"/>
                  <a:pt x="1337" y="360"/>
                </a:cubicBezTo>
                <a:cubicBezTo>
                  <a:pt x="1335" y="361"/>
                  <a:pt x="1333" y="362"/>
                  <a:pt x="1331" y="364"/>
                </a:cubicBezTo>
                <a:cubicBezTo>
                  <a:pt x="1329" y="365"/>
                  <a:pt x="1326" y="366"/>
                  <a:pt x="1325" y="372"/>
                </a:cubicBezTo>
                <a:cubicBezTo>
                  <a:pt x="1325" y="376"/>
                  <a:pt x="1328" y="378"/>
                  <a:pt x="1330" y="379"/>
                </a:cubicBezTo>
                <a:cubicBezTo>
                  <a:pt x="1332" y="380"/>
                  <a:pt x="1334" y="381"/>
                  <a:pt x="1337" y="381"/>
                </a:cubicBezTo>
                <a:cubicBezTo>
                  <a:pt x="1350" y="382"/>
                  <a:pt x="1359" y="382"/>
                  <a:pt x="1359" y="382"/>
                </a:cubicBezTo>
                <a:cubicBezTo>
                  <a:pt x="1361" y="382"/>
                  <a:pt x="1363" y="382"/>
                  <a:pt x="1364" y="380"/>
                </a:cubicBezTo>
                <a:cubicBezTo>
                  <a:pt x="1364" y="380"/>
                  <a:pt x="1372" y="370"/>
                  <a:pt x="1376" y="361"/>
                </a:cubicBezTo>
                <a:cubicBezTo>
                  <a:pt x="1376" y="361"/>
                  <a:pt x="1376" y="361"/>
                  <a:pt x="1376" y="360"/>
                </a:cubicBezTo>
                <a:cubicBezTo>
                  <a:pt x="1378" y="361"/>
                  <a:pt x="1380" y="362"/>
                  <a:pt x="1382" y="364"/>
                </a:cubicBezTo>
                <a:cubicBezTo>
                  <a:pt x="1383" y="364"/>
                  <a:pt x="1385" y="365"/>
                  <a:pt x="1386" y="366"/>
                </a:cubicBezTo>
                <a:cubicBezTo>
                  <a:pt x="1371" y="371"/>
                  <a:pt x="1365" y="381"/>
                  <a:pt x="1362" y="387"/>
                </a:cubicBezTo>
                <a:cubicBezTo>
                  <a:pt x="1361" y="390"/>
                  <a:pt x="1360" y="392"/>
                  <a:pt x="1359" y="392"/>
                </a:cubicBezTo>
                <a:cubicBezTo>
                  <a:pt x="1359" y="392"/>
                  <a:pt x="1359" y="392"/>
                  <a:pt x="1357" y="393"/>
                </a:cubicBezTo>
                <a:cubicBezTo>
                  <a:pt x="1356" y="393"/>
                  <a:pt x="1353" y="392"/>
                  <a:pt x="1349" y="391"/>
                </a:cubicBezTo>
                <a:cubicBezTo>
                  <a:pt x="1343" y="389"/>
                  <a:pt x="1338" y="389"/>
                  <a:pt x="1334" y="389"/>
                </a:cubicBezTo>
                <a:cubicBezTo>
                  <a:pt x="1326" y="388"/>
                  <a:pt x="1319" y="392"/>
                  <a:pt x="1316" y="398"/>
                </a:cubicBezTo>
                <a:cubicBezTo>
                  <a:pt x="1314" y="402"/>
                  <a:pt x="1314" y="407"/>
                  <a:pt x="1314" y="411"/>
                </a:cubicBezTo>
                <a:cubicBezTo>
                  <a:pt x="1314" y="415"/>
                  <a:pt x="1314" y="420"/>
                  <a:pt x="1315" y="424"/>
                </a:cubicBezTo>
                <a:cubicBezTo>
                  <a:pt x="1316" y="426"/>
                  <a:pt x="1317" y="428"/>
                  <a:pt x="1318" y="429"/>
                </a:cubicBezTo>
                <a:cubicBezTo>
                  <a:pt x="1319" y="431"/>
                  <a:pt x="1321" y="433"/>
                  <a:pt x="1325" y="434"/>
                </a:cubicBezTo>
                <a:cubicBezTo>
                  <a:pt x="1326" y="434"/>
                  <a:pt x="1327" y="433"/>
                  <a:pt x="1328" y="433"/>
                </a:cubicBezTo>
                <a:cubicBezTo>
                  <a:pt x="1333" y="431"/>
                  <a:pt x="1338" y="431"/>
                  <a:pt x="1347" y="427"/>
                </a:cubicBezTo>
                <a:cubicBezTo>
                  <a:pt x="1347" y="427"/>
                  <a:pt x="1348" y="427"/>
                  <a:pt x="1351" y="427"/>
                </a:cubicBezTo>
                <a:cubicBezTo>
                  <a:pt x="1359" y="427"/>
                  <a:pt x="1374" y="429"/>
                  <a:pt x="1383" y="429"/>
                </a:cubicBezTo>
                <a:cubicBezTo>
                  <a:pt x="1384" y="429"/>
                  <a:pt x="1385" y="429"/>
                  <a:pt x="1387" y="429"/>
                </a:cubicBezTo>
                <a:cubicBezTo>
                  <a:pt x="1387" y="429"/>
                  <a:pt x="1388" y="429"/>
                  <a:pt x="1389" y="430"/>
                </a:cubicBezTo>
                <a:cubicBezTo>
                  <a:pt x="1391" y="431"/>
                  <a:pt x="1394" y="434"/>
                  <a:pt x="1396" y="436"/>
                </a:cubicBezTo>
                <a:cubicBezTo>
                  <a:pt x="1399" y="438"/>
                  <a:pt x="1401" y="440"/>
                  <a:pt x="1407" y="441"/>
                </a:cubicBezTo>
                <a:cubicBezTo>
                  <a:pt x="1408" y="441"/>
                  <a:pt x="1409" y="440"/>
                  <a:pt x="1410" y="440"/>
                </a:cubicBezTo>
                <a:cubicBezTo>
                  <a:pt x="1412" y="441"/>
                  <a:pt x="1417" y="446"/>
                  <a:pt x="1421" y="450"/>
                </a:cubicBezTo>
                <a:cubicBezTo>
                  <a:pt x="1423" y="451"/>
                  <a:pt x="1425" y="452"/>
                  <a:pt x="1427" y="452"/>
                </a:cubicBezTo>
                <a:cubicBezTo>
                  <a:pt x="1430" y="452"/>
                  <a:pt x="1433" y="451"/>
                  <a:pt x="1434" y="450"/>
                </a:cubicBezTo>
                <a:cubicBezTo>
                  <a:pt x="1435" y="448"/>
                  <a:pt x="1435" y="447"/>
                  <a:pt x="1436" y="447"/>
                </a:cubicBezTo>
                <a:cubicBezTo>
                  <a:pt x="1436" y="447"/>
                  <a:pt x="1437" y="448"/>
                  <a:pt x="1438" y="448"/>
                </a:cubicBezTo>
                <a:cubicBezTo>
                  <a:pt x="1444" y="454"/>
                  <a:pt x="1445" y="455"/>
                  <a:pt x="1445" y="456"/>
                </a:cubicBezTo>
                <a:cubicBezTo>
                  <a:pt x="1445" y="457"/>
                  <a:pt x="1447" y="459"/>
                  <a:pt x="1450" y="460"/>
                </a:cubicBezTo>
                <a:cubicBezTo>
                  <a:pt x="1452" y="460"/>
                  <a:pt x="1453" y="460"/>
                  <a:pt x="1454" y="460"/>
                </a:cubicBezTo>
                <a:cubicBezTo>
                  <a:pt x="1454" y="460"/>
                  <a:pt x="1454" y="460"/>
                  <a:pt x="1455" y="460"/>
                </a:cubicBezTo>
                <a:cubicBezTo>
                  <a:pt x="1461" y="460"/>
                  <a:pt x="1476" y="462"/>
                  <a:pt x="1476" y="462"/>
                </a:cubicBezTo>
                <a:cubicBezTo>
                  <a:pt x="1478" y="462"/>
                  <a:pt x="1479" y="462"/>
                  <a:pt x="1481" y="461"/>
                </a:cubicBezTo>
                <a:cubicBezTo>
                  <a:pt x="1482" y="460"/>
                  <a:pt x="1483" y="458"/>
                  <a:pt x="1483" y="457"/>
                </a:cubicBezTo>
                <a:cubicBezTo>
                  <a:pt x="1483" y="457"/>
                  <a:pt x="1483" y="456"/>
                  <a:pt x="1483" y="456"/>
                </a:cubicBezTo>
                <a:cubicBezTo>
                  <a:pt x="1483" y="455"/>
                  <a:pt x="1484" y="453"/>
                  <a:pt x="1484" y="452"/>
                </a:cubicBezTo>
                <a:cubicBezTo>
                  <a:pt x="1485" y="451"/>
                  <a:pt x="1485" y="451"/>
                  <a:pt x="1486" y="451"/>
                </a:cubicBezTo>
                <a:cubicBezTo>
                  <a:pt x="1487" y="451"/>
                  <a:pt x="1487" y="451"/>
                  <a:pt x="1488" y="451"/>
                </a:cubicBezTo>
                <a:cubicBezTo>
                  <a:pt x="1491" y="452"/>
                  <a:pt x="1494" y="454"/>
                  <a:pt x="1498" y="456"/>
                </a:cubicBezTo>
                <a:cubicBezTo>
                  <a:pt x="1499" y="458"/>
                  <a:pt x="1501" y="459"/>
                  <a:pt x="1502" y="460"/>
                </a:cubicBezTo>
                <a:cubicBezTo>
                  <a:pt x="1504" y="461"/>
                  <a:pt x="1505" y="462"/>
                  <a:pt x="1509" y="462"/>
                </a:cubicBezTo>
                <a:cubicBezTo>
                  <a:pt x="1511" y="462"/>
                  <a:pt x="1514" y="461"/>
                  <a:pt x="1515" y="459"/>
                </a:cubicBezTo>
                <a:cubicBezTo>
                  <a:pt x="1516" y="456"/>
                  <a:pt x="1516" y="455"/>
                  <a:pt x="1516" y="454"/>
                </a:cubicBezTo>
                <a:cubicBezTo>
                  <a:pt x="1516" y="453"/>
                  <a:pt x="1516" y="452"/>
                  <a:pt x="1516" y="452"/>
                </a:cubicBezTo>
                <a:cubicBezTo>
                  <a:pt x="1516" y="447"/>
                  <a:pt x="1516" y="442"/>
                  <a:pt x="1515" y="436"/>
                </a:cubicBezTo>
                <a:cubicBezTo>
                  <a:pt x="1514" y="431"/>
                  <a:pt x="1512" y="425"/>
                  <a:pt x="1506" y="420"/>
                </a:cubicBezTo>
                <a:cubicBezTo>
                  <a:pt x="1501" y="415"/>
                  <a:pt x="1494" y="412"/>
                  <a:pt x="1489" y="409"/>
                </a:cubicBezTo>
                <a:cubicBezTo>
                  <a:pt x="1487" y="407"/>
                  <a:pt x="1484" y="406"/>
                  <a:pt x="1483" y="405"/>
                </a:cubicBezTo>
                <a:cubicBezTo>
                  <a:pt x="1482" y="404"/>
                  <a:pt x="1481" y="404"/>
                  <a:pt x="1481" y="404"/>
                </a:cubicBezTo>
                <a:cubicBezTo>
                  <a:pt x="1481" y="404"/>
                  <a:pt x="1481" y="404"/>
                  <a:pt x="1481" y="404"/>
                </a:cubicBezTo>
                <a:cubicBezTo>
                  <a:pt x="1480" y="402"/>
                  <a:pt x="1479" y="401"/>
                  <a:pt x="1479" y="399"/>
                </a:cubicBezTo>
                <a:cubicBezTo>
                  <a:pt x="1484" y="400"/>
                  <a:pt x="1494" y="403"/>
                  <a:pt x="1499" y="407"/>
                </a:cubicBezTo>
                <a:cubicBezTo>
                  <a:pt x="1506" y="412"/>
                  <a:pt x="1512" y="418"/>
                  <a:pt x="1522" y="419"/>
                </a:cubicBezTo>
                <a:cubicBezTo>
                  <a:pt x="1525" y="419"/>
                  <a:pt x="1528" y="418"/>
                  <a:pt x="1531" y="415"/>
                </a:cubicBezTo>
                <a:cubicBezTo>
                  <a:pt x="1537" y="411"/>
                  <a:pt x="1545" y="408"/>
                  <a:pt x="1550" y="402"/>
                </a:cubicBezTo>
                <a:cubicBezTo>
                  <a:pt x="1554" y="397"/>
                  <a:pt x="1562" y="385"/>
                  <a:pt x="1562" y="385"/>
                </a:cubicBezTo>
                <a:cubicBezTo>
                  <a:pt x="1563" y="383"/>
                  <a:pt x="1564" y="381"/>
                  <a:pt x="1563" y="379"/>
                </a:cubicBezTo>
                <a:cubicBezTo>
                  <a:pt x="1562" y="377"/>
                  <a:pt x="1560" y="376"/>
                  <a:pt x="1558" y="376"/>
                </a:cubicBezTo>
                <a:cubicBezTo>
                  <a:pt x="1558" y="376"/>
                  <a:pt x="1550" y="374"/>
                  <a:pt x="1541" y="372"/>
                </a:cubicBezTo>
                <a:cubicBezTo>
                  <a:pt x="1536" y="371"/>
                  <a:pt x="1532" y="370"/>
                  <a:pt x="1528" y="369"/>
                </a:cubicBezTo>
                <a:cubicBezTo>
                  <a:pt x="1527" y="368"/>
                  <a:pt x="1525" y="368"/>
                  <a:pt x="1524" y="368"/>
                </a:cubicBezTo>
                <a:cubicBezTo>
                  <a:pt x="1524" y="367"/>
                  <a:pt x="1523" y="368"/>
                  <a:pt x="1523" y="368"/>
                </a:cubicBezTo>
                <a:cubicBezTo>
                  <a:pt x="1523" y="368"/>
                  <a:pt x="1523" y="368"/>
                  <a:pt x="1523" y="368"/>
                </a:cubicBezTo>
                <a:cubicBezTo>
                  <a:pt x="1520" y="360"/>
                  <a:pt x="1514" y="358"/>
                  <a:pt x="1509" y="354"/>
                </a:cubicBezTo>
                <a:cubicBezTo>
                  <a:pt x="1503" y="351"/>
                  <a:pt x="1498" y="348"/>
                  <a:pt x="1493" y="347"/>
                </a:cubicBezTo>
                <a:cubicBezTo>
                  <a:pt x="1489" y="347"/>
                  <a:pt x="1487" y="348"/>
                  <a:pt x="1485" y="349"/>
                </a:cubicBezTo>
                <a:cubicBezTo>
                  <a:pt x="1483" y="350"/>
                  <a:pt x="1481" y="350"/>
                  <a:pt x="1480" y="350"/>
                </a:cubicBezTo>
                <a:cubicBezTo>
                  <a:pt x="1478" y="350"/>
                  <a:pt x="1478" y="351"/>
                  <a:pt x="1477" y="347"/>
                </a:cubicBezTo>
                <a:cubicBezTo>
                  <a:pt x="1475" y="341"/>
                  <a:pt x="1473" y="333"/>
                  <a:pt x="1472" y="327"/>
                </a:cubicBezTo>
                <a:cubicBezTo>
                  <a:pt x="1472" y="324"/>
                  <a:pt x="1471" y="321"/>
                  <a:pt x="1470" y="319"/>
                </a:cubicBezTo>
                <a:cubicBezTo>
                  <a:pt x="1469" y="316"/>
                  <a:pt x="1468" y="313"/>
                  <a:pt x="1464" y="311"/>
                </a:cubicBezTo>
                <a:cubicBezTo>
                  <a:pt x="1460" y="310"/>
                  <a:pt x="1448" y="308"/>
                  <a:pt x="1434" y="305"/>
                </a:cubicBezTo>
                <a:cubicBezTo>
                  <a:pt x="1427" y="304"/>
                  <a:pt x="1420" y="302"/>
                  <a:pt x="1415" y="301"/>
                </a:cubicBezTo>
                <a:cubicBezTo>
                  <a:pt x="1410" y="300"/>
                  <a:pt x="1405" y="298"/>
                  <a:pt x="1405" y="298"/>
                </a:cubicBezTo>
                <a:cubicBezTo>
                  <a:pt x="1401" y="295"/>
                  <a:pt x="1392" y="292"/>
                  <a:pt x="1383" y="288"/>
                </a:cubicBezTo>
                <a:cubicBezTo>
                  <a:pt x="1374" y="285"/>
                  <a:pt x="1365" y="280"/>
                  <a:pt x="1360" y="278"/>
                </a:cubicBezTo>
                <a:cubicBezTo>
                  <a:pt x="1350" y="271"/>
                  <a:pt x="1335" y="260"/>
                  <a:pt x="1322" y="260"/>
                </a:cubicBezTo>
                <a:cubicBezTo>
                  <a:pt x="1313" y="260"/>
                  <a:pt x="1283" y="264"/>
                  <a:pt x="1272" y="264"/>
                </a:cubicBezTo>
                <a:cubicBezTo>
                  <a:pt x="1271" y="264"/>
                  <a:pt x="1270" y="264"/>
                  <a:pt x="1270" y="264"/>
                </a:cubicBezTo>
                <a:cubicBezTo>
                  <a:pt x="1268" y="264"/>
                  <a:pt x="1266" y="264"/>
                  <a:pt x="1265" y="264"/>
                </a:cubicBezTo>
                <a:cubicBezTo>
                  <a:pt x="1255" y="264"/>
                  <a:pt x="1239" y="267"/>
                  <a:pt x="1232" y="268"/>
                </a:cubicBezTo>
                <a:cubicBezTo>
                  <a:pt x="1230" y="269"/>
                  <a:pt x="1228" y="270"/>
                  <a:pt x="1226" y="271"/>
                </a:cubicBezTo>
                <a:cubicBezTo>
                  <a:pt x="1225" y="273"/>
                  <a:pt x="1225" y="275"/>
                  <a:pt x="1225" y="277"/>
                </a:cubicBezTo>
                <a:cubicBezTo>
                  <a:pt x="1225" y="283"/>
                  <a:pt x="1228" y="287"/>
                  <a:pt x="1227" y="290"/>
                </a:cubicBezTo>
                <a:cubicBezTo>
                  <a:pt x="1227" y="291"/>
                  <a:pt x="1229" y="290"/>
                  <a:pt x="1224" y="292"/>
                </a:cubicBezTo>
                <a:cubicBezTo>
                  <a:pt x="1222" y="292"/>
                  <a:pt x="1220" y="293"/>
                  <a:pt x="1219" y="293"/>
                </a:cubicBezTo>
                <a:cubicBezTo>
                  <a:pt x="1219" y="291"/>
                  <a:pt x="1220" y="288"/>
                  <a:pt x="1220" y="285"/>
                </a:cubicBezTo>
                <a:cubicBezTo>
                  <a:pt x="1221" y="283"/>
                  <a:pt x="1221" y="280"/>
                  <a:pt x="1221" y="278"/>
                </a:cubicBezTo>
                <a:cubicBezTo>
                  <a:pt x="1221" y="272"/>
                  <a:pt x="1219" y="267"/>
                  <a:pt x="1215" y="263"/>
                </a:cubicBezTo>
                <a:cubicBezTo>
                  <a:pt x="1214" y="261"/>
                  <a:pt x="1212" y="260"/>
                  <a:pt x="1210" y="260"/>
                </a:cubicBezTo>
                <a:cubicBezTo>
                  <a:pt x="1210" y="260"/>
                  <a:pt x="1210" y="260"/>
                  <a:pt x="1211" y="260"/>
                </a:cubicBezTo>
                <a:cubicBezTo>
                  <a:pt x="1213" y="260"/>
                  <a:pt x="1216" y="259"/>
                  <a:pt x="1219" y="260"/>
                </a:cubicBezTo>
                <a:cubicBezTo>
                  <a:pt x="1234" y="261"/>
                  <a:pt x="1256" y="263"/>
                  <a:pt x="1271" y="263"/>
                </a:cubicBezTo>
                <a:cubicBezTo>
                  <a:pt x="1274" y="263"/>
                  <a:pt x="1276" y="263"/>
                  <a:pt x="1278" y="263"/>
                </a:cubicBezTo>
                <a:cubicBezTo>
                  <a:pt x="1286" y="262"/>
                  <a:pt x="1291" y="260"/>
                  <a:pt x="1295" y="257"/>
                </a:cubicBezTo>
                <a:cubicBezTo>
                  <a:pt x="1299" y="254"/>
                  <a:pt x="1301" y="250"/>
                  <a:pt x="1302" y="249"/>
                </a:cubicBezTo>
                <a:cubicBezTo>
                  <a:pt x="1302" y="248"/>
                  <a:pt x="1302" y="247"/>
                  <a:pt x="1302" y="246"/>
                </a:cubicBezTo>
                <a:cubicBezTo>
                  <a:pt x="1302" y="242"/>
                  <a:pt x="1300" y="241"/>
                  <a:pt x="1299" y="240"/>
                </a:cubicBezTo>
                <a:cubicBezTo>
                  <a:pt x="1295" y="237"/>
                  <a:pt x="1289" y="235"/>
                  <a:pt x="1282" y="233"/>
                </a:cubicBezTo>
                <a:cubicBezTo>
                  <a:pt x="1275" y="231"/>
                  <a:pt x="1269" y="230"/>
                  <a:pt x="1264" y="230"/>
                </a:cubicBezTo>
                <a:cubicBezTo>
                  <a:pt x="1263" y="230"/>
                  <a:pt x="1262" y="230"/>
                  <a:pt x="1261" y="230"/>
                </a:cubicBezTo>
                <a:cubicBezTo>
                  <a:pt x="1259" y="231"/>
                  <a:pt x="1247" y="231"/>
                  <a:pt x="1235" y="231"/>
                </a:cubicBezTo>
                <a:cubicBezTo>
                  <a:pt x="1223" y="231"/>
                  <a:pt x="1210" y="231"/>
                  <a:pt x="1205" y="230"/>
                </a:cubicBezTo>
                <a:cubicBezTo>
                  <a:pt x="1199" y="230"/>
                  <a:pt x="1193" y="230"/>
                  <a:pt x="1186" y="230"/>
                </a:cubicBezTo>
                <a:cubicBezTo>
                  <a:pt x="1180" y="230"/>
                  <a:pt x="1174" y="228"/>
                  <a:pt x="1169" y="232"/>
                </a:cubicBezTo>
                <a:cubicBezTo>
                  <a:pt x="1169" y="232"/>
                  <a:pt x="1168" y="232"/>
                  <a:pt x="1168" y="232"/>
                </a:cubicBezTo>
                <a:cubicBezTo>
                  <a:pt x="1163" y="232"/>
                  <a:pt x="1157" y="225"/>
                  <a:pt x="1150" y="220"/>
                </a:cubicBezTo>
                <a:cubicBezTo>
                  <a:pt x="1147" y="218"/>
                  <a:pt x="1141" y="213"/>
                  <a:pt x="1135" y="208"/>
                </a:cubicBezTo>
                <a:cubicBezTo>
                  <a:pt x="1129" y="204"/>
                  <a:pt x="1123" y="199"/>
                  <a:pt x="1116" y="197"/>
                </a:cubicBezTo>
                <a:cubicBezTo>
                  <a:pt x="1107" y="196"/>
                  <a:pt x="1109" y="196"/>
                  <a:pt x="1090" y="190"/>
                </a:cubicBezTo>
                <a:cubicBezTo>
                  <a:pt x="1085" y="189"/>
                  <a:pt x="1078" y="187"/>
                  <a:pt x="1073" y="186"/>
                </a:cubicBezTo>
                <a:cubicBezTo>
                  <a:pt x="1071" y="185"/>
                  <a:pt x="1068" y="184"/>
                  <a:pt x="1067" y="184"/>
                </a:cubicBezTo>
                <a:cubicBezTo>
                  <a:pt x="1067" y="184"/>
                  <a:pt x="1067" y="184"/>
                  <a:pt x="1067" y="184"/>
                </a:cubicBezTo>
                <a:cubicBezTo>
                  <a:pt x="1067" y="184"/>
                  <a:pt x="1067" y="183"/>
                  <a:pt x="1067" y="183"/>
                </a:cubicBezTo>
                <a:cubicBezTo>
                  <a:pt x="1066" y="182"/>
                  <a:pt x="1064" y="180"/>
                  <a:pt x="1062" y="180"/>
                </a:cubicBezTo>
                <a:cubicBezTo>
                  <a:pt x="1059" y="181"/>
                  <a:pt x="1058" y="182"/>
                  <a:pt x="1057" y="182"/>
                </a:cubicBezTo>
                <a:cubicBezTo>
                  <a:pt x="1056" y="184"/>
                  <a:pt x="1056" y="184"/>
                  <a:pt x="1056" y="185"/>
                </a:cubicBezTo>
                <a:cubicBezTo>
                  <a:pt x="1055" y="187"/>
                  <a:pt x="1055" y="190"/>
                  <a:pt x="1055" y="193"/>
                </a:cubicBezTo>
                <a:cubicBezTo>
                  <a:pt x="1055" y="198"/>
                  <a:pt x="1056" y="205"/>
                  <a:pt x="1063" y="209"/>
                </a:cubicBezTo>
                <a:cubicBezTo>
                  <a:pt x="1071" y="214"/>
                  <a:pt x="1085" y="222"/>
                  <a:pt x="1096" y="227"/>
                </a:cubicBezTo>
                <a:cubicBezTo>
                  <a:pt x="1102" y="230"/>
                  <a:pt x="1109" y="231"/>
                  <a:pt x="1115" y="233"/>
                </a:cubicBezTo>
                <a:cubicBezTo>
                  <a:pt x="1122" y="235"/>
                  <a:pt x="1127" y="237"/>
                  <a:pt x="1128" y="240"/>
                </a:cubicBezTo>
                <a:cubicBezTo>
                  <a:pt x="1137" y="252"/>
                  <a:pt x="1158" y="258"/>
                  <a:pt x="1158" y="258"/>
                </a:cubicBezTo>
                <a:cubicBezTo>
                  <a:pt x="1160" y="259"/>
                  <a:pt x="1160" y="259"/>
                  <a:pt x="1160" y="259"/>
                </a:cubicBezTo>
                <a:cubicBezTo>
                  <a:pt x="1184" y="261"/>
                  <a:pt x="1184" y="261"/>
                  <a:pt x="1184" y="261"/>
                </a:cubicBezTo>
                <a:cubicBezTo>
                  <a:pt x="1178" y="265"/>
                  <a:pt x="1170" y="268"/>
                  <a:pt x="1163" y="271"/>
                </a:cubicBezTo>
                <a:cubicBezTo>
                  <a:pt x="1160" y="272"/>
                  <a:pt x="1156" y="274"/>
                  <a:pt x="1153" y="276"/>
                </a:cubicBezTo>
                <a:cubicBezTo>
                  <a:pt x="1151" y="278"/>
                  <a:pt x="1148" y="282"/>
                  <a:pt x="1148" y="287"/>
                </a:cubicBezTo>
                <a:cubicBezTo>
                  <a:pt x="1147" y="289"/>
                  <a:pt x="1148" y="291"/>
                  <a:pt x="1149" y="293"/>
                </a:cubicBezTo>
                <a:cubicBezTo>
                  <a:pt x="1151" y="296"/>
                  <a:pt x="1151" y="298"/>
                  <a:pt x="1151" y="303"/>
                </a:cubicBezTo>
                <a:cubicBezTo>
                  <a:pt x="1152" y="308"/>
                  <a:pt x="1154" y="315"/>
                  <a:pt x="1161" y="320"/>
                </a:cubicBezTo>
                <a:cubicBezTo>
                  <a:pt x="1167" y="326"/>
                  <a:pt x="1172" y="329"/>
                  <a:pt x="1178" y="331"/>
                </a:cubicBezTo>
                <a:cubicBezTo>
                  <a:pt x="1178" y="331"/>
                  <a:pt x="1177" y="331"/>
                  <a:pt x="1177" y="331"/>
                </a:cubicBezTo>
                <a:cubicBezTo>
                  <a:pt x="1172" y="331"/>
                  <a:pt x="1168" y="334"/>
                  <a:pt x="1164" y="337"/>
                </a:cubicBezTo>
                <a:cubicBezTo>
                  <a:pt x="1162" y="338"/>
                  <a:pt x="1160" y="340"/>
                  <a:pt x="1159" y="341"/>
                </a:cubicBezTo>
                <a:cubicBezTo>
                  <a:pt x="1159" y="340"/>
                  <a:pt x="1158" y="339"/>
                  <a:pt x="1158" y="338"/>
                </a:cubicBezTo>
                <a:cubicBezTo>
                  <a:pt x="1153" y="327"/>
                  <a:pt x="1142" y="318"/>
                  <a:pt x="1138" y="316"/>
                </a:cubicBezTo>
                <a:cubicBezTo>
                  <a:pt x="1136" y="312"/>
                  <a:pt x="1128" y="301"/>
                  <a:pt x="1122" y="295"/>
                </a:cubicBezTo>
                <a:cubicBezTo>
                  <a:pt x="1120" y="293"/>
                  <a:pt x="1118" y="292"/>
                  <a:pt x="1116" y="290"/>
                </a:cubicBezTo>
                <a:cubicBezTo>
                  <a:pt x="1122" y="290"/>
                  <a:pt x="1129" y="289"/>
                  <a:pt x="1133" y="288"/>
                </a:cubicBezTo>
                <a:cubicBezTo>
                  <a:pt x="1142" y="287"/>
                  <a:pt x="1144" y="279"/>
                  <a:pt x="1145" y="273"/>
                </a:cubicBezTo>
                <a:cubicBezTo>
                  <a:pt x="1145" y="269"/>
                  <a:pt x="1142" y="261"/>
                  <a:pt x="1134" y="260"/>
                </a:cubicBezTo>
                <a:cubicBezTo>
                  <a:pt x="1132" y="260"/>
                  <a:pt x="1130" y="259"/>
                  <a:pt x="1127" y="257"/>
                </a:cubicBezTo>
                <a:cubicBezTo>
                  <a:pt x="1124" y="256"/>
                  <a:pt x="1121" y="254"/>
                  <a:pt x="1116" y="253"/>
                </a:cubicBezTo>
                <a:cubicBezTo>
                  <a:pt x="1115" y="253"/>
                  <a:pt x="1114" y="253"/>
                  <a:pt x="1113" y="254"/>
                </a:cubicBezTo>
                <a:cubicBezTo>
                  <a:pt x="1114" y="252"/>
                  <a:pt x="1115" y="250"/>
                  <a:pt x="1115" y="248"/>
                </a:cubicBezTo>
                <a:cubicBezTo>
                  <a:pt x="1115" y="247"/>
                  <a:pt x="1115" y="245"/>
                  <a:pt x="1115" y="244"/>
                </a:cubicBezTo>
                <a:cubicBezTo>
                  <a:pt x="1115" y="244"/>
                  <a:pt x="1115" y="244"/>
                  <a:pt x="1115" y="244"/>
                </a:cubicBezTo>
                <a:cubicBezTo>
                  <a:pt x="1111" y="235"/>
                  <a:pt x="1101" y="230"/>
                  <a:pt x="1093" y="230"/>
                </a:cubicBezTo>
                <a:cubicBezTo>
                  <a:pt x="1086" y="230"/>
                  <a:pt x="1079" y="233"/>
                  <a:pt x="1076" y="241"/>
                </a:cubicBezTo>
                <a:cubicBezTo>
                  <a:pt x="1076" y="242"/>
                  <a:pt x="1076" y="243"/>
                  <a:pt x="1076" y="244"/>
                </a:cubicBezTo>
                <a:cubicBezTo>
                  <a:pt x="1076" y="251"/>
                  <a:pt x="1081" y="254"/>
                  <a:pt x="1086" y="256"/>
                </a:cubicBezTo>
                <a:cubicBezTo>
                  <a:pt x="1090" y="258"/>
                  <a:pt x="1095" y="259"/>
                  <a:pt x="1100" y="259"/>
                </a:cubicBezTo>
                <a:cubicBezTo>
                  <a:pt x="1101" y="259"/>
                  <a:pt x="1101" y="259"/>
                  <a:pt x="1102" y="259"/>
                </a:cubicBezTo>
                <a:cubicBezTo>
                  <a:pt x="1099" y="260"/>
                  <a:pt x="1096" y="262"/>
                  <a:pt x="1093" y="263"/>
                </a:cubicBezTo>
                <a:cubicBezTo>
                  <a:pt x="1089" y="266"/>
                  <a:pt x="1086" y="268"/>
                  <a:pt x="1084" y="270"/>
                </a:cubicBezTo>
                <a:cubicBezTo>
                  <a:pt x="1081" y="273"/>
                  <a:pt x="1078" y="275"/>
                  <a:pt x="1078" y="280"/>
                </a:cubicBezTo>
                <a:cubicBezTo>
                  <a:pt x="1078" y="281"/>
                  <a:pt x="1078" y="282"/>
                  <a:pt x="1079" y="283"/>
                </a:cubicBezTo>
                <a:cubicBezTo>
                  <a:pt x="1081" y="289"/>
                  <a:pt x="1086" y="292"/>
                  <a:pt x="1094" y="293"/>
                </a:cubicBezTo>
                <a:cubicBezTo>
                  <a:pt x="1093" y="295"/>
                  <a:pt x="1092" y="297"/>
                  <a:pt x="1091" y="299"/>
                </a:cubicBezTo>
                <a:cubicBezTo>
                  <a:pt x="1091" y="301"/>
                  <a:pt x="1091" y="302"/>
                  <a:pt x="1091" y="303"/>
                </a:cubicBezTo>
                <a:cubicBezTo>
                  <a:pt x="1091" y="311"/>
                  <a:pt x="1094" y="318"/>
                  <a:pt x="1098" y="329"/>
                </a:cubicBezTo>
                <a:cubicBezTo>
                  <a:pt x="1101" y="336"/>
                  <a:pt x="1103" y="347"/>
                  <a:pt x="1103" y="354"/>
                </a:cubicBezTo>
                <a:cubicBezTo>
                  <a:pt x="1103" y="356"/>
                  <a:pt x="1103" y="357"/>
                  <a:pt x="1103" y="358"/>
                </a:cubicBezTo>
                <a:cubicBezTo>
                  <a:pt x="1095" y="360"/>
                  <a:pt x="1093" y="361"/>
                  <a:pt x="1086" y="364"/>
                </a:cubicBezTo>
                <a:cubicBezTo>
                  <a:pt x="1085" y="364"/>
                  <a:pt x="1085" y="364"/>
                  <a:pt x="1084" y="364"/>
                </a:cubicBezTo>
                <a:cubicBezTo>
                  <a:pt x="1084" y="364"/>
                  <a:pt x="1084" y="364"/>
                  <a:pt x="1084" y="364"/>
                </a:cubicBezTo>
                <a:cubicBezTo>
                  <a:pt x="1084" y="364"/>
                  <a:pt x="1084" y="363"/>
                  <a:pt x="1083" y="362"/>
                </a:cubicBezTo>
                <a:cubicBezTo>
                  <a:pt x="1083" y="360"/>
                  <a:pt x="1082" y="357"/>
                  <a:pt x="1082" y="354"/>
                </a:cubicBezTo>
                <a:cubicBezTo>
                  <a:pt x="1082" y="345"/>
                  <a:pt x="1080" y="337"/>
                  <a:pt x="1080" y="333"/>
                </a:cubicBezTo>
                <a:cubicBezTo>
                  <a:pt x="1080" y="333"/>
                  <a:pt x="1080" y="332"/>
                  <a:pt x="1080" y="332"/>
                </a:cubicBezTo>
                <a:cubicBezTo>
                  <a:pt x="1080" y="332"/>
                  <a:pt x="1080" y="332"/>
                  <a:pt x="1080" y="332"/>
                </a:cubicBezTo>
                <a:cubicBezTo>
                  <a:pt x="1081" y="331"/>
                  <a:pt x="1081" y="330"/>
                  <a:pt x="1081" y="329"/>
                </a:cubicBezTo>
                <a:cubicBezTo>
                  <a:pt x="1082" y="327"/>
                  <a:pt x="1080" y="324"/>
                  <a:pt x="1078" y="323"/>
                </a:cubicBezTo>
                <a:cubicBezTo>
                  <a:pt x="1076" y="322"/>
                  <a:pt x="1075" y="322"/>
                  <a:pt x="1075" y="322"/>
                </a:cubicBezTo>
                <a:cubicBezTo>
                  <a:pt x="1070" y="322"/>
                  <a:pt x="1066" y="324"/>
                  <a:pt x="1060" y="324"/>
                </a:cubicBezTo>
                <a:cubicBezTo>
                  <a:pt x="1059" y="324"/>
                  <a:pt x="1057" y="324"/>
                  <a:pt x="1056" y="323"/>
                </a:cubicBezTo>
                <a:cubicBezTo>
                  <a:pt x="1054" y="323"/>
                  <a:pt x="1052" y="323"/>
                  <a:pt x="1050" y="323"/>
                </a:cubicBezTo>
                <a:cubicBezTo>
                  <a:pt x="1046" y="323"/>
                  <a:pt x="1043" y="324"/>
                  <a:pt x="1040" y="325"/>
                </a:cubicBezTo>
                <a:cubicBezTo>
                  <a:pt x="1037" y="327"/>
                  <a:pt x="1034" y="330"/>
                  <a:pt x="1034" y="334"/>
                </a:cubicBezTo>
                <a:cubicBezTo>
                  <a:pt x="1034" y="340"/>
                  <a:pt x="1039" y="343"/>
                  <a:pt x="1043" y="345"/>
                </a:cubicBezTo>
                <a:cubicBezTo>
                  <a:pt x="1047" y="346"/>
                  <a:pt x="1049" y="350"/>
                  <a:pt x="1049" y="353"/>
                </a:cubicBezTo>
                <a:cubicBezTo>
                  <a:pt x="1049" y="356"/>
                  <a:pt x="1048" y="357"/>
                  <a:pt x="1046" y="358"/>
                </a:cubicBezTo>
                <a:cubicBezTo>
                  <a:pt x="1045" y="359"/>
                  <a:pt x="1038" y="360"/>
                  <a:pt x="1031" y="360"/>
                </a:cubicBezTo>
                <a:cubicBezTo>
                  <a:pt x="1015" y="360"/>
                  <a:pt x="995" y="358"/>
                  <a:pt x="987" y="358"/>
                </a:cubicBezTo>
                <a:cubicBezTo>
                  <a:pt x="980" y="358"/>
                  <a:pt x="972" y="359"/>
                  <a:pt x="966" y="359"/>
                </a:cubicBezTo>
                <a:cubicBezTo>
                  <a:pt x="963" y="359"/>
                  <a:pt x="960" y="359"/>
                  <a:pt x="959" y="358"/>
                </a:cubicBezTo>
                <a:cubicBezTo>
                  <a:pt x="957" y="358"/>
                  <a:pt x="958" y="357"/>
                  <a:pt x="958" y="357"/>
                </a:cubicBezTo>
                <a:cubicBezTo>
                  <a:pt x="957" y="357"/>
                  <a:pt x="957" y="357"/>
                  <a:pt x="957" y="357"/>
                </a:cubicBezTo>
                <a:cubicBezTo>
                  <a:pt x="957" y="357"/>
                  <a:pt x="957" y="357"/>
                  <a:pt x="958" y="357"/>
                </a:cubicBezTo>
                <a:cubicBezTo>
                  <a:pt x="959" y="355"/>
                  <a:pt x="967" y="352"/>
                  <a:pt x="970" y="352"/>
                </a:cubicBezTo>
                <a:cubicBezTo>
                  <a:pt x="972" y="352"/>
                  <a:pt x="973" y="352"/>
                  <a:pt x="975" y="352"/>
                </a:cubicBezTo>
                <a:cubicBezTo>
                  <a:pt x="986" y="352"/>
                  <a:pt x="1006" y="352"/>
                  <a:pt x="1017" y="335"/>
                </a:cubicBezTo>
                <a:cubicBezTo>
                  <a:pt x="1019" y="332"/>
                  <a:pt x="1020" y="329"/>
                  <a:pt x="1020" y="325"/>
                </a:cubicBezTo>
                <a:cubicBezTo>
                  <a:pt x="1020" y="317"/>
                  <a:pt x="1013" y="312"/>
                  <a:pt x="1007" y="311"/>
                </a:cubicBezTo>
                <a:cubicBezTo>
                  <a:pt x="1001" y="309"/>
                  <a:pt x="995" y="308"/>
                  <a:pt x="991" y="308"/>
                </a:cubicBezTo>
                <a:cubicBezTo>
                  <a:pt x="984" y="308"/>
                  <a:pt x="980" y="306"/>
                  <a:pt x="969" y="294"/>
                </a:cubicBezTo>
                <a:cubicBezTo>
                  <a:pt x="968" y="292"/>
                  <a:pt x="967" y="291"/>
                  <a:pt x="967" y="290"/>
                </a:cubicBezTo>
                <a:cubicBezTo>
                  <a:pt x="967" y="288"/>
                  <a:pt x="968" y="286"/>
                  <a:pt x="970" y="283"/>
                </a:cubicBezTo>
                <a:cubicBezTo>
                  <a:pt x="972" y="281"/>
                  <a:pt x="975" y="279"/>
                  <a:pt x="975" y="273"/>
                </a:cubicBezTo>
                <a:cubicBezTo>
                  <a:pt x="975" y="272"/>
                  <a:pt x="975" y="270"/>
                  <a:pt x="975" y="269"/>
                </a:cubicBezTo>
                <a:cubicBezTo>
                  <a:pt x="974" y="267"/>
                  <a:pt x="973" y="268"/>
                  <a:pt x="972" y="264"/>
                </a:cubicBezTo>
                <a:cubicBezTo>
                  <a:pt x="972" y="264"/>
                  <a:pt x="972" y="264"/>
                  <a:pt x="972" y="264"/>
                </a:cubicBezTo>
                <a:cubicBezTo>
                  <a:pt x="973" y="264"/>
                  <a:pt x="974" y="265"/>
                  <a:pt x="975" y="264"/>
                </a:cubicBezTo>
                <a:cubicBezTo>
                  <a:pt x="983" y="261"/>
                  <a:pt x="984" y="255"/>
                  <a:pt x="987" y="251"/>
                </a:cubicBezTo>
                <a:cubicBezTo>
                  <a:pt x="988" y="249"/>
                  <a:pt x="989" y="247"/>
                  <a:pt x="990" y="246"/>
                </a:cubicBezTo>
                <a:cubicBezTo>
                  <a:pt x="990" y="246"/>
                  <a:pt x="990" y="246"/>
                  <a:pt x="990" y="246"/>
                </a:cubicBezTo>
                <a:cubicBezTo>
                  <a:pt x="994" y="245"/>
                  <a:pt x="1000" y="244"/>
                  <a:pt x="1007" y="244"/>
                </a:cubicBezTo>
                <a:cubicBezTo>
                  <a:pt x="1009" y="244"/>
                  <a:pt x="1011" y="244"/>
                  <a:pt x="1013" y="245"/>
                </a:cubicBezTo>
                <a:cubicBezTo>
                  <a:pt x="1014" y="245"/>
                  <a:pt x="1014" y="245"/>
                  <a:pt x="1014" y="246"/>
                </a:cubicBezTo>
                <a:cubicBezTo>
                  <a:pt x="1015" y="249"/>
                  <a:pt x="1016" y="251"/>
                  <a:pt x="1018" y="253"/>
                </a:cubicBezTo>
                <a:cubicBezTo>
                  <a:pt x="1019" y="255"/>
                  <a:pt x="1023" y="256"/>
                  <a:pt x="1025" y="256"/>
                </a:cubicBezTo>
                <a:cubicBezTo>
                  <a:pt x="1028" y="256"/>
                  <a:pt x="1029" y="256"/>
                  <a:pt x="1031" y="256"/>
                </a:cubicBezTo>
                <a:cubicBezTo>
                  <a:pt x="1032" y="256"/>
                  <a:pt x="1033" y="256"/>
                  <a:pt x="1034" y="256"/>
                </a:cubicBezTo>
                <a:cubicBezTo>
                  <a:pt x="1034" y="256"/>
                  <a:pt x="1035" y="256"/>
                  <a:pt x="1035" y="256"/>
                </a:cubicBezTo>
                <a:cubicBezTo>
                  <a:pt x="1043" y="256"/>
                  <a:pt x="1049" y="251"/>
                  <a:pt x="1053" y="247"/>
                </a:cubicBezTo>
                <a:cubicBezTo>
                  <a:pt x="1057" y="242"/>
                  <a:pt x="1059" y="238"/>
                  <a:pt x="1060" y="234"/>
                </a:cubicBezTo>
                <a:cubicBezTo>
                  <a:pt x="1060" y="233"/>
                  <a:pt x="1060" y="232"/>
                  <a:pt x="1060" y="232"/>
                </a:cubicBezTo>
                <a:cubicBezTo>
                  <a:pt x="1060" y="223"/>
                  <a:pt x="1052" y="214"/>
                  <a:pt x="1038" y="214"/>
                </a:cubicBezTo>
                <a:cubicBezTo>
                  <a:pt x="1037" y="214"/>
                  <a:pt x="1035" y="214"/>
                  <a:pt x="1034" y="215"/>
                </a:cubicBezTo>
                <a:cubicBezTo>
                  <a:pt x="1031" y="215"/>
                  <a:pt x="1028" y="215"/>
                  <a:pt x="1023" y="215"/>
                </a:cubicBezTo>
                <a:cubicBezTo>
                  <a:pt x="1015" y="215"/>
                  <a:pt x="1005" y="215"/>
                  <a:pt x="995" y="215"/>
                </a:cubicBezTo>
                <a:cubicBezTo>
                  <a:pt x="989" y="215"/>
                  <a:pt x="983" y="215"/>
                  <a:pt x="978" y="215"/>
                </a:cubicBezTo>
                <a:cubicBezTo>
                  <a:pt x="973" y="216"/>
                  <a:pt x="969" y="216"/>
                  <a:pt x="965" y="220"/>
                </a:cubicBezTo>
                <a:cubicBezTo>
                  <a:pt x="965" y="220"/>
                  <a:pt x="965" y="220"/>
                  <a:pt x="965" y="220"/>
                </a:cubicBezTo>
                <a:cubicBezTo>
                  <a:pt x="961" y="224"/>
                  <a:pt x="961" y="230"/>
                  <a:pt x="960" y="234"/>
                </a:cubicBezTo>
                <a:cubicBezTo>
                  <a:pt x="960" y="240"/>
                  <a:pt x="961" y="246"/>
                  <a:pt x="961" y="248"/>
                </a:cubicBezTo>
                <a:cubicBezTo>
                  <a:pt x="960" y="250"/>
                  <a:pt x="960" y="251"/>
                  <a:pt x="960" y="253"/>
                </a:cubicBezTo>
                <a:cubicBezTo>
                  <a:pt x="960" y="256"/>
                  <a:pt x="961" y="258"/>
                  <a:pt x="963" y="261"/>
                </a:cubicBezTo>
                <a:cubicBezTo>
                  <a:pt x="963" y="261"/>
                  <a:pt x="964" y="262"/>
                  <a:pt x="965" y="263"/>
                </a:cubicBezTo>
                <a:cubicBezTo>
                  <a:pt x="964" y="263"/>
                  <a:pt x="963" y="263"/>
                  <a:pt x="963" y="263"/>
                </a:cubicBezTo>
                <a:cubicBezTo>
                  <a:pt x="957" y="263"/>
                  <a:pt x="950" y="264"/>
                  <a:pt x="945" y="264"/>
                </a:cubicBezTo>
                <a:cubicBezTo>
                  <a:pt x="945" y="264"/>
                  <a:pt x="945" y="264"/>
                  <a:pt x="945" y="264"/>
                </a:cubicBezTo>
                <a:cubicBezTo>
                  <a:pt x="945" y="264"/>
                  <a:pt x="946" y="263"/>
                  <a:pt x="948" y="262"/>
                </a:cubicBezTo>
                <a:cubicBezTo>
                  <a:pt x="950" y="260"/>
                  <a:pt x="954" y="257"/>
                  <a:pt x="955" y="252"/>
                </a:cubicBezTo>
                <a:cubicBezTo>
                  <a:pt x="955" y="247"/>
                  <a:pt x="959" y="229"/>
                  <a:pt x="959" y="229"/>
                </a:cubicBezTo>
                <a:cubicBezTo>
                  <a:pt x="959" y="228"/>
                  <a:pt x="959" y="227"/>
                  <a:pt x="959" y="225"/>
                </a:cubicBezTo>
                <a:cubicBezTo>
                  <a:pt x="958" y="225"/>
                  <a:pt x="956" y="216"/>
                  <a:pt x="945" y="215"/>
                </a:cubicBezTo>
                <a:cubicBezTo>
                  <a:pt x="942" y="215"/>
                  <a:pt x="940" y="216"/>
                  <a:pt x="938" y="217"/>
                </a:cubicBezTo>
                <a:cubicBezTo>
                  <a:pt x="931" y="221"/>
                  <a:pt x="928" y="223"/>
                  <a:pt x="927" y="222"/>
                </a:cubicBezTo>
                <a:cubicBezTo>
                  <a:pt x="927" y="222"/>
                  <a:pt x="928" y="222"/>
                  <a:pt x="924" y="222"/>
                </a:cubicBezTo>
                <a:cubicBezTo>
                  <a:pt x="924" y="222"/>
                  <a:pt x="924" y="222"/>
                  <a:pt x="924" y="222"/>
                </a:cubicBezTo>
                <a:cubicBezTo>
                  <a:pt x="924" y="222"/>
                  <a:pt x="923" y="219"/>
                  <a:pt x="920" y="216"/>
                </a:cubicBezTo>
                <a:cubicBezTo>
                  <a:pt x="918" y="212"/>
                  <a:pt x="914" y="208"/>
                  <a:pt x="907" y="208"/>
                </a:cubicBezTo>
                <a:cubicBezTo>
                  <a:pt x="906" y="208"/>
                  <a:pt x="905" y="208"/>
                  <a:pt x="903" y="208"/>
                </a:cubicBezTo>
                <a:cubicBezTo>
                  <a:pt x="888" y="211"/>
                  <a:pt x="884" y="223"/>
                  <a:pt x="882" y="224"/>
                </a:cubicBezTo>
                <a:cubicBezTo>
                  <a:pt x="881" y="226"/>
                  <a:pt x="875" y="228"/>
                  <a:pt x="874" y="228"/>
                </a:cubicBezTo>
                <a:cubicBezTo>
                  <a:pt x="874" y="228"/>
                  <a:pt x="874" y="228"/>
                  <a:pt x="874" y="228"/>
                </a:cubicBezTo>
                <a:cubicBezTo>
                  <a:pt x="870" y="224"/>
                  <a:pt x="854" y="215"/>
                  <a:pt x="854" y="215"/>
                </a:cubicBezTo>
                <a:cubicBezTo>
                  <a:pt x="853" y="214"/>
                  <a:pt x="852" y="214"/>
                  <a:pt x="851" y="214"/>
                </a:cubicBezTo>
                <a:cubicBezTo>
                  <a:pt x="858" y="213"/>
                  <a:pt x="866" y="210"/>
                  <a:pt x="870" y="210"/>
                </a:cubicBezTo>
                <a:cubicBezTo>
                  <a:pt x="871" y="210"/>
                  <a:pt x="871" y="210"/>
                  <a:pt x="872" y="210"/>
                </a:cubicBezTo>
                <a:cubicBezTo>
                  <a:pt x="875" y="213"/>
                  <a:pt x="878" y="214"/>
                  <a:pt x="882" y="214"/>
                </a:cubicBezTo>
                <a:cubicBezTo>
                  <a:pt x="885" y="214"/>
                  <a:pt x="888" y="213"/>
                  <a:pt x="891" y="212"/>
                </a:cubicBezTo>
                <a:cubicBezTo>
                  <a:pt x="893" y="210"/>
                  <a:pt x="896" y="208"/>
                  <a:pt x="897" y="203"/>
                </a:cubicBezTo>
                <a:cubicBezTo>
                  <a:pt x="897" y="202"/>
                  <a:pt x="896" y="202"/>
                  <a:pt x="896" y="201"/>
                </a:cubicBezTo>
                <a:cubicBezTo>
                  <a:pt x="896" y="201"/>
                  <a:pt x="896" y="201"/>
                  <a:pt x="896" y="201"/>
                </a:cubicBezTo>
                <a:cubicBezTo>
                  <a:pt x="896" y="199"/>
                  <a:pt x="897" y="194"/>
                  <a:pt x="897" y="188"/>
                </a:cubicBezTo>
                <a:cubicBezTo>
                  <a:pt x="897" y="185"/>
                  <a:pt x="897" y="182"/>
                  <a:pt x="896" y="179"/>
                </a:cubicBezTo>
                <a:cubicBezTo>
                  <a:pt x="895" y="176"/>
                  <a:pt x="891" y="172"/>
                  <a:pt x="887" y="172"/>
                </a:cubicBezTo>
                <a:cubicBezTo>
                  <a:pt x="886" y="172"/>
                  <a:pt x="886" y="172"/>
                  <a:pt x="885" y="172"/>
                </a:cubicBezTo>
                <a:cubicBezTo>
                  <a:pt x="872" y="173"/>
                  <a:pt x="860" y="184"/>
                  <a:pt x="848" y="188"/>
                </a:cubicBezTo>
                <a:cubicBezTo>
                  <a:pt x="842" y="191"/>
                  <a:pt x="838" y="196"/>
                  <a:pt x="838" y="202"/>
                </a:cubicBezTo>
                <a:cubicBezTo>
                  <a:pt x="838" y="206"/>
                  <a:pt x="841" y="212"/>
                  <a:pt x="847" y="213"/>
                </a:cubicBezTo>
                <a:cubicBezTo>
                  <a:pt x="843" y="213"/>
                  <a:pt x="838" y="213"/>
                  <a:pt x="832" y="212"/>
                </a:cubicBezTo>
                <a:cubicBezTo>
                  <a:pt x="828" y="211"/>
                  <a:pt x="823" y="211"/>
                  <a:pt x="820" y="210"/>
                </a:cubicBezTo>
                <a:cubicBezTo>
                  <a:pt x="819" y="210"/>
                  <a:pt x="818" y="209"/>
                  <a:pt x="817" y="209"/>
                </a:cubicBezTo>
                <a:cubicBezTo>
                  <a:pt x="815" y="202"/>
                  <a:pt x="807" y="193"/>
                  <a:pt x="792" y="193"/>
                </a:cubicBezTo>
                <a:cubicBezTo>
                  <a:pt x="790" y="193"/>
                  <a:pt x="788" y="193"/>
                  <a:pt x="787" y="193"/>
                </a:cubicBezTo>
                <a:cubicBezTo>
                  <a:pt x="777" y="194"/>
                  <a:pt x="766" y="198"/>
                  <a:pt x="756" y="201"/>
                </a:cubicBezTo>
                <a:cubicBezTo>
                  <a:pt x="751" y="203"/>
                  <a:pt x="746" y="204"/>
                  <a:pt x="742" y="206"/>
                </a:cubicBezTo>
                <a:cubicBezTo>
                  <a:pt x="741" y="206"/>
                  <a:pt x="739" y="207"/>
                  <a:pt x="738" y="207"/>
                </a:cubicBezTo>
                <a:cubicBezTo>
                  <a:pt x="737" y="207"/>
                  <a:pt x="737" y="207"/>
                  <a:pt x="737" y="207"/>
                </a:cubicBezTo>
                <a:cubicBezTo>
                  <a:pt x="737" y="207"/>
                  <a:pt x="737" y="207"/>
                  <a:pt x="737" y="207"/>
                </a:cubicBezTo>
                <a:cubicBezTo>
                  <a:pt x="735" y="207"/>
                  <a:pt x="733" y="208"/>
                  <a:pt x="732" y="209"/>
                </a:cubicBezTo>
                <a:cubicBezTo>
                  <a:pt x="730" y="211"/>
                  <a:pt x="729" y="213"/>
                  <a:pt x="729" y="214"/>
                </a:cubicBezTo>
                <a:cubicBezTo>
                  <a:pt x="730" y="216"/>
                  <a:pt x="730" y="217"/>
                  <a:pt x="730" y="218"/>
                </a:cubicBezTo>
                <a:cubicBezTo>
                  <a:pt x="728" y="218"/>
                  <a:pt x="725" y="219"/>
                  <a:pt x="722" y="220"/>
                </a:cubicBezTo>
                <a:cubicBezTo>
                  <a:pt x="719" y="221"/>
                  <a:pt x="715" y="225"/>
                  <a:pt x="714" y="230"/>
                </a:cubicBezTo>
                <a:cubicBezTo>
                  <a:pt x="714" y="231"/>
                  <a:pt x="714" y="232"/>
                  <a:pt x="714" y="233"/>
                </a:cubicBezTo>
                <a:cubicBezTo>
                  <a:pt x="713" y="236"/>
                  <a:pt x="715" y="239"/>
                  <a:pt x="717" y="240"/>
                </a:cubicBezTo>
                <a:cubicBezTo>
                  <a:pt x="723" y="244"/>
                  <a:pt x="729" y="243"/>
                  <a:pt x="736" y="243"/>
                </a:cubicBezTo>
                <a:cubicBezTo>
                  <a:pt x="736" y="243"/>
                  <a:pt x="736" y="243"/>
                  <a:pt x="737" y="243"/>
                </a:cubicBezTo>
                <a:cubicBezTo>
                  <a:pt x="742" y="243"/>
                  <a:pt x="748" y="243"/>
                  <a:pt x="754" y="243"/>
                </a:cubicBezTo>
                <a:cubicBezTo>
                  <a:pt x="761" y="242"/>
                  <a:pt x="766" y="242"/>
                  <a:pt x="771" y="240"/>
                </a:cubicBezTo>
                <a:cubicBezTo>
                  <a:pt x="772" y="239"/>
                  <a:pt x="783" y="236"/>
                  <a:pt x="788" y="236"/>
                </a:cubicBezTo>
                <a:cubicBezTo>
                  <a:pt x="788" y="236"/>
                  <a:pt x="788" y="236"/>
                  <a:pt x="788" y="236"/>
                </a:cubicBezTo>
                <a:cubicBezTo>
                  <a:pt x="788" y="240"/>
                  <a:pt x="789" y="241"/>
                  <a:pt x="790" y="244"/>
                </a:cubicBezTo>
                <a:cubicBezTo>
                  <a:pt x="790" y="244"/>
                  <a:pt x="789" y="244"/>
                  <a:pt x="789" y="244"/>
                </a:cubicBezTo>
                <a:cubicBezTo>
                  <a:pt x="788" y="243"/>
                  <a:pt x="787" y="243"/>
                  <a:pt x="786" y="243"/>
                </a:cubicBezTo>
                <a:cubicBezTo>
                  <a:pt x="779" y="243"/>
                  <a:pt x="774" y="246"/>
                  <a:pt x="771" y="248"/>
                </a:cubicBezTo>
                <a:cubicBezTo>
                  <a:pt x="767" y="250"/>
                  <a:pt x="766" y="251"/>
                  <a:pt x="762" y="251"/>
                </a:cubicBezTo>
                <a:cubicBezTo>
                  <a:pt x="761" y="251"/>
                  <a:pt x="760" y="251"/>
                  <a:pt x="758" y="250"/>
                </a:cubicBezTo>
                <a:cubicBezTo>
                  <a:pt x="754" y="250"/>
                  <a:pt x="750" y="249"/>
                  <a:pt x="747" y="249"/>
                </a:cubicBezTo>
                <a:cubicBezTo>
                  <a:pt x="739" y="249"/>
                  <a:pt x="734" y="251"/>
                  <a:pt x="727" y="251"/>
                </a:cubicBezTo>
                <a:cubicBezTo>
                  <a:pt x="725" y="251"/>
                  <a:pt x="723" y="251"/>
                  <a:pt x="721" y="250"/>
                </a:cubicBezTo>
                <a:cubicBezTo>
                  <a:pt x="715" y="250"/>
                  <a:pt x="711" y="249"/>
                  <a:pt x="706" y="249"/>
                </a:cubicBezTo>
                <a:cubicBezTo>
                  <a:pt x="703" y="249"/>
                  <a:pt x="699" y="250"/>
                  <a:pt x="695" y="252"/>
                </a:cubicBezTo>
                <a:cubicBezTo>
                  <a:pt x="692" y="254"/>
                  <a:pt x="689" y="258"/>
                  <a:pt x="688" y="262"/>
                </a:cubicBezTo>
                <a:cubicBezTo>
                  <a:pt x="687" y="267"/>
                  <a:pt x="685" y="273"/>
                  <a:pt x="683" y="278"/>
                </a:cubicBezTo>
                <a:cubicBezTo>
                  <a:pt x="682" y="280"/>
                  <a:pt x="681" y="282"/>
                  <a:pt x="681" y="283"/>
                </a:cubicBezTo>
                <a:cubicBezTo>
                  <a:pt x="680" y="283"/>
                  <a:pt x="680" y="283"/>
                  <a:pt x="680" y="283"/>
                </a:cubicBezTo>
                <a:cubicBezTo>
                  <a:pt x="677" y="284"/>
                  <a:pt x="674" y="285"/>
                  <a:pt x="672" y="286"/>
                </a:cubicBezTo>
                <a:cubicBezTo>
                  <a:pt x="670" y="288"/>
                  <a:pt x="667" y="290"/>
                  <a:pt x="667" y="295"/>
                </a:cubicBezTo>
                <a:cubicBezTo>
                  <a:pt x="667" y="299"/>
                  <a:pt x="670" y="302"/>
                  <a:pt x="674" y="304"/>
                </a:cubicBezTo>
                <a:cubicBezTo>
                  <a:pt x="677" y="305"/>
                  <a:pt x="681" y="306"/>
                  <a:pt x="687" y="306"/>
                </a:cubicBezTo>
                <a:cubicBezTo>
                  <a:pt x="696" y="308"/>
                  <a:pt x="695" y="309"/>
                  <a:pt x="697" y="311"/>
                </a:cubicBezTo>
                <a:cubicBezTo>
                  <a:pt x="698" y="312"/>
                  <a:pt x="699" y="314"/>
                  <a:pt x="702" y="316"/>
                </a:cubicBezTo>
                <a:cubicBezTo>
                  <a:pt x="705" y="318"/>
                  <a:pt x="709" y="319"/>
                  <a:pt x="713" y="319"/>
                </a:cubicBezTo>
                <a:cubicBezTo>
                  <a:pt x="714" y="319"/>
                  <a:pt x="715" y="319"/>
                  <a:pt x="716" y="319"/>
                </a:cubicBezTo>
                <a:cubicBezTo>
                  <a:pt x="726" y="318"/>
                  <a:pt x="736" y="318"/>
                  <a:pt x="744" y="316"/>
                </a:cubicBezTo>
                <a:cubicBezTo>
                  <a:pt x="752" y="315"/>
                  <a:pt x="760" y="311"/>
                  <a:pt x="763" y="303"/>
                </a:cubicBezTo>
                <a:cubicBezTo>
                  <a:pt x="764" y="302"/>
                  <a:pt x="764" y="301"/>
                  <a:pt x="764" y="300"/>
                </a:cubicBezTo>
                <a:cubicBezTo>
                  <a:pt x="770" y="308"/>
                  <a:pt x="782" y="326"/>
                  <a:pt x="782" y="326"/>
                </a:cubicBezTo>
                <a:cubicBezTo>
                  <a:pt x="783" y="327"/>
                  <a:pt x="783" y="327"/>
                  <a:pt x="783" y="327"/>
                </a:cubicBezTo>
                <a:cubicBezTo>
                  <a:pt x="783" y="327"/>
                  <a:pt x="791" y="335"/>
                  <a:pt x="798" y="340"/>
                </a:cubicBezTo>
                <a:cubicBezTo>
                  <a:pt x="797" y="340"/>
                  <a:pt x="796" y="341"/>
                  <a:pt x="795" y="341"/>
                </a:cubicBezTo>
                <a:cubicBezTo>
                  <a:pt x="795" y="341"/>
                  <a:pt x="794" y="341"/>
                  <a:pt x="793" y="340"/>
                </a:cubicBezTo>
                <a:cubicBezTo>
                  <a:pt x="787" y="335"/>
                  <a:pt x="780" y="334"/>
                  <a:pt x="773" y="332"/>
                </a:cubicBezTo>
                <a:cubicBezTo>
                  <a:pt x="767" y="331"/>
                  <a:pt x="762" y="329"/>
                  <a:pt x="761" y="328"/>
                </a:cubicBezTo>
                <a:cubicBezTo>
                  <a:pt x="756" y="324"/>
                  <a:pt x="750" y="322"/>
                  <a:pt x="743" y="321"/>
                </a:cubicBezTo>
                <a:cubicBezTo>
                  <a:pt x="737" y="320"/>
                  <a:pt x="729" y="320"/>
                  <a:pt x="723" y="320"/>
                </a:cubicBezTo>
                <a:cubicBezTo>
                  <a:pt x="717" y="320"/>
                  <a:pt x="712" y="320"/>
                  <a:pt x="709" y="321"/>
                </a:cubicBezTo>
                <a:cubicBezTo>
                  <a:pt x="709" y="321"/>
                  <a:pt x="708" y="321"/>
                  <a:pt x="707" y="321"/>
                </a:cubicBezTo>
                <a:cubicBezTo>
                  <a:pt x="704" y="321"/>
                  <a:pt x="700" y="320"/>
                  <a:pt x="696" y="319"/>
                </a:cubicBezTo>
                <a:cubicBezTo>
                  <a:pt x="691" y="318"/>
                  <a:pt x="688" y="317"/>
                  <a:pt x="684" y="316"/>
                </a:cubicBezTo>
                <a:cubicBezTo>
                  <a:pt x="680" y="317"/>
                  <a:pt x="678" y="318"/>
                  <a:pt x="676" y="320"/>
                </a:cubicBezTo>
                <a:cubicBezTo>
                  <a:pt x="672" y="322"/>
                  <a:pt x="669" y="324"/>
                  <a:pt x="666" y="327"/>
                </a:cubicBezTo>
                <a:cubicBezTo>
                  <a:pt x="664" y="323"/>
                  <a:pt x="662" y="319"/>
                  <a:pt x="660" y="317"/>
                </a:cubicBezTo>
                <a:cubicBezTo>
                  <a:pt x="659" y="314"/>
                  <a:pt x="656" y="312"/>
                  <a:pt x="653" y="312"/>
                </a:cubicBezTo>
                <a:cubicBezTo>
                  <a:pt x="647" y="313"/>
                  <a:pt x="645" y="316"/>
                  <a:pt x="643" y="318"/>
                </a:cubicBezTo>
                <a:cubicBezTo>
                  <a:pt x="642" y="319"/>
                  <a:pt x="641" y="320"/>
                  <a:pt x="640" y="320"/>
                </a:cubicBezTo>
                <a:cubicBezTo>
                  <a:pt x="640" y="320"/>
                  <a:pt x="640" y="320"/>
                  <a:pt x="640" y="321"/>
                </a:cubicBezTo>
                <a:cubicBezTo>
                  <a:pt x="637" y="320"/>
                  <a:pt x="627" y="314"/>
                  <a:pt x="617" y="314"/>
                </a:cubicBezTo>
                <a:cubicBezTo>
                  <a:pt x="613" y="314"/>
                  <a:pt x="610" y="314"/>
                  <a:pt x="607" y="316"/>
                </a:cubicBezTo>
                <a:cubicBezTo>
                  <a:pt x="600" y="318"/>
                  <a:pt x="596" y="322"/>
                  <a:pt x="594" y="323"/>
                </a:cubicBezTo>
                <a:cubicBezTo>
                  <a:pt x="592" y="324"/>
                  <a:pt x="592" y="325"/>
                  <a:pt x="586" y="325"/>
                </a:cubicBezTo>
                <a:cubicBezTo>
                  <a:pt x="584" y="325"/>
                  <a:pt x="583" y="325"/>
                  <a:pt x="581" y="325"/>
                </a:cubicBezTo>
                <a:cubicBezTo>
                  <a:pt x="564" y="324"/>
                  <a:pt x="560" y="321"/>
                  <a:pt x="552" y="320"/>
                </a:cubicBezTo>
                <a:cubicBezTo>
                  <a:pt x="551" y="320"/>
                  <a:pt x="549" y="320"/>
                  <a:pt x="548" y="321"/>
                </a:cubicBezTo>
                <a:cubicBezTo>
                  <a:pt x="541" y="322"/>
                  <a:pt x="541" y="322"/>
                  <a:pt x="541" y="322"/>
                </a:cubicBezTo>
                <a:cubicBezTo>
                  <a:pt x="538" y="323"/>
                  <a:pt x="536" y="326"/>
                  <a:pt x="536" y="329"/>
                </a:cubicBezTo>
                <a:cubicBezTo>
                  <a:pt x="536" y="329"/>
                  <a:pt x="537" y="331"/>
                  <a:pt x="532" y="334"/>
                </a:cubicBezTo>
                <a:cubicBezTo>
                  <a:pt x="529" y="336"/>
                  <a:pt x="527" y="338"/>
                  <a:pt x="525" y="339"/>
                </a:cubicBezTo>
                <a:cubicBezTo>
                  <a:pt x="524" y="340"/>
                  <a:pt x="523" y="341"/>
                  <a:pt x="522" y="341"/>
                </a:cubicBezTo>
                <a:cubicBezTo>
                  <a:pt x="522" y="341"/>
                  <a:pt x="522" y="341"/>
                  <a:pt x="522" y="341"/>
                </a:cubicBezTo>
                <a:cubicBezTo>
                  <a:pt x="522" y="341"/>
                  <a:pt x="521" y="340"/>
                  <a:pt x="521" y="340"/>
                </a:cubicBezTo>
                <a:cubicBezTo>
                  <a:pt x="515" y="330"/>
                  <a:pt x="507" y="329"/>
                  <a:pt x="505" y="328"/>
                </a:cubicBezTo>
                <a:cubicBezTo>
                  <a:pt x="505" y="328"/>
                  <a:pt x="503" y="327"/>
                  <a:pt x="500" y="325"/>
                </a:cubicBezTo>
                <a:cubicBezTo>
                  <a:pt x="497" y="323"/>
                  <a:pt x="492" y="322"/>
                  <a:pt x="487" y="322"/>
                </a:cubicBezTo>
                <a:cubicBezTo>
                  <a:pt x="484" y="322"/>
                  <a:pt x="480" y="323"/>
                  <a:pt x="476" y="324"/>
                </a:cubicBezTo>
                <a:cubicBezTo>
                  <a:pt x="474" y="324"/>
                  <a:pt x="472" y="324"/>
                  <a:pt x="469" y="324"/>
                </a:cubicBezTo>
                <a:cubicBezTo>
                  <a:pt x="463" y="324"/>
                  <a:pt x="456" y="323"/>
                  <a:pt x="450" y="321"/>
                </a:cubicBezTo>
                <a:cubicBezTo>
                  <a:pt x="444" y="320"/>
                  <a:pt x="440" y="318"/>
                  <a:pt x="435" y="318"/>
                </a:cubicBezTo>
                <a:cubicBezTo>
                  <a:pt x="432" y="318"/>
                  <a:pt x="389" y="315"/>
                  <a:pt x="382" y="313"/>
                </a:cubicBezTo>
                <a:cubicBezTo>
                  <a:pt x="375" y="311"/>
                  <a:pt x="364" y="310"/>
                  <a:pt x="354" y="310"/>
                </a:cubicBezTo>
                <a:cubicBezTo>
                  <a:pt x="347" y="310"/>
                  <a:pt x="341" y="310"/>
                  <a:pt x="337" y="311"/>
                </a:cubicBezTo>
                <a:cubicBezTo>
                  <a:pt x="330" y="312"/>
                  <a:pt x="313" y="312"/>
                  <a:pt x="307" y="312"/>
                </a:cubicBezTo>
                <a:cubicBezTo>
                  <a:pt x="306" y="311"/>
                  <a:pt x="303" y="309"/>
                  <a:pt x="300" y="307"/>
                </a:cubicBezTo>
                <a:cubicBezTo>
                  <a:pt x="297" y="305"/>
                  <a:pt x="295" y="303"/>
                  <a:pt x="292" y="302"/>
                </a:cubicBezTo>
                <a:cubicBezTo>
                  <a:pt x="290" y="300"/>
                  <a:pt x="289" y="299"/>
                  <a:pt x="284" y="299"/>
                </a:cubicBezTo>
                <a:cubicBezTo>
                  <a:pt x="281" y="299"/>
                  <a:pt x="279" y="300"/>
                  <a:pt x="277" y="300"/>
                </a:cubicBezTo>
                <a:cubicBezTo>
                  <a:pt x="274" y="301"/>
                  <a:pt x="272" y="302"/>
                  <a:pt x="270" y="302"/>
                </a:cubicBezTo>
                <a:cubicBezTo>
                  <a:pt x="268" y="302"/>
                  <a:pt x="268" y="301"/>
                  <a:pt x="267" y="301"/>
                </a:cubicBezTo>
                <a:cubicBezTo>
                  <a:pt x="260" y="292"/>
                  <a:pt x="249" y="288"/>
                  <a:pt x="249" y="288"/>
                </a:cubicBezTo>
                <a:cubicBezTo>
                  <a:pt x="247" y="287"/>
                  <a:pt x="245" y="287"/>
                  <a:pt x="244" y="288"/>
                </a:cubicBezTo>
                <a:cubicBezTo>
                  <a:pt x="242" y="289"/>
                  <a:pt x="241" y="290"/>
                  <a:pt x="241" y="292"/>
                </a:cubicBezTo>
                <a:cubicBezTo>
                  <a:pt x="241" y="292"/>
                  <a:pt x="240" y="295"/>
                  <a:pt x="238" y="299"/>
                </a:cubicBezTo>
                <a:cubicBezTo>
                  <a:pt x="236" y="302"/>
                  <a:pt x="233" y="306"/>
                  <a:pt x="232" y="306"/>
                </a:cubicBezTo>
                <a:cubicBezTo>
                  <a:pt x="226" y="308"/>
                  <a:pt x="213" y="312"/>
                  <a:pt x="208" y="312"/>
                </a:cubicBezTo>
                <a:cubicBezTo>
                  <a:pt x="208" y="312"/>
                  <a:pt x="208" y="312"/>
                  <a:pt x="208" y="312"/>
                </a:cubicBezTo>
                <a:cubicBezTo>
                  <a:pt x="206" y="311"/>
                  <a:pt x="205" y="311"/>
                  <a:pt x="204" y="311"/>
                </a:cubicBezTo>
                <a:cubicBezTo>
                  <a:pt x="198" y="311"/>
                  <a:pt x="190" y="314"/>
                  <a:pt x="183" y="317"/>
                </a:cubicBezTo>
                <a:cubicBezTo>
                  <a:pt x="176" y="320"/>
                  <a:pt x="169" y="322"/>
                  <a:pt x="169" y="323"/>
                </a:cubicBezTo>
                <a:cubicBezTo>
                  <a:pt x="168" y="324"/>
                  <a:pt x="168" y="324"/>
                  <a:pt x="168" y="324"/>
                </a:cubicBezTo>
                <a:cubicBezTo>
                  <a:pt x="168" y="324"/>
                  <a:pt x="163" y="328"/>
                  <a:pt x="159" y="332"/>
                </a:cubicBezTo>
                <a:cubicBezTo>
                  <a:pt x="156" y="334"/>
                  <a:pt x="154" y="336"/>
                  <a:pt x="152" y="338"/>
                </a:cubicBezTo>
                <a:cubicBezTo>
                  <a:pt x="151" y="338"/>
                  <a:pt x="150" y="340"/>
                  <a:pt x="149" y="340"/>
                </a:cubicBezTo>
                <a:cubicBezTo>
                  <a:pt x="149" y="340"/>
                  <a:pt x="149" y="340"/>
                  <a:pt x="149" y="340"/>
                </a:cubicBezTo>
                <a:cubicBezTo>
                  <a:pt x="146" y="336"/>
                  <a:pt x="140" y="337"/>
                  <a:pt x="134" y="337"/>
                </a:cubicBezTo>
                <a:cubicBezTo>
                  <a:pt x="132" y="337"/>
                  <a:pt x="130" y="337"/>
                  <a:pt x="128" y="338"/>
                </a:cubicBezTo>
                <a:cubicBezTo>
                  <a:pt x="126" y="338"/>
                  <a:pt x="122" y="340"/>
                  <a:pt x="122" y="345"/>
                </a:cubicBezTo>
                <a:cubicBezTo>
                  <a:pt x="122" y="347"/>
                  <a:pt x="122" y="348"/>
                  <a:pt x="122" y="348"/>
                </a:cubicBezTo>
                <a:cubicBezTo>
                  <a:pt x="123" y="349"/>
                  <a:pt x="123" y="354"/>
                  <a:pt x="126" y="359"/>
                </a:cubicBezTo>
                <a:cubicBezTo>
                  <a:pt x="129" y="365"/>
                  <a:pt x="136" y="369"/>
                  <a:pt x="146" y="369"/>
                </a:cubicBezTo>
                <a:cubicBezTo>
                  <a:pt x="155" y="369"/>
                  <a:pt x="158" y="370"/>
                  <a:pt x="161" y="372"/>
                </a:cubicBezTo>
                <a:cubicBezTo>
                  <a:pt x="163" y="373"/>
                  <a:pt x="166" y="377"/>
                  <a:pt x="172" y="378"/>
                </a:cubicBezTo>
                <a:cubicBezTo>
                  <a:pt x="176" y="379"/>
                  <a:pt x="178" y="379"/>
                  <a:pt x="179" y="379"/>
                </a:cubicBezTo>
                <a:cubicBezTo>
                  <a:pt x="180" y="380"/>
                  <a:pt x="182" y="381"/>
                  <a:pt x="186" y="385"/>
                </a:cubicBezTo>
                <a:cubicBezTo>
                  <a:pt x="188" y="387"/>
                  <a:pt x="189" y="388"/>
                  <a:pt x="189" y="390"/>
                </a:cubicBezTo>
                <a:cubicBezTo>
                  <a:pt x="189" y="390"/>
                  <a:pt x="189" y="390"/>
                  <a:pt x="189" y="390"/>
                </a:cubicBezTo>
                <a:cubicBezTo>
                  <a:pt x="179" y="388"/>
                  <a:pt x="168" y="385"/>
                  <a:pt x="163" y="380"/>
                </a:cubicBezTo>
                <a:cubicBezTo>
                  <a:pt x="156" y="373"/>
                  <a:pt x="156" y="373"/>
                  <a:pt x="156" y="373"/>
                </a:cubicBezTo>
                <a:cubicBezTo>
                  <a:pt x="155" y="372"/>
                  <a:pt x="152" y="371"/>
                  <a:pt x="149" y="372"/>
                </a:cubicBezTo>
                <a:cubicBezTo>
                  <a:pt x="138" y="379"/>
                  <a:pt x="138" y="379"/>
                  <a:pt x="138" y="379"/>
                </a:cubicBezTo>
                <a:cubicBezTo>
                  <a:pt x="120" y="381"/>
                  <a:pt x="100" y="390"/>
                  <a:pt x="100" y="390"/>
                </a:cubicBezTo>
                <a:cubicBezTo>
                  <a:pt x="97" y="392"/>
                  <a:pt x="96" y="395"/>
                  <a:pt x="97" y="398"/>
                </a:cubicBezTo>
                <a:cubicBezTo>
                  <a:pt x="97" y="399"/>
                  <a:pt x="104" y="412"/>
                  <a:pt x="116" y="421"/>
                </a:cubicBezTo>
                <a:cubicBezTo>
                  <a:pt x="129" y="431"/>
                  <a:pt x="152" y="430"/>
                  <a:pt x="156" y="431"/>
                </a:cubicBezTo>
                <a:cubicBezTo>
                  <a:pt x="156" y="431"/>
                  <a:pt x="156" y="431"/>
                  <a:pt x="156" y="431"/>
                </a:cubicBezTo>
                <a:cubicBezTo>
                  <a:pt x="148" y="433"/>
                  <a:pt x="145" y="435"/>
                  <a:pt x="141" y="439"/>
                </a:cubicBezTo>
                <a:cubicBezTo>
                  <a:pt x="137" y="443"/>
                  <a:pt x="133" y="445"/>
                  <a:pt x="130" y="448"/>
                </a:cubicBezTo>
                <a:cubicBezTo>
                  <a:pt x="126" y="451"/>
                  <a:pt x="122" y="455"/>
                  <a:pt x="122" y="461"/>
                </a:cubicBezTo>
                <a:cubicBezTo>
                  <a:pt x="122" y="463"/>
                  <a:pt x="123" y="466"/>
                  <a:pt x="124" y="468"/>
                </a:cubicBezTo>
                <a:cubicBezTo>
                  <a:pt x="126" y="473"/>
                  <a:pt x="129" y="477"/>
                  <a:pt x="132" y="481"/>
                </a:cubicBezTo>
                <a:cubicBezTo>
                  <a:pt x="131" y="480"/>
                  <a:pt x="129" y="480"/>
                  <a:pt x="128" y="480"/>
                </a:cubicBezTo>
                <a:cubicBezTo>
                  <a:pt x="127" y="480"/>
                  <a:pt x="127" y="480"/>
                  <a:pt x="127" y="480"/>
                </a:cubicBezTo>
                <a:cubicBezTo>
                  <a:pt x="123" y="480"/>
                  <a:pt x="121" y="480"/>
                  <a:pt x="119" y="481"/>
                </a:cubicBezTo>
                <a:cubicBezTo>
                  <a:pt x="116" y="482"/>
                  <a:pt x="115" y="483"/>
                  <a:pt x="110" y="485"/>
                </a:cubicBezTo>
                <a:cubicBezTo>
                  <a:pt x="108" y="485"/>
                  <a:pt x="105" y="489"/>
                  <a:pt x="105" y="492"/>
                </a:cubicBezTo>
                <a:cubicBezTo>
                  <a:pt x="105" y="496"/>
                  <a:pt x="107" y="497"/>
                  <a:pt x="108" y="499"/>
                </a:cubicBezTo>
                <a:cubicBezTo>
                  <a:pt x="110" y="501"/>
                  <a:pt x="113" y="503"/>
                  <a:pt x="115" y="505"/>
                </a:cubicBezTo>
                <a:cubicBezTo>
                  <a:pt x="118" y="506"/>
                  <a:pt x="121" y="508"/>
                  <a:pt x="125" y="508"/>
                </a:cubicBezTo>
                <a:cubicBezTo>
                  <a:pt x="130" y="507"/>
                  <a:pt x="132" y="504"/>
                  <a:pt x="135" y="501"/>
                </a:cubicBezTo>
                <a:cubicBezTo>
                  <a:pt x="137" y="498"/>
                  <a:pt x="138" y="495"/>
                  <a:pt x="138" y="491"/>
                </a:cubicBezTo>
                <a:cubicBezTo>
                  <a:pt x="138" y="490"/>
                  <a:pt x="138" y="489"/>
                  <a:pt x="138" y="488"/>
                </a:cubicBezTo>
                <a:cubicBezTo>
                  <a:pt x="140" y="491"/>
                  <a:pt x="142" y="493"/>
                  <a:pt x="144" y="495"/>
                </a:cubicBezTo>
                <a:cubicBezTo>
                  <a:pt x="145" y="496"/>
                  <a:pt x="145" y="497"/>
                  <a:pt x="146" y="498"/>
                </a:cubicBezTo>
                <a:cubicBezTo>
                  <a:pt x="146" y="498"/>
                  <a:pt x="146" y="499"/>
                  <a:pt x="146" y="499"/>
                </a:cubicBezTo>
                <a:cubicBezTo>
                  <a:pt x="147" y="503"/>
                  <a:pt x="152" y="506"/>
                  <a:pt x="155" y="506"/>
                </a:cubicBezTo>
                <a:cubicBezTo>
                  <a:pt x="161" y="506"/>
                  <a:pt x="165" y="503"/>
                  <a:pt x="170" y="500"/>
                </a:cubicBezTo>
                <a:cubicBezTo>
                  <a:pt x="174" y="497"/>
                  <a:pt x="178" y="495"/>
                  <a:pt x="180" y="490"/>
                </a:cubicBezTo>
                <a:cubicBezTo>
                  <a:pt x="180" y="491"/>
                  <a:pt x="180" y="492"/>
                  <a:pt x="180" y="494"/>
                </a:cubicBezTo>
                <a:cubicBezTo>
                  <a:pt x="179" y="495"/>
                  <a:pt x="179" y="497"/>
                  <a:pt x="179" y="499"/>
                </a:cubicBezTo>
                <a:cubicBezTo>
                  <a:pt x="179" y="507"/>
                  <a:pt x="184" y="513"/>
                  <a:pt x="188" y="515"/>
                </a:cubicBezTo>
                <a:cubicBezTo>
                  <a:pt x="192" y="518"/>
                  <a:pt x="196" y="519"/>
                  <a:pt x="196" y="519"/>
                </a:cubicBezTo>
                <a:cubicBezTo>
                  <a:pt x="199" y="519"/>
                  <a:pt x="201" y="518"/>
                  <a:pt x="202" y="515"/>
                </a:cubicBezTo>
                <a:cubicBezTo>
                  <a:pt x="202" y="515"/>
                  <a:pt x="204" y="513"/>
                  <a:pt x="205" y="510"/>
                </a:cubicBezTo>
                <a:cubicBezTo>
                  <a:pt x="206" y="510"/>
                  <a:pt x="206" y="510"/>
                  <a:pt x="206" y="509"/>
                </a:cubicBezTo>
                <a:cubicBezTo>
                  <a:pt x="208" y="511"/>
                  <a:pt x="210" y="513"/>
                  <a:pt x="212" y="515"/>
                </a:cubicBezTo>
                <a:cubicBezTo>
                  <a:pt x="215" y="518"/>
                  <a:pt x="218" y="521"/>
                  <a:pt x="218" y="521"/>
                </a:cubicBezTo>
                <a:cubicBezTo>
                  <a:pt x="220" y="523"/>
                  <a:pt x="224" y="524"/>
                  <a:pt x="226" y="522"/>
                </a:cubicBezTo>
                <a:cubicBezTo>
                  <a:pt x="226" y="522"/>
                  <a:pt x="228" y="520"/>
                  <a:pt x="231" y="519"/>
                </a:cubicBezTo>
                <a:cubicBezTo>
                  <a:pt x="233" y="517"/>
                  <a:pt x="236" y="516"/>
                  <a:pt x="237" y="516"/>
                </a:cubicBezTo>
                <a:cubicBezTo>
                  <a:pt x="237" y="516"/>
                  <a:pt x="237" y="516"/>
                  <a:pt x="237" y="517"/>
                </a:cubicBezTo>
                <a:cubicBezTo>
                  <a:pt x="237" y="517"/>
                  <a:pt x="236" y="519"/>
                  <a:pt x="234" y="521"/>
                </a:cubicBezTo>
                <a:cubicBezTo>
                  <a:pt x="231" y="523"/>
                  <a:pt x="228" y="525"/>
                  <a:pt x="225" y="527"/>
                </a:cubicBezTo>
                <a:cubicBezTo>
                  <a:pt x="222" y="529"/>
                  <a:pt x="214" y="532"/>
                  <a:pt x="206" y="536"/>
                </a:cubicBezTo>
                <a:cubicBezTo>
                  <a:pt x="198" y="540"/>
                  <a:pt x="191" y="544"/>
                  <a:pt x="187" y="546"/>
                </a:cubicBezTo>
                <a:cubicBezTo>
                  <a:pt x="184" y="548"/>
                  <a:pt x="177" y="552"/>
                  <a:pt x="171" y="556"/>
                </a:cubicBezTo>
                <a:cubicBezTo>
                  <a:pt x="167" y="558"/>
                  <a:pt x="164" y="559"/>
                  <a:pt x="161" y="560"/>
                </a:cubicBezTo>
                <a:cubicBezTo>
                  <a:pt x="160" y="561"/>
                  <a:pt x="159" y="560"/>
                  <a:pt x="158" y="561"/>
                </a:cubicBezTo>
                <a:cubicBezTo>
                  <a:pt x="157" y="561"/>
                  <a:pt x="157" y="560"/>
                  <a:pt x="157" y="560"/>
                </a:cubicBezTo>
                <a:cubicBezTo>
                  <a:pt x="157" y="560"/>
                  <a:pt x="157" y="560"/>
                  <a:pt x="157" y="560"/>
                </a:cubicBezTo>
                <a:cubicBezTo>
                  <a:pt x="152" y="560"/>
                  <a:pt x="149" y="564"/>
                  <a:pt x="148" y="567"/>
                </a:cubicBezTo>
                <a:cubicBezTo>
                  <a:pt x="147" y="569"/>
                  <a:pt x="146" y="573"/>
                  <a:pt x="146" y="576"/>
                </a:cubicBezTo>
                <a:cubicBezTo>
                  <a:pt x="146" y="578"/>
                  <a:pt x="146" y="582"/>
                  <a:pt x="148" y="584"/>
                </a:cubicBezTo>
                <a:cubicBezTo>
                  <a:pt x="150" y="587"/>
                  <a:pt x="154" y="589"/>
                  <a:pt x="158" y="589"/>
                </a:cubicBezTo>
                <a:cubicBezTo>
                  <a:pt x="158" y="589"/>
                  <a:pt x="159" y="589"/>
                  <a:pt x="160" y="589"/>
                </a:cubicBezTo>
                <a:cubicBezTo>
                  <a:pt x="172" y="587"/>
                  <a:pt x="200" y="576"/>
                  <a:pt x="209" y="571"/>
                </a:cubicBezTo>
                <a:cubicBezTo>
                  <a:pt x="210" y="571"/>
                  <a:pt x="210" y="572"/>
                  <a:pt x="210" y="572"/>
                </a:cubicBezTo>
                <a:cubicBezTo>
                  <a:pt x="210" y="572"/>
                  <a:pt x="210" y="572"/>
                  <a:pt x="210" y="572"/>
                </a:cubicBezTo>
                <a:cubicBezTo>
                  <a:pt x="210" y="572"/>
                  <a:pt x="210" y="571"/>
                  <a:pt x="211" y="571"/>
                </a:cubicBezTo>
                <a:cubicBezTo>
                  <a:pt x="212" y="571"/>
                  <a:pt x="213" y="571"/>
                  <a:pt x="215" y="571"/>
                </a:cubicBezTo>
                <a:cubicBezTo>
                  <a:pt x="220" y="571"/>
                  <a:pt x="225" y="569"/>
                  <a:pt x="235" y="564"/>
                </a:cubicBezTo>
                <a:cubicBezTo>
                  <a:pt x="245" y="558"/>
                  <a:pt x="253" y="552"/>
                  <a:pt x="259" y="548"/>
                </a:cubicBezTo>
                <a:cubicBezTo>
                  <a:pt x="262" y="546"/>
                  <a:pt x="265" y="544"/>
                  <a:pt x="267" y="543"/>
                </a:cubicBezTo>
                <a:cubicBezTo>
                  <a:pt x="268" y="543"/>
                  <a:pt x="269" y="542"/>
                  <a:pt x="269" y="542"/>
                </a:cubicBezTo>
                <a:cubicBezTo>
                  <a:pt x="270" y="542"/>
                  <a:pt x="270" y="542"/>
                  <a:pt x="270" y="543"/>
                </a:cubicBezTo>
                <a:cubicBezTo>
                  <a:pt x="272" y="544"/>
                  <a:pt x="275" y="553"/>
                  <a:pt x="285" y="556"/>
                </a:cubicBezTo>
                <a:cubicBezTo>
                  <a:pt x="287" y="556"/>
                  <a:pt x="288" y="557"/>
                  <a:pt x="290" y="557"/>
                </a:cubicBezTo>
                <a:cubicBezTo>
                  <a:pt x="302" y="556"/>
                  <a:pt x="309" y="545"/>
                  <a:pt x="313" y="543"/>
                </a:cubicBezTo>
                <a:cubicBezTo>
                  <a:pt x="320" y="537"/>
                  <a:pt x="323" y="529"/>
                  <a:pt x="323" y="522"/>
                </a:cubicBezTo>
                <a:cubicBezTo>
                  <a:pt x="323" y="520"/>
                  <a:pt x="323" y="518"/>
                  <a:pt x="322" y="516"/>
                </a:cubicBezTo>
                <a:cubicBezTo>
                  <a:pt x="321" y="514"/>
                  <a:pt x="318" y="512"/>
                  <a:pt x="315" y="512"/>
                </a:cubicBezTo>
                <a:cubicBezTo>
                  <a:pt x="314" y="512"/>
                  <a:pt x="314" y="512"/>
                  <a:pt x="313" y="512"/>
                </a:cubicBezTo>
                <a:cubicBezTo>
                  <a:pt x="312" y="513"/>
                  <a:pt x="311" y="513"/>
                  <a:pt x="310" y="513"/>
                </a:cubicBezTo>
                <a:cubicBezTo>
                  <a:pt x="313" y="510"/>
                  <a:pt x="315" y="506"/>
                  <a:pt x="316" y="500"/>
                </a:cubicBezTo>
                <a:cubicBezTo>
                  <a:pt x="316" y="496"/>
                  <a:pt x="317" y="489"/>
                  <a:pt x="321" y="486"/>
                </a:cubicBezTo>
                <a:cubicBezTo>
                  <a:pt x="321" y="487"/>
                  <a:pt x="320" y="489"/>
                  <a:pt x="319" y="492"/>
                </a:cubicBezTo>
                <a:cubicBezTo>
                  <a:pt x="318" y="494"/>
                  <a:pt x="318" y="497"/>
                  <a:pt x="318" y="499"/>
                </a:cubicBezTo>
                <a:cubicBezTo>
                  <a:pt x="318" y="502"/>
                  <a:pt x="318" y="505"/>
                  <a:pt x="321" y="507"/>
                </a:cubicBezTo>
                <a:cubicBezTo>
                  <a:pt x="323" y="509"/>
                  <a:pt x="326" y="510"/>
                  <a:pt x="328" y="510"/>
                </a:cubicBezTo>
                <a:cubicBezTo>
                  <a:pt x="336" y="509"/>
                  <a:pt x="342" y="505"/>
                  <a:pt x="347" y="501"/>
                </a:cubicBezTo>
                <a:cubicBezTo>
                  <a:pt x="350" y="498"/>
                  <a:pt x="350" y="499"/>
                  <a:pt x="354" y="498"/>
                </a:cubicBezTo>
                <a:cubicBezTo>
                  <a:pt x="358" y="497"/>
                  <a:pt x="364" y="495"/>
                  <a:pt x="371" y="490"/>
                </a:cubicBezTo>
                <a:cubicBezTo>
                  <a:pt x="378" y="485"/>
                  <a:pt x="381" y="481"/>
                  <a:pt x="384" y="478"/>
                </a:cubicBezTo>
                <a:cubicBezTo>
                  <a:pt x="386" y="476"/>
                  <a:pt x="385" y="476"/>
                  <a:pt x="387" y="476"/>
                </a:cubicBezTo>
                <a:cubicBezTo>
                  <a:pt x="387" y="476"/>
                  <a:pt x="387" y="476"/>
                  <a:pt x="387" y="476"/>
                </a:cubicBezTo>
                <a:cubicBezTo>
                  <a:pt x="389" y="477"/>
                  <a:pt x="392" y="479"/>
                  <a:pt x="396" y="482"/>
                </a:cubicBezTo>
                <a:cubicBezTo>
                  <a:pt x="400" y="484"/>
                  <a:pt x="404" y="487"/>
                  <a:pt x="410" y="487"/>
                </a:cubicBezTo>
                <a:cubicBezTo>
                  <a:pt x="412" y="487"/>
                  <a:pt x="415" y="488"/>
                  <a:pt x="417" y="484"/>
                </a:cubicBezTo>
                <a:cubicBezTo>
                  <a:pt x="417" y="484"/>
                  <a:pt x="417" y="484"/>
                  <a:pt x="417" y="484"/>
                </a:cubicBezTo>
                <a:cubicBezTo>
                  <a:pt x="417" y="484"/>
                  <a:pt x="418" y="484"/>
                  <a:pt x="418" y="484"/>
                </a:cubicBezTo>
                <a:cubicBezTo>
                  <a:pt x="421" y="484"/>
                  <a:pt x="427" y="486"/>
                  <a:pt x="433" y="488"/>
                </a:cubicBezTo>
                <a:cubicBezTo>
                  <a:pt x="439" y="490"/>
                  <a:pt x="445" y="492"/>
                  <a:pt x="451" y="493"/>
                </a:cubicBezTo>
                <a:cubicBezTo>
                  <a:pt x="455" y="492"/>
                  <a:pt x="467" y="497"/>
                  <a:pt x="479" y="501"/>
                </a:cubicBezTo>
                <a:cubicBezTo>
                  <a:pt x="484" y="503"/>
                  <a:pt x="490" y="506"/>
                  <a:pt x="495" y="507"/>
                </a:cubicBezTo>
                <a:cubicBezTo>
                  <a:pt x="500" y="509"/>
                  <a:pt x="503" y="510"/>
                  <a:pt x="507" y="511"/>
                </a:cubicBezTo>
                <a:cubicBezTo>
                  <a:pt x="508" y="510"/>
                  <a:pt x="514" y="512"/>
                  <a:pt x="520" y="516"/>
                </a:cubicBezTo>
                <a:cubicBezTo>
                  <a:pt x="525" y="520"/>
                  <a:pt x="529" y="526"/>
                  <a:pt x="529" y="532"/>
                </a:cubicBezTo>
                <a:cubicBezTo>
                  <a:pt x="530" y="541"/>
                  <a:pt x="531" y="546"/>
                  <a:pt x="535" y="550"/>
                </a:cubicBezTo>
                <a:cubicBezTo>
                  <a:pt x="539" y="555"/>
                  <a:pt x="544" y="555"/>
                  <a:pt x="548" y="555"/>
                </a:cubicBezTo>
                <a:cubicBezTo>
                  <a:pt x="549" y="555"/>
                  <a:pt x="550" y="555"/>
                  <a:pt x="550" y="555"/>
                </a:cubicBezTo>
                <a:cubicBezTo>
                  <a:pt x="552" y="555"/>
                  <a:pt x="558" y="556"/>
                  <a:pt x="562" y="558"/>
                </a:cubicBezTo>
                <a:cubicBezTo>
                  <a:pt x="564" y="559"/>
                  <a:pt x="565" y="561"/>
                  <a:pt x="566" y="562"/>
                </a:cubicBezTo>
                <a:cubicBezTo>
                  <a:pt x="567" y="562"/>
                  <a:pt x="567" y="562"/>
                  <a:pt x="567" y="563"/>
                </a:cubicBezTo>
                <a:cubicBezTo>
                  <a:pt x="567" y="565"/>
                  <a:pt x="566" y="573"/>
                  <a:pt x="566" y="580"/>
                </a:cubicBezTo>
                <a:cubicBezTo>
                  <a:pt x="567" y="590"/>
                  <a:pt x="567" y="602"/>
                  <a:pt x="577" y="609"/>
                </a:cubicBezTo>
                <a:cubicBezTo>
                  <a:pt x="582" y="612"/>
                  <a:pt x="587" y="616"/>
                  <a:pt x="591" y="619"/>
                </a:cubicBezTo>
                <a:cubicBezTo>
                  <a:pt x="596" y="622"/>
                  <a:pt x="599" y="625"/>
                  <a:pt x="605" y="625"/>
                </a:cubicBezTo>
                <a:cubicBezTo>
                  <a:pt x="607" y="625"/>
                  <a:pt x="608" y="625"/>
                  <a:pt x="610" y="624"/>
                </a:cubicBezTo>
                <a:cubicBezTo>
                  <a:pt x="615" y="620"/>
                  <a:pt x="614" y="616"/>
                  <a:pt x="615" y="613"/>
                </a:cubicBezTo>
                <a:cubicBezTo>
                  <a:pt x="615" y="610"/>
                  <a:pt x="614" y="607"/>
                  <a:pt x="614" y="604"/>
                </a:cubicBezTo>
                <a:cubicBezTo>
                  <a:pt x="614" y="605"/>
                  <a:pt x="615" y="605"/>
                  <a:pt x="616" y="606"/>
                </a:cubicBezTo>
                <a:cubicBezTo>
                  <a:pt x="618" y="608"/>
                  <a:pt x="620" y="611"/>
                  <a:pt x="625" y="611"/>
                </a:cubicBezTo>
                <a:cubicBezTo>
                  <a:pt x="625" y="611"/>
                  <a:pt x="626" y="612"/>
                  <a:pt x="627" y="613"/>
                </a:cubicBezTo>
                <a:cubicBezTo>
                  <a:pt x="630" y="616"/>
                  <a:pt x="635" y="624"/>
                  <a:pt x="635" y="628"/>
                </a:cubicBezTo>
                <a:cubicBezTo>
                  <a:pt x="635" y="628"/>
                  <a:pt x="635" y="629"/>
                  <a:pt x="634" y="629"/>
                </a:cubicBezTo>
                <a:cubicBezTo>
                  <a:pt x="634" y="632"/>
                  <a:pt x="633" y="634"/>
                  <a:pt x="633" y="637"/>
                </a:cubicBezTo>
                <a:cubicBezTo>
                  <a:pt x="633" y="648"/>
                  <a:pt x="641" y="660"/>
                  <a:pt x="654" y="661"/>
                </a:cubicBezTo>
                <a:cubicBezTo>
                  <a:pt x="655" y="660"/>
                  <a:pt x="661" y="664"/>
                  <a:pt x="666" y="669"/>
                </a:cubicBezTo>
                <a:cubicBezTo>
                  <a:pt x="668" y="671"/>
                  <a:pt x="670" y="674"/>
                  <a:pt x="672" y="676"/>
                </a:cubicBezTo>
                <a:cubicBezTo>
                  <a:pt x="675" y="678"/>
                  <a:pt x="676" y="680"/>
                  <a:pt x="680" y="681"/>
                </a:cubicBezTo>
                <a:cubicBezTo>
                  <a:pt x="680" y="681"/>
                  <a:pt x="682" y="683"/>
                  <a:pt x="684" y="684"/>
                </a:cubicBezTo>
                <a:cubicBezTo>
                  <a:pt x="685" y="685"/>
                  <a:pt x="685" y="686"/>
                  <a:pt x="685" y="687"/>
                </a:cubicBezTo>
                <a:cubicBezTo>
                  <a:pt x="686" y="687"/>
                  <a:pt x="686" y="688"/>
                  <a:pt x="686" y="688"/>
                </a:cubicBezTo>
                <a:cubicBezTo>
                  <a:pt x="686" y="688"/>
                  <a:pt x="686" y="688"/>
                  <a:pt x="686" y="688"/>
                </a:cubicBezTo>
                <a:cubicBezTo>
                  <a:pt x="686" y="692"/>
                  <a:pt x="687" y="698"/>
                  <a:pt x="689" y="706"/>
                </a:cubicBezTo>
                <a:cubicBezTo>
                  <a:pt x="690" y="713"/>
                  <a:pt x="692" y="721"/>
                  <a:pt x="692" y="725"/>
                </a:cubicBezTo>
                <a:cubicBezTo>
                  <a:pt x="692" y="734"/>
                  <a:pt x="688" y="773"/>
                  <a:pt x="687" y="788"/>
                </a:cubicBezTo>
                <a:cubicBezTo>
                  <a:pt x="687" y="789"/>
                  <a:pt x="687" y="790"/>
                  <a:pt x="687" y="791"/>
                </a:cubicBezTo>
                <a:cubicBezTo>
                  <a:pt x="687" y="809"/>
                  <a:pt x="697" y="833"/>
                  <a:pt x="709" y="847"/>
                </a:cubicBezTo>
                <a:cubicBezTo>
                  <a:pt x="714" y="854"/>
                  <a:pt x="720" y="863"/>
                  <a:pt x="725" y="872"/>
                </a:cubicBezTo>
                <a:cubicBezTo>
                  <a:pt x="730" y="881"/>
                  <a:pt x="733" y="889"/>
                  <a:pt x="739" y="894"/>
                </a:cubicBezTo>
                <a:cubicBezTo>
                  <a:pt x="741" y="895"/>
                  <a:pt x="744" y="900"/>
                  <a:pt x="747" y="904"/>
                </a:cubicBezTo>
                <a:cubicBezTo>
                  <a:pt x="750" y="909"/>
                  <a:pt x="755" y="914"/>
                  <a:pt x="763" y="915"/>
                </a:cubicBezTo>
                <a:cubicBezTo>
                  <a:pt x="764" y="915"/>
                  <a:pt x="764" y="914"/>
                  <a:pt x="765" y="914"/>
                </a:cubicBezTo>
                <a:cubicBezTo>
                  <a:pt x="766" y="914"/>
                  <a:pt x="766" y="914"/>
                  <a:pt x="766" y="914"/>
                </a:cubicBezTo>
                <a:cubicBezTo>
                  <a:pt x="769" y="914"/>
                  <a:pt x="771" y="915"/>
                  <a:pt x="774" y="919"/>
                </a:cubicBezTo>
                <a:cubicBezTo>
                  <a:pt x="777" y="923"/>
                  <a:pt x="781" y="930"/>
                  <a:pt x="785" y="939"/>
                </a:cubicBezTo>
                <a:cubicBezTo>
                  <a:pt x="790" y="948"/>
                  <a:pt x="794" y="961"/>
                  <a:pt x="799" y="971"/>
                </a:cubicBezTo>
                <a:cubicBezTo>
                  <a:pt x="801" y="977"/>
                  <a:pt x="803" y="982"/>
                  <a:pt x="805" y="986"/>
                </a:cubicBezTo>
                <a:cubicBezTo>
                  <a:pt x="808" y="990"/>
                  <a:pt x="809" y="993"/>
                  <a:pt x="814" y="995"/>
                </a:cubicBezTo>
                <a:cubicBezTo>
                  <a:pt x="816" y="996"/>
                  <a:pt x="819" y="998"/>
                  <a:pt x="821" y="1000"/>
                </a:cubicBezTo>
                <a:cubicBezTo>
                  <a:pt x="824" y="1002"/>
                  <a:pt x="824" y="1005"/>
                  <a:pt x="824" y="1005"/>
                </a:cubicBezTo>
                <a:cubicBezTo>
                  <a:pt x="824" y="1005"/>
                  <a:pt x="824" y="1005"/>
                  <a:pt x="824" y="1005"/>
                </a:cubicBezTo>
                <a:cubicBezTo>
                  <a:pt x="820" y="1011"/>
                  <a:pt x="814" y="1018"/>
                  <a:pt x="813" y="1027"/>
                </a:cubicBezTo>
                <a:cubicBezTo>
                  <a:pt x="813" y="1029"/>
                  <a:pt x="814" y="1032"/>
                  <a:pt x="816" y="1034"/>
                </a:cubicBezTo>
                <a:cubicBezTo>
                  <a:pt x="819" y="1037"/>
                  <a:pt x="822" y="1037"/>
                  <a:pt x="824" y="1037"/>
                </a:cubicBezTo>
                <a:cubicBezTo>
                  <a:pt x="831" y="1037"/>
                  <a:pt x="836" y="1035"/>
                  <a:pt x="836" y="1035"/>
                </a:cubicBezTo>
                <a:cubicBezTo>
                  <a:pt x="837" y="1035"/>
                  <a:pt x="837" y="1035"/>
                  <a:pt x="841" y="1040"/>
                </a:cubicBezTo>
                <a:cubicBezTo>
                  <a:pt x="845" y="1046"/>
                  <a:pt x="849" y="1051"/>
                  <a:pt x="852" y="1055"/>
                </a:cubicBezTo>
                <a:cubicBezTo>
                  <a:pt x="856" y="1059"/>
                  <a:pt x="856" y="1062"/>
                  <a:pt x="856" y="1063"/>
                </a:cubicBezTo>
                <a:cubicBezTo>
                  <a:pt x="856" y="1063"/>
                  <a:pt x="856" y="1063"/>
                  <a:pt x="856" y="1063"/>
                </a:cubicBezTo>
                <a:cubicBezTo>
                  <a:pt x="856" y="1064"/>
                  <a:pt x="856" y="1065"/>
                  <a:pt x="856" y="1065"/>
                </a:cubicBezTo>
                <a:cubicBezTo>
                  <a:pt x="856" y="1072"/>
                  <a:pt x="861" y="1076"/>
                  <a:pt x="865" y="1079"/>
                </a:cubicBezTo>
                <a:cubicBezTo>
                  <a:pt x="869" y="1080"/>
                  <a:pt x="872" y="1082"/>
                  <a:pt x="875" y="1082"/>
                </a:cubicBezTo>
                <a:cubicBezTo>
                  <a:pt x="875" y="1082"/>
                  <a:pt x="875" y="1082"/>
                  <a:pt x="875" y="1083"/>
                </a:cubicBezTo>
                <a:cubicBezTo>
                  <a:pt x="877" y="1084"/>
                  <a:pt x="879" y="1088"/>
                  <a:pt x="883" y="1092"/>
                </a:cubicBezTo>
                <a:cubicBezTo>
                  <a:pt x="886" y="1096"/>
                  <a:pt x="890" y="1100"/>
                  <a:pt x="897" y="1101"/>
                </a:cubicBezTo>
                <a:cubicBezTo>
                  <a:pt x="901" y="1101"/>
                  <a:pt x="904" y="1099"/>
                  <a:pt x="907" y="1096"/>
                </a:cubicBezTo>
                <a:cubicBezTo>
                  <a:pt x="910" y="1093"/>
                  <a:pt x="911" y="1089"/>
                  <a:pt x="911" y="1086"/>
                </a:cubicBezTo>
                <a:cubicBezTo>
                  <a:pt x="911" y="1077"/>
                  <a:pt x="905" y="1071"/>
                  <a:pt x="900" y="1065"/>
                </a:cubicBezTo>
                <a:cubicBezTo>
                  <a:pt x="894" y="1060"/>
                  <a:pt x="888" y="1055"/>
                  <a:pt x="886" y="1053"/>
                </a:cubicBezTo>
                <a:cubicBezTo>
                  <a:pt x="885" y="1052"/>
                  <a:pt x="884" y="1048"/>
                  <a:pt x="883" y="1041"/>
                </a:cubicBezTo>
                <a:cubicBezTo>
                  <a:pt x="882" y="1034"/>
                  <a:pt x="879" y="1024"/>
                  <a:pt x="870" y="1016"/>
                </a:cubicBezTo>
                <a:cubicBezTo>
                  <a:pt x="863" y="1009"/>
                  <a:pt x="860" y="1004"/>
                  <a:pt x="857" y="999"/>
                </a:cubicBezTo>
                <a:cubicBezTo>
                  <a:pt x="866" y="1010"/>
                  <a:pt x="877" y="1020"/>
                  <a:pt x="883" y="1027"/>
                </a:cubicBezTo>
                <a:cubicBezTo>
                  <a:pt x="887" y="1031"/>
                  <a:pt x="895" y="1044"/>
                  <a:pt x="901" y="1055"/>
                </a:cubicBezTo>
                <a:cubicBezTo>
                  <a:pt x="905" y="1060"/>
                  <a:pt x="908" y="1066"/>
                  <a:pt x="911" y="1070"/>
                </a:cubicBezTo>
                <a:cubicBezTo>
                  <a:pt x="912" y="1072"/>
                  <a:pt x="914" y="1074"/>
                  <a:pt x="915" y="1075"/>
                </a:cubicBezTo>
                <a:cubicBezTo>
                  <a:pt x="917" y="1076"/>
                  <a:pt x="918" y="1078"/>
                  <a:pt x="921" y="1078"/>
                </a:cubicBezTo>
                <a:cubicBezTo>
                  <a:pt x="923" y="1079"/>
                  <a:pt x="928" y="1084"/>
                  <a:pt x="931" y="1088"/>
                </a:cubicBezTo>
                <a:cubicBezTo>
                  <a:pt x="935" y="1092"/>
                  <a:pt x="938" y="1096"/>
                  <a:pt x="939" y="1098"/>
                </a:cubicBezTo>
                <a:cubicBezTo>
                  <a:pt x="939" y="1099"/>
                  <a:pt x="940" y="1101"/>
                  <a:pt x="942" y="1104"/>
                </a:cubicBezTo>
                <a:cubicBezTo>
                  <a:pt x="943" y="1108"/>
                  <a:pt x="944" y="1113"/>
                  <a:pt x="944" y="1114"/>
                </a:cubicBezTo>
                <a:cubicBezTo>
                  <a:pt x="944" y="1115"/>
                  <a:pt x="944" y="1115"/>
                  <a:pt x="944" y="1115"/>
                </a:cubicBezTo>
                <a:cubicBezTo>
                  <a:pt x="943" y="1117"/>
                  <a:pt x="943" y="1120"/>
                  <a:pt x="943" y="1122"/>
                </a:cubicBezTo>
                <a:cubicBezTo>
                  <a:pt x="943" y="1133"/>
                  <a:pt x="949" y="1147"/>
                  <a:pt x="959" y="1155"/>
                </a:cubicBezTo>
                <a:cubicBezTo>
                  <a:pt x="968" y="1161"/>
                  <a:pt x="999" y="1178"/>
                  <a:pt x="1004" y="1181"/>
                </a:cubicBezTo>
                <a:cubicBezTo>
                  <a:pt x="1005" y="1182"/>
                  <a:pt x="1009" y="1188"/>
                  <a:pt x="1013" y="1193"/>
                </a:cubicBezTo>
                <a:cubicBezTo>
                  <a:pt x="1018" y="1199"/>
                  <a:pt x="1024" y="1205"/>
                  <a:pt x="1034" y="1205"/>
                </a:cubicBezTo>
                <a:cubicBezTo>
                  <a:pt x="1046" y="1205"/>
                  <a:pt x="1054" y="1208"/>
                  <a:pt x="1054" y="1209"/>
                </a:cubicBezTo>
                <a:cubicBezTo>
                  <a:pt x="1055" y="1210"/>
                  <a:pt x="1058" y="1214"/>
                  <a:pt x="1061" y="1217"/>
                </a:cubicBezTo>
                <a:cubicBezTo>
                  <a:pt x="1064" y="1220"/>
                  <a:pt x="1068" y="1224"/>
                  <a:pt x="1075" y="1225"/>
                </a:cubicBezTo>
                <a:cubicBezTo>
                  <a:pt x="1079" y="1225"/>
                  <a:pt x="1082" y="1223"/>
                  <a:pt x="1085" y="1219"/>
                </a:cubicBezTo>
                <a:cubicBezTo>
                  <a:pt x="1088" y="1214"/>
                  <a:pt x="1090" y="1211"/>
                  <a:pt x="1092" y="1210"/>
                </a:cubicBezTo>
                <a:cubicBezTo>
                  <a:pt x="1093" y="1209"/>
                  <a:pt x="1094" y="1208"/>
                  <a:pt x="1098" y="1208"/>
                </a:cubicBezTo>
                <a:cubicBezTo>
                  <a:pt x="1101" y="1208"/>
                  <a:pt x="1103" y="1209"/>
                  <a:pt x="1106" y="1212"/>
                </a:cubicBezTo>
                <a:cubicBezTo>
                  <a:pt x="1108" y="1215"/>
                  <a:pt x="1111" y="1219"/>
                  <a:pt x="1114" y="1222"/>
                </a:cubicBezTo>
                <a:cubicBezTo>
                  <a:pt x="1117" y="1226"/>
                  <a:pt x="1122" y="1232"/>
                  <a:pt x="1128" y="1237"/>
                </a:cubicBezTo>
                <a:cubicBezTo>
                  <a:pt x="1134" y="1243"/>
                  <a:pt x="1140" y="1248"/>
                  <a:pt x="1148" y="1248"/>
                </a:cubicBezTo>
                <a:cubicBezTo>
                  <a:pt x="1148" y="1248"/>
                  <a:pt x="1149" y="1248"/>
                  <a:pt x="1150" y="1248"/>
                </a:cubicBezTo>
                <a:cubicBezTo>
                  <a:pt x="1150" y="1248"/>
                  <a:pt x="1150" y="1248"/>
                  <a:pt x="1150" y="1248"/>
                </a:cubicBezTo>
                <a:cubicBezTo>
                  <a:pt x="1151" y="1248"/>
                  <a:pt x="1154" y="1249"/>
                  <a:pt x="1158" y="1251"/>
                </a:cubicBezTo>
                <a:cubicBezTo>
                  <a:pt x="1161" y="1253"/>
                  <a:pt x="1165" y="1256"/>
                  <a:pt x="1170" y="1256"/>
                </a:cubicBezTo>
                <a:cubicBezTo>
                  <a:pt x="1172" y="1256"/>
                  <a:pt x="1175" y="1255"/>
                  <a:pt x="1176" y="1254"/>
                </a:cubicBezTo>
                <a:cubicBezTo>
                  <a:pt x="1177" y="1254"/>
                  <a:pt x="1177" y="1254"/>
                  <a:pt x="1177" y="1254"/>
                </a:cubicBezTo>
                <a:cubicBezTo>
                  <a:pt x="1179" y="1253"/>
                  <a:pt x="1186" y="1257"/>
                  <a:pt x="1189" y="1260"/>
                </a:cubicBezTo>
                <a:cubicBezTo>
                  <a:pt x="1194" y="1262"/>
                  <a:pt x="1206" y="1271"/>
                  <a:pt x="1206" y="1282"/>
                </a:cubicBezTo>
                <a:cubicBezTo>
                  <a:pt x="1206" y="1282"/>
                  <a:pt x="1206" y="1283"/>
                  <a:pt x="1206" y="1283"/>
                </a:cubicBezTo>
                <a:cubicBezTo>
                  <a:pt x="1206" y="1284"/>
                  <a:pt x="1206" y="1285"/>
                  <a:pt x="1206" y="1286"/>
                </a:cubicBezTo>
                <a:cubicBezTo>
                  <a:pt x="1206" y="1304"/>
                  <a:pt x="1219" y="1310"/>
                  <a:pt x="1225" y="1313"/>
                </a:cubicBezTo>
                <a:cubicBezTo>
                  <a:pt x="1231" y="1317"/>
                  <a:pt x="1240" y="1326"/>
                  <a:pt x="1245" y="1333"/>
                </a:cubicBezTo>
                <a:cubicBezTo>
                  <a:pt x="1250" y="1338"/>
                  <a:pt x="1255" y="1340"/>
                  <a:pt x="1260" y="1342"/>
                </a:cubicBezTo>
                <a:cubicBezTo>
                  <a:pt x="1262" y="1343"/>
                  <a:pt x="1264" y="1343"/>
                  <a:pt x="1265" y="1344"/>
                </a:cubicBezTo>
                <a:cubicBezTo>
                  <a:pt x="1266" y="1344"/>
                  <a:pt x="1267" y="1345"/>
                  <a:pt x="1267" y="1345"/>
                </a:cubicBezTo>
                <a:cubicBezTo>
                  <a:pt x="1267" y="1345"/>
                  <a:pt x="1267" y="1345"/>
                  <a:pt x="1267" y="1345"/>
                </a:cubicBezTo>
                <a:cubicBezTo>
                  <a:pt x="1268" y="1346"/>
                  <a:pt x="1269" y="1348"/>
                  <a:pt x="1271" y="1350"/>
                </a:cubicBezTo>
                <a:cubicBezTo>
                  <a:pt x="1273" y="1353"/>
                  <a:pt x="1276" y="1355"/>
                  <a:pt x="1281" y="1355"/>
                </a:cubicBezTo>
                <a:cubicBezTo>
                  <a:pt x="1285" y="1355"/>
                  <a:pt x="1288" y="1354"/>
                  <a:pt x="1291" y="1351"/>
                </a:cubicBezTo>
                <a:cubicBezTo>
                  <a:pt x="1299" y="1346"/>
                  <a:pt x="1302" y="1340"/>
                  <a:pt x="1302" y="1332"/>
                </a:cubicBezTo>
                <a:cubicBezTo>
                  <a:pt x="1302" y="1332"/>
                  <a:pt x="1302" y="1332"/>
                  <a:pt x="1302" y="1332"/>
                </a:cubicBezTo>
                <a:cubicBezTo>
                  <a:pt x="1305" y="1332"/>
                  <a:pt x="1308" y="1333"/>
                  <a:pt x="1309" y="1334"/>
                </a:cubicBezTo>
                <a:cubicBezTo>
                  <a:pt x="1310" y="1335"/>
                  <a:pt x="1313" y="1341"/>
                  <a:pt x="1315" y="1346"/>
                </a:cubicBezTo>
                <a:cubicBezTo>
                  <a:pt x="1316" y="1349"/>
                  <a:pt x="1317" y="1352"/>
                  <a:pt x="1318" y="1354"/>
                </a:cubicBezTo>
                <a:cubicBezTo>
                  <a:pt x="1319" y="1357"/>
                  <a:pt x="1319" y="1359"/>
                  <a:pt x="1322" y="1361"/>
                </a:cubicBezTo>
                <a:cubicBezTo>
                  <a:pt x="1322" y="1361"/>
                  <a:pt x="1322" y="1361"/>
                  <a:pt x="1322" y="1361"/>
                </a:cubicBezTo>
                <a:cubicBezTo>
                  <a:pt x="1322" y="1362"/>
                  <a:pt x="1324" y="1365"/>
                  <a:pt x="1325" y="1369"/>
                </a:cubicBezTo>
                <a:cubicBezTo>
                  <a:pt x="1326" y="1373"/>
                  <a:pt x="1327" y="1378"/>
                  <a:pt x="1327" y="1384"/>
                </a:cubicBezTo>
                <a:cubicBezTo>
                  <a:pt x="1327" y="1387"/>
                  <a:pt x="1327" y="1390"/>
                  <a:pt x="1326" y="1393"/>
                </a:cubicBezTo>
                <a:cubicBezTo>
                  <a:pt x="1323" y="1402"/>
                  <a:pt x="1323" y="1409"/>
                  <a:pt x="1322" y="1415"/>
                </a:cubicBezTo>
                <a:cubicBezTo>
                  <a:pt x="1321" y="1417"/>
                  <a:pt x="1321" y="1419"/>
                  <a:pt x="1321" y="1420"/>
                </a:cubicBezTo>
                <a:cubicBezTo>
                  <a:pt x="1318" y="1421"/>
                  <a:pt x="1316" y="1423"/>
                  <a:pt x="1315" y="1425"/>
                </a:cubicBezTo>
                <a:cubicBezTo>
                  <a:pt x="1313" y="1428"/>
                  <a:pt x="1311" y="1432"/>
                  <a:pt x="1308" y="1435"/>
                </a:cubicBezTo>
                <a:cubicBezTo>
                  <a:pt x="1306" y="1439"/>
                  <a:pt x="1304" y="1442"/>
                  <a:pt x="1303" y="1442"/>
                </a:cubicBezTo>
                <a:cubicBezTo>
                  <a:pt x="1299" y="1445"/>
                  <a:pt x="1293" y="1451"/>
                  <a:pt x="1287" y="1457"/>
                </a:cubicBezTo>
                <a:cubicBezTo>
                  <a:pt x="1282" y="1464"/>
                  <a:pt x="1277" y="1469"/>
                  <a:pt x="1276" y="1477"/>
                </a:cubicBezTo>
                <a:cubicBezTo>
                  <a:pt x="1276" y="1478"/>
                  <a:pt x="1276" y="1478"/>
                  <a:pt x="1276" y="1479"/>
                </a:cubicBezTo>
                <a:cubicBezTo>
                  <a:pt x="1277" y="1483"/>
                  <a:pt x="1279" y="1489"/>
                  <a:pt x="1282" y="1495"/>
                </a:cubicBezTo>
                <a:cubicBezTo>
                  <a:pt x="1284" y="1501"/>
                  <a:pt x="1286" y="1508"/>
                  <a:pt x="1286" y="1512"/>
                </a:cubicBezTo>
                <a:cubicBezTo>
                  <a:pt x="1286" y="1513"/>
                  <a:pt x="1286" y="1513"/>
                  <a:pt x="1286" y="1514"/>
                </a:cubicBezTo>
                <a:cubicBezTo>
                  <a:pt x="1285" y="1516"/>
                  <a:pt x="1282" y="1520"/>
                  <a:pt x="1278" y="1526"/>
                </a:cubicBezTo>
                <a:cubicBezTo>
                  <a:pt x="1275" y="1531"/>
                  <a:pt x="1271" y="1538"/>
                  <a:pt x="1271" y="1546"/>
                </a:cubicBezTo>
                <a:cubicBezTo>
                  <a:pt x="1271" y="1548"/>
                  <a:pt x="1271" y="1550"/>
                  <a:pt x="1272" y="1552"/>
                </a:cubicBezTo>
                <a:cubicBezTo>
                  <a:pt x="1274" y="1563"/>
                  <a:pt x="1283" y="1568"/>
                  <a:pt x="1289" y="1573"/>
                </a:cubicBezTo>
                <a:cubicBezTo>
                  <a:pt x="1296" y="1577"/>
                  <a:pt x="1300" y="1581"/>
                  <a:pt x="1300" y="1584"/>
                </a:cubicBezTo>
                <a:cubicBezTo>
                  <a:pt x="1301" y="1593"/>
                  <a:pt x="1306" y="1604"/>
                  <a:pt x="1311" y="1615"/>
                </a:cubicBezTo>
                <a:cubicBezTo>
                  <a:pt x="1316" y="1626"/>
                  <a:pt x="1320" y="1637"/>
                  <a:pt x="1321" y="1643"/>
                </a:cubicBezTo>
                <a:cubicBezTo>
                  <a:pt x="1323" y="1652"/>
                  <a:pt x="1329" y="1659"/>
                  <a:pt x="1334" y="1667"/>
                </a:cubicBezTo>
                <a:cubicBezTo>
                  <a:pt x="1339" y="1675"/>
                  <a:pt x="1343" y="1682"/>
                  <a:pt x="1343" y="1690"/>
                </a:cubicBezTo>
                <a:cubicBezTo>
                  <a:pt x="1343" y="1703"/>
                  <a:pt x="1352" y="1712"/>
                  <a:pt x="1360" y="1718"/>
                </a:cubicBezTo>
                <a:cubicBezTo>
                  <a:pt x="1368" y="1724"/>
                  <a:pt x="1377" y="1728"/>
                  <a:pt x="1381" y="1729"/>
                </a:cubicBezTo>
                <a:cubicBezTo>
                  <a:pt x="1381" y="1729"/>
                  <a:pt x="1385" y="1732"/>
                  <a:pt x="1390" y="1736"/>
                </a:cubicBezTo>
                <a:cubicBezTo>
                  <a:pt x="1394" y="1739"/>
                  <a:pt x="1399" y="1744"/>
                  <a:pt x="1404" y="1746"/>
                </a:cubicBezTo>
                <a:cubicBezTo>
                  <a:pt x="1410" y="1750"/>
                  <a:pt x="1416" y="1757"/>
                  <a:pt x="1422" y="1767"/>
                </a:cubicBezTo>
                <a:cubicBezTo>
                  <a:pt x="1425" y="1773"/>
                  <a:pt x="1426" y="1784"/>
                  <a:pt x="1426" y="1790"/>
                </a:cubicBezTo>
                <a:cubicBezTo>
                  <a:pt x="1426" y="1793"/>
                  <a:pt x="1426" y="1795"/>
                  <a:pt x="1426" y="1796"/>
                </a:cubicBezTo>
                <a:cubicBezTo>
                  <a:pt x="1426" y="1799"/>
                  <a:pt x="1422" y="1843"/>
                  <a:pt x="1419" y="1867"/>
                </a:cubicBezTo>
                <a:cubicBezTo>
                  <a:pt x="1418" y="1872"/>
                  <a:pt x="1418" y="1877"/>
                  <a:pt x="1418" y="1882"/>
                </a:cubicBezTo>
                <a:cubicBezTo>
                  <a:pt x="1418" y="1893"/>
                  <a:pt x="1420" y="1902"/>
                  <a:pt x="1419" y="1909"/>
                </a:cubicBezTo>
                <a:cubicBezTo>
                  <a:pt x="1420" y="1913"/>
                  <a:pt x="1419" y="1914"/>
                  <a:pt x="1418" y="1915"/>
                </a:cubicBezTo>
                <a:cubicBezTo>
                  <a:pt x="1414" y="1920"/>
                  <a:pt x="1406" y="1925"/>
                  <a:pt x="1405" y="1935"/>
                </a:cubicBezTo>
                <a:cubicBezTo>
                  <a:pt x="1405" y="1938"/>
                  <a:pt x="1406" y="1942"/>
                  <a:pt x="1409" y="1945"/>
                </a:cubicBezTo>
                <a:cubicBezTo>
                  <a:pt x="1409" y="1945"/>
                  <a:pt x="1409" y="1945"/>
                  <a:pt x="1409" y="1945"/>
                </a:cubicBezTo>
                <a:cubicBezTo>
                  <a:pt x="1409" y="1946"/>
                  <a:pt x="1407" y="1948"/>
                  <a:pt x="1405" y="1949"/>
                </a:cubicBezTo>
                <a:cubicBezTo>
                  <a:pt x="1404" y="1950"/>
                  <a:pt x="1403" y="1951"/>
                  <a:pt x="1402" y="1952"/>
                </a:cubicBezTo>
                <a:cubicBezTo>
                  <a:pt x="1401" y="1954"/>
                  <a:pt x="1399" y="1955"/>
                  <a:pt x="1399" y="1959"/>
                </a:cubicBezTo>
                <a:cubicBezTo>
                  <a:pt x="1399" y="1963"/>
                  <a:pt x="1401" y="1966"/>
                  <a:pt x="1402" y="1972"/>
                </a:cubicBezTo>
                <a:cubicBezTo>
                  <a:pt x="1404" y="1977"/>
                  <a:pt x="1405" y="1983"/>
                  <a:pt x="1405" y="1988"/>
                </a:cubicBezTo>
                <a:cubicBezTo>
                  <a:pt x="1405" y="1990"/>
                  <a:pt x="1405" y="1991"/>
                  <a:pt x="1404" y="1992"/>
                </a:cubicBezTo>
                <a:cubicBezTo>
                  <a:pt x="1399" y="2003"/>
                  <a:pt x="1396" y="2016"/>
                  <a:pt x="1393" y="2024"/>
                </a:cubicBezTo>
                <a:cubicBezTo>
                  <a:pt x="1391" y="2030"/>
                  <a:pt x="1383" y="2038"/>
                  <a:pt x="1383" y="2051"/>
                </a:cubicBezTo>
                <a:cubicBezTo>
                  <a:pt x="1383" y="2053"/>
                  <a:pt x="1383" y="2055"/>
                  <a:pt x="1383" y="2056"/>
                </a:cubicBezTo>
                <a:cubicBezTo>
                  <a:pt x="1383" y="2057"/>
                  <a:pt x="1384" y="2058"/>
                  <a:pt x="1384" y="2058"/>
                </a:cubicBezTo>
                <a:cubicBezTo>
                  <a:pt x="1383" y="2060"/>
                  <a:pt x="1384" y="2059"/>
                  <a:pt x="1381" y="2062"/>
                </a:cubicBezTo>
                <a:cubicBezTo>
                  <a:pt x="1378" y="2063"/>
                  <a:pt x="1374" y="2069"/>
                  <a:pt x="1374" y="2076"/>
                </a:cubicBezTo>
                <a:cubicBezTo>
                  <a:pt x="1374" y="2083"/>
                  <a:pt x="1378" y="2088"/>
                  <a:pt x="1380" y="2090"/>
                </a:cubicBezTo>
                <a:cubicBezTo>
                  <a:pt x="1382" y="2092"/>
                  <a:pt x="1382" y="2091"/>
                  <a:pt x="1382" y="2094"/>
                </a:cubicBezTo>
                <a:cubicBezTo>
                  <a:pt x="1382" y="2095"/>
                  <a:pt x="1382" y="2096"/>
                  <a:pt x="1382" y="2097"/>
                </a:cubicBezTo>
                <a:cubicBezTo>
                  <a:pt x="1381" y="2104"/>
                  <a:pt x="1379" y="2108"/>
                  <a:pt x="1378" y="2113"/>
                </a:cubicBezTo>
                <a:cubicBezTo>
                  <a:pt x="1376" y="2117"/>
                  <a:pt x="1374" y="2122"/>
                  <a:pt x="1374" y="2128"/>
                </a:cubicBezTo>
                <a:cubicBezTo>
                  <a:pt x="1374" y="2135"/>
                  <a:pt x="1376" y="2142"/>
                  <a:pt x="1377" y="2148"/>
                </a:cubicBezTo>
                <a:cubicBezTo>
                  <a:pt x="1379" y="2153"/>
                  <a:pt x="1380" y="2159"/>
                  <a:pt x="1380" y="2159"/>
                </a:cubicBezTo>
                <a:cubicBezTo>
                  <a:pt x="1380" y="2159"/>
                  <a:pt x="1379" y="2163"/>
                  <a:pt x="1376" y="2168"/>
                </a:cubicBezTo>
                <a:cubicBezTo>
                  <a:pt x="1374" y="2173"/>
                  <a:pt x="1371" y="2179"/>
                  <a:pt x="1367" y="2184"/>
                </a:cubicBezTo>
                <a:cubicBezTo>
                  <a:pt x="1360" y="2194"/>
                  <a:pt x="1354" y="2201"/>
                  <a:pt x="1353" y="2211"/>
                </a:cubicBezTo>
                <a:cubicBezTo>
                  <a:pt x="1353" y="2212"/>
                  <a:pt x="1353" y="2213"/>
                  <a:pt x="1353" y="2214"/>
                </a:cubicBezTo>
                <a:cubicBezTo>
                  <a:pt x="1354" y="2218"/>
                  <a:pt x="1357" y="2222"/>
                  <a:pt x="1359" y="2226"/>
                </a:cubicBezTo>
                <a:cubicBezTo>
                  <a:pt x="1360" y="2227"/>
                  <a:pt x="1360" y="2229"/>
                  <a:pt x="1361" y="2230"/>
                </a:cubicBezTo>
                <a:cubicBezTo>
                  <a:pt x="1361" y="2230"/>
                  <a:pt x="1361" y="2231"/>
                  <a:pt x="1361" y="2231"/>
                </a:cubicBezTo>
                <a:cubicBezTo>
                  <a:pt x="1361" y="2232"/>
                  <a:pt x="1358" y="2236"/>
                  <a:pt x="1356" y="2240"/>
                </a:cubicBezTo>
                <a:cubicBezTo>
                  <a:pt x="1354" y="2245"/>
                  <a:pt x="1351" y="2251"/>
                  <a:pt x="1351" y="2258"/>
                </a:cubicBezTo>
                <a:cubicBezTo>
                  <a:pt x="1351" y="2259"/>
                  <a:pt x="1351" y="2259"/>
                  <a:pt x="1351" y="2260"/>
                </a:cubicBezTo>
                <a:cubicBezTo>
                  <a:pt x="1352" y="2268"/>
                  <a:pt x="1358" y="2272"/>
                  <a:pt x="1361" y="2272"/>
                </a:cubicBezTo>
                <a:cubicBezTo>
                  <a:pt x="1363" y="2273"/>
                  <a:pt x="1364" y="2273"/>
                  <a:pt x="1365" y="2273"/>
                </a:cubicBezTo>
                <a:cubicBezTo>
                  <a:pt x="1364" y="2274"/>
                  <a:pt x="1363" y="2276"/>
                  <a:pt x="1361" y="2277"/>
                </a:cubicBezTo>
                <a:cubicBezTo>
                  <a:pt x="1359" y="2279"/>
                  <a:pt x="1356" y="2282"/>
                  <a:pt x="1356" y="2287"/>
                </a:cubicBezTo>
                <a:cubicBezTo>
                  <a:pt x="1356" y="2290"/>
                  <a:pt x="1358" y="2293"/>
                  <a:pt x="1360" y="2295"/>
                </a:cubicBezTo>
                <a:cubicBezTo>
                  <a:pt x="1364" y="2299"/>
                  <a:pt x="1368" y="2301"/>
                  <a:pt x="1370" y="2302"/>
                </a:cubicBezTo>
                <a:cubicBezTo>
                  <a:pt x="1371" y="2304"/>
                  <a:pt x="1372" y="2304"/>
                  <a:pt x="1372" y="2308"/>
                </a:cubicBezTo>
                <a:cubicBezTo>
                  <a:pt x="1372" y="2310"/>
                  <a:pt x="1372" y="2311"/>
                  <a:pt x="1372" y="2312"/>
                </a:cubicBezTo>
                <a:cubicBezTo>
                  <a:pt x="1372" y="2314"/>
                  <a:pt x="1371" y="2315"/>
                  <a:pt x="1371" y="2317"/>
                </a:cubicBezTo>
                <a:cubicBezTo>
                  <a:pt x="1371" y="2335"/>
                  <a:pt x="1390" y="2341"/>
                  <a:pt x="1389" y="2342"/>
                </a:cubicBezTo>
                <a:cubicBezTo>
                  <a:pt x="1391" y="2344"/>
                  <a:pt x="1393" y="2347"/>
                  <a:pt x="1397" y="2351"/>
                </a:cubicBezTo>
                <a:cubicBezTo>
                  <a:pt x="1400" y="2354"/>
                  <a:pt x="1403" y="2357"/>
                  <a:pt x="1409" y="2358"/>
                </a:cubicBezTo>
                <a:cubicBezTo>
                  <a:pt x="1409" y="2359"/>
                  <a:pt x="1410" y="2361"/>
                  <a:pt x="1412" y="2362"/>
                </a:cubicBezTo>
                <a:cubicBezTo>
                  <a:pt x="1413" y="2363"/>
                  <a:pt x="1414" y="2363"/>
                  <a:pt x="1415" y="2363"/>
                </a:cubicBezTo>
                <a:cubicBezTo>
                  <a:pt x="1416" y="2364"/>
                  <a:pt x="1422" y="2366"/>
                  <a:pt x="1427" y="2369"/>
                </a:cubicBezTo>
                <a:cubicBezTo>
                  <a:pt x="1433" y="2371"/>
                  <a:pt x="1439" y="2374"/>
                  <a:pt x="1446" y="2374"/>
                </a:cubicBezTo>
                <a:cubicBezTo>
                  <a:pt x="1457" y="2374"/>
                  <a:pt x="1474" y="2369"/>
                  <a:pt x="1479" y="2367"/>
                </a:cubicBezTo>
                <a:cubicBezTo>
                  <a:pt x="1479" y="2367"/>
                  <a:pt x="1487" y="2365"/>
                  <a:pt x="1494" y="2363"/>
                </a:cubicBezTo>
                <a:cubicBezTo>
                  <a:pt x="1498" y="2363"/>
                  <a:pt x="1501" y="2362"/>
                  <a:pt x="1504" y="2360"/>
                </a:cubicBezTo>
                <a:cubicBezTo>
                  <a:pt x="1508" y="2359"/>
                  <a:pt x="1510" y="2359"/>
                  <a:pt x="1513" y="2355"/>
                </a:cubicBezTo>
                <a:cubicBezTo>
                  <a:pt x="1514" y="2354"/>
                  <a:pt x="1514" y="2352"/>
                  <a:pt x="1514" y="2351"/>
                </a:cubicBezTo>
                <a:cubicBezTo>
                  <a:pt x="1514" y="2347"/>
                  <a:pt x="1511" y="2345"/>
                  <a:pt x="1510" y="2345"/>
                </a:cubicBezTo>
                <a:cubicBezTo>
                  <a:pt x="1505" y="2343"/>
                  <a:pt x="1501" y="2343"/>
                  <a:pt x="1495" y="2342"/>
                </a:cubicBezTo>
                <a:cubicBezTo>
                  <a:pt x="1489" y="2341"/>
                  <a:pt x="1483" y="2340"/>
                  <a:pt x="1480" y="2339"/>
                </a:cubicBezTo>
                <a:cubicBezTo>
                  <a:pt x="1477" y="2338"/>
                  <a:pt x="1469" y="2332"/>
                  <a:pt x="1464" y="2326"/>
                </a:cubicBezTo>
                <a:cubicBezTo>
                  <a:pt x="1458" y="2320"/>
                  <a:pt x="1453" y="2312"/>
                  <a:pt x="1453" y="2310"/>
                </a:cubicBezTo>
                <a:cubicBezTo>
                  <a:pt x="1452" y="2308"/>
                  <a:pt x="1451" y="2304"/>
                  <a:pt x="1451" y="2301"/>
                </a:cubicBezTo>
                <a:cubicBezTo>
                  <a:pt x="1451" y="2294"/>
                  <a:pt x="1454" y="2288"/>
                  <a:pt x="1456" y="2286"/>
                </a:cubicBezTo>
                <a:cubicBezTo>
                  <a:pt x="1465" y="2280"/>
                  <a:pt x="1484" y="2261"/>
                  <a:pt x="1489" y="2257"/>
                </a:cubicBezTo>
                <a:cubicBezTo>
                  <a:pt x="1492" y="2254"/>
                  <a:pt x="1494" y="2249"/>
                  <a:pt x="1496" y="2244"/>
                </a:cubicBezTo>
                <a:cubicBezTo>
                  <a:pt x="1498" y="2239"/>
                  <a:pt x="1500" y="2234"/>
                  <a:pt x="1500" y="2229"/>
                </a:cubicBezTo>
                <a:cubicBezTo>
                  <a:pt x="1500" y="2227"/>
                  <a:pt x="1500" y="2225"/>
                  <a:pt x="1497" y="2221"/>
                </a:cubicBezTo>
                <a:cubicBezTo>
                  <a:pt x="1493" y="2219"/>
                  <a:pt x="1491" y="2219"/>
                  <a:pt x="1489" y="2219"/>
                </a:cubicBezTo>
                <a:cubicBezTo>
                  <a:pt x="1485" y="2219"/>
                  <a:pt x="1481" y="2219"/>
                  <a:pt x="1478" y="2219"/>
                </a:cubicBezTo>
                <a:cubicBezTo>
                  <a:pt x="1477" y="2218"/>
                  <a:pt x="1476" y="2218"/>
                  <a:pt x="1476" y="2218"/>
                </a:cubicBezTo>
                <a:cubicBezTo>
                  <a:pt x="1476" y="2218"/>
                  <a:pt x="1476" y="2218"/>
                  <a:pt x="1476" y="2218"/>
                </a:cubicBezTo>
                <a:cubicBezTo>
                  <a:pt x="1476" y="2217"/>
                  <a:pt x="1476" y="2214"/>
                  <a:pt x="1484" y="2208"/>
                </a:cubicBezTo>
                <a:cubicBezTo>
                  <a:pt x="1490" y="2202"/>
                  <a:pt x="1494" y="2196"/>
                  <a:pt x="1498" y="2190"/>
                </a:cubicBezTo>
                <a:cubicBezTo>
                  <a:pt x="1501" y="2185"/>
                  <a:pt x="1504" y="2180"/>
                  <a:pt x="1505" y="2180"/>
                </a:cubicBezTo>
                <a:cubicBezTo>
                  <a:pt x="1510" y="2176"/>
                  <a:pt x="1520" y="2167"/>
                  <a:pt x="1524" y="2155"/>
                </a:cubicBezTo>
                <a:cubicBezTo>
                  <a:pt x="1525" y="2153"/>
                  <a:pt x="1525" y="2152"/>
                  <a:pt x="1525" y="2149"/>
                </a:cubicBezTo>
                <a:cubicBezTo>
                  <a:pt x="1525" y="2148"/>
                  <a:pt x="1525" y="2145"/>
                  <a:pt x="1523" y="2143"/>
                </a:cubicBezTo>
                <a:cubicBezTo>
                  <a:pt x="1521" y="2142"/>
                  <a:pt x="1519" y="2141"/>
                  <a:pt x="1517" y="2141"/>
                </a:cubicBezTo>
                <a:cubicBezTo>
                  <a:pt x="1513" y="2142"/>
                  <a:pt x="1510" y="2143"/>
                  <a:pt x="1508" y="2143"/>
                </a:cubicBezTo>
                <a:cubicBezTo>
                  <a:pt x="1508" y="2143"/>
                  <a:pt x="1508" y="2142"/>
                  <a:pt x="1507" y="2142"/>
                </a:cubicBezTo>
                <a:cubicBezTo>
                  <a:pt x="1506" y="2139"/>
                  <a:pt x="1504" y="2135"/>
                  <a:pt x="1504" y="2131"/>
                </a:cubicBezTo>
                <a:cubicBezTo>
                  <a:pt x="1506" y="2132"/>
                  <a:pt x="1508" y="2133"/>
                  <a:pt x="1510" y="2133"/>
                </a:cubicBezTo>
                <a:cubicBezTo>
                  <a:pt x="1515" y="2135"/>
                  <a:pt x="1521" y="2137"/>
                  <a:pt x="1526" y="2138"/>
                </a:cubicBezTo>
                <a:cubicBezTo>
                  <a:pt x="1528" y="2139"/>
                  <a:pt x="1529" y="2139"/>
                  <a:pt x="1531" y="2139"/>
                </a:cubicBezTo>
                <a:cubicBezTo>
                  <a:pt x="1534" y="2139"/>
                  <a:pt x="1537" y="2138"/>
                  <a:pt x="1539" y="2136"/>
                </a:cubicBezTo>
                <a:cubicBezTo>
                  <a:pt x="1541" y="2134"/>
                  <a:pt x="1541" y="2131"/>
                  <a:pt x="1541" y="2129"/>
                </a:cubicBezTo>
                <a:cubicBezTo>
                  <a:pt x="1541" y="2124"/>
                  <a:pt x="1539" y="2120"/>
                  <a:pt x="1539" y="2117"/>
                </a:cubicBezTo>
                <a:cubicBezTo>
                  <a:pt x="1539" y="2116"/>
                  <a:pt x="1539" y="2115"/>
                  <a:pt x="1539" y="2114"/>
                </a:cubicBezTo>
                <a:cubicBezTo>
                  <a:pt x="1539" y="2111"/>
                  <a:pt x="1539" y="2108"/>
                  <a:pt x="1540" y="2106"/>
                </a:cubicBezTo>
                <a:cubicBezTo>
                  <a:pt x="1540" y="2106"/>
                  <a:pt x="1540" y="2106"/>
                  <a:pt x="1541" y="2105"/>
                </a:cubicBezTo>
                <a:cubicBezTo>
                  <a:pt x="1544" y="2107"/>
                  <a:pt x="1548" y="2107"/>
                  <a:pt x="1553" y="2107"/>
                </a:cubicBezTo>
                <a:cubicBezTo>
                  <a:pt x="1567" y="2107"/>
                  <a:pt x="1586" y="2104"/>
                  <a:pt x="1591" y="2103"/>
                </a:cubicBezTo>
                <a:cubicBezTo>
                  <a:pt x="1596" y="2101"/>
                  <a:pt x="1597" y="2098"/>
                  <a:pt x="1599" y="2095"/>
                </a:cubicBezTo>
                <a:cubicBezTo>
                  <a:pt x="1605" y="2087"/>
                  <a:pt x="1613" y="2072"/>
                  <a:pt x="1616" y="2067"/>
                </a:cubicBezTo>
                <a:cubicBezTo>
                  <a:pt x="1619" y="2063"/>
                  <a:pt x="1621" y="2058"/>
                  <a:pt x="1621" y="2053"/>
                </a:cubicBezTo>
                <a:cubicBezTo>
                  <a:pt x="1621" y="2049"/>
                  <a:pt x="1619" y="2044"/>
                  <a:pt x="1615" y="2041"/>
                </a:cubicBezTo>
                <a:cubicBezTo>
                  <a:pt x="1614" y="2041"/>
                  <a:pt x="1614" y="2040"/>
                  <a:pt x="1613" y="2039"/>
                </a:cubicBezTo>
                <a:cubicBezTo>
                  <a:pt x="1618" y="2041"/>
                  <a:pt x="1624" y="2042"/>
                  <a:pt x="1629" y="2042"/>
                </a:cubicBezTo>
                <a:cubicBezTo>
                  <a:pt x="1639" y="2042"/>
                  <a:pt x="1647" y="2038"/>
                  <a:pt x="1656" y="2028"/>
                </a:cubicBezTo>
                <a:cubicBezTo>
                  <a:pt x="1671" y="2011"/>
                  <a:pt x="1683" y="2000"/>
                  <a:pt x="1685" y="1986"/>
                </a:cubicBezTo>
                <a:cubicBezTo>
                  <a:pt x="1686" y="1977"/>
                  <a:pt x="1689" y="1968"/>
                  <a:pt x="1692" y="1965"/>
                </a:cubicBezTo>
                <a:cubicBezTo>
                  <a:pt x="1693" y="1965"/>
                  <a:pt x="1695" y="1967"/>
                  <a:pt x="1699" y="1967"/>
                </a:cubicBezTo>
                <a:cubicBezTo>
                  <a:pt x="1702" y="1967"/>
                  <a:pt x="1705" y="1965"/>
                  <a:pt x="1707" y="1963"/>
                </a:cubicBezTo>
                <a:cubicBezTo>
                  <a:pt x="1708" y="1961"/>
                  <a:pt x="1710" y="1958"/>
                  <a:pt x="1711" y="1954"/>
                </a:cubicBezTo>
                <a:cubicBezTo>
                  <a:pt x="1715" y="1946"/>
                  <a:pt x="1717" y="1943"/>
                  <a:pt x="1720" y="1939"/>
                </a:cubicBezTo>
                <a:cubicBezTo>
                  <a:pt x="1724" y="1936"/>
                  <a:pt x="1728" y="1931"/>
                  <a:pt x="1732" y="1923"/>
                </a:cubicBezTo>
                <a:cubicBezTo>
                  <a:pt x="1733" y="1919"/>
                  <a:pt x="1734" y="1916"/>
                  <a:pt x="1734" y="1912"/>
                </a:cubicBezTo>
                <a:cubicBezTo>
                  <a:pt x="1734" y="1902"/>
                  <a:pt x="1729" y="1892"/>
                  <a:pt x="1729" y="1886"/>
                </a:cubicBezTo>
                <a:cubicBezTo>
                  <a:pt x="1730" y="1883"/>
                  <a:pt x="1730" y="1882"/>
                  <a:pt x="1732" y="1880"/>
                </a:cubicBezTo>
                <a:cubicBezTo>
                  <a:pt x="1746" y="1869"/>
                  <a:pt x="1770" y="1855"/>
                  <a:pt x="1770" y="1855"/>
                </a:cubicBezTo>
                <a:cubicBezTo>
                  <a:pt x="1770" y="1855"/>
                  <a:pt x="1771" y="1854"/>
                  <a:pt x="1774" y="1853"/>
                </a:cubicBezTo>
                <a:cubicBezTo>
                  <a:pt x="1778" y="1851"/>
                  <a:pt x="1782" y="1849"/>
                  <a:pt x="1789" y="1847"/>
                </a:cubicBezTo>
                <a:cubicBezTo>
                  <a:pt x="1795" y="1846"/>
                  <a:pt x="1802" y="1845"/>
                  <a:pt x="1808" y="1844"/>
                </a:cubicBezTo>
                <a:cubicBezTo>
                  <a:pt x="1815" y="1844"/>
                  <a:pt x="1822" y="1842"/>
                  <a:pt x="1826" y="1835"/>
                </a:cubicBezTo>
                <a:cubicBezTo>
                  <a:pt x="1831" y="1825"/>
                  <a:pt x="1836" y="1808"/>
                  <a:pt x="1842" y="1800"/>
                </a:cubicBezTo>
                <a:cubicBezTo>
                  <a:pt x="1848" y="1791"/>
                  <a:pt x="1855" y="1779"/>
                  <a:pt x="1855" y="1769"/>
                </a:cubicBezTo>
                <a:cubicBezTo>
                  <a:pt x="1855" y="1766"/>
                  <a:pt x="1855" y="1764"/>
                  <a:pt x="1854" y="1762"/>
                </a:cubicBezTo>
                <a:cubicBezTo>
                  <a:pt x="1854" y="1762"/>
                  <a:pt x="1854" y="1761"/>
                  <a:pt x="1854" y="1761"/>
                </a:cubicBezTo>
                <a:cubicBezTo>
                  <a:pt x="1854" y="1758"/>
                  <a:pt x="1856" y="1749"/>
                  <a:pt x="1858" y="1742"/>
                </a:cubicBezTo>
                <a:cubicBezTo>
                  <a:pt x="1860" y="1734"/>
                  <a:pt x="1862" y="1726"/>
                  <a:pt x="1863" y="1720"/>
                </a:cubicBezTo>
                <a:cubicBezTo>
                  <a:pt x="1863" y="1720"/>
                  <a:pt x="1862" y="1719"/>
                  <a:pt x="1862" y="1718"/>
                </a:cubicBezTo>
                <a:cubicBezTo>
                  <a:pt x="1861" y="1712"/>
                  <a:pt x="1858" y="1705"/>
                  <a:pt x="1858" y="1697"/>
                </a:cubicBezTo>
                <a:cubicBezTo>
                  <a:pt x="1858" y="1691"/>
                  <a:pt x="1860" y="1686"/>
                  <a:pt x="1866" y="1679"/>
                </a:cubicBezTo>
                <a:cubicBezTo>
                  <a:pt x="1875" y="1671"/>
                  <a:pt x="1884" y="1660"/>
                  <a:pt x="1891" y="1651"/>
                </a:cubicBezTo>
                <a:cubicBezTo>
                  <a:pt x="1899" y="1641"/>
                  <a:pt x="1904" y="1634"/>
                  <a:pt x="1905" y="1628"/>
                </a:cubicBezTo>
                <a:cubicBezTo>
                  <a:pt x="1905" y="1626"/>
                  <a:pt x="1909" y="1617"/>
                  <a:pt x="1913" y="1608"/>
                </a:cubicBezTo>
                <a:cubicBezTo>
                  <a:pt x="1916" y="1598"/>
                  <a:pt x="1920" y="1588"/>
                  <a:pt x="1920" y="1579"/>
                </a:cubicBezTo>
                <a:cubicBezTo>
                  <a:pt x="1920" y="1578"/>
                  <a:pt x="1920" y="1577"/>
                  <a:pt x="1920" y="1577"/>
                </a:cubicBezTo>
                <a:cubicBezTo>
                  <a:pt x="1916" y="1560"/>
                  <a:pt x="1905" y="1543"/>
                  <a:pt x="1894" y="1537"/>
                </a:cubicBezTo>
                <a:close/>
                <a:moveTo>
                  <a:pt x="1322" y="737"/>
                </a:moveTo>
                <a:cubicBezTo>
                  <a:pt x="1322" y="736"/>
                  <a:pt x="1322" y="736"/>
                  <a:pt x="1322" y="736"/>
                </a:cubicBezTo>
                <a:cubicBezTo>
                  <a:pt x="1322" y="737"/>
                  <a:pt x="1322" y="737"/>
                  <a:pt x="1322" y="737"/>
                </a:cubicBezTo>
                <a:close/>
                <a:moveTo>
                  <a:pt x="1311" y="755"/>
                </a:moveTo>
                <a:cubicBezTo>
                  <a:pt x="1314" y="751"/>
                  <a:pt x="1318" y="748"/>
                  <a:pt x="1320" y="745"/>
                </a:cubicBezTo>
                <a:cubicBezTo>
                  <a:pt x="1321" y="744"/>
                  <a:pt x="1322" y="743"/>
                  <a:pt x="1323" y="743"/>
                </a:cubicBezTo>
                <a:cubicBezTo>
                  <a:pt x="1324" y="743"/>
                  <a:pt x="1325" y="743"/>
                  <a:pt x="1326" y="743"/>
                </a:cubicBezTo>
                <a:cubicBezTo>
                  <a:pt x="1331" y="743"/>
                  <a:pt x="1338" y="742"/>
                  <a:pt x="1344" y="742"/>
                </a:cubicBezTo>
                <a:cubicBezTo>
                  <a:pt x="1345" y="742"/>
                  <a:pt x="1347" y="742"/>
                  <a:pt x="1348" y="742"/>
                </a:cubicBezTo>
                <a:cubicBezTo>
                  <a:pt x="1345" y="743"/>
                  <a:pt x="1341" y="745"/>
                  <a:pt x="1336" y="747"/>
                </a:cubicBezTo>
                <a:cubicBezTo>
                  <a:pt x="1331" y="750"/>
                  <a:pt x="1327" y="751"/>
                  <a:pt x="1324" y="752"/>
                </a:cubicBezTo>
                <a:cubicBezTo>
                  <a:pt x="1320" y="753"/>
                  <a:pt x="1317" y="756"/>
                  <a:pt x="1314" y="760"/>
                </a:cubicBezTo>
                <a:cubicBezTo>
                  <a:pt x="1313" y="762"/>
                  <a:pt x="1309" y="764"/>
                  <a:pt x="1304" y="767"/>
                </a:cubicBezTo>
                <a:cubicBezTo>
                  <a:pt x="1303" y="767"/>
                  <a:pt x="1302" y="768"/>
                  <a:pt x="1301" y="768"/>
                </a:cubicBezTo>
                <a:cubicBezTo>
                  <a:pt x="1303" y="765"/>
                  <a:pt x="1307" y="760"/>
                  <a:pt x="1311" y="755"/>
                </a:cubicBezTo>
                <a:close/>
                <a:moveTo>
                  <a:pt x="1293" y="718"/>
                </a:moveTo>
                <a:cubicBezTo>
                  <a:pt x="1294" y="720"/>
                  <a:pt x="1295" y="722"/>
                  <a:pt x="1296" y="724"/>
                </a:cubicBezTo>
                <a:cubicBezTo>
                  <a:pt x="1296" y="724"/>
                  <a:pt x="1296" y="724"/>
                  <a:pt x="1296" y="724"/>
                </a:cubicBezTo>
                <a:cubicBezTo>
                  <a:pt x="1294" y="722"/>
                  <a:pt x="1293" y="720"/>
                  <a:pt x="1293" y="717"/>
                </a:cubicBezTo>
                <a:cubicBezTo>
                  <a:pt x="1293" y="718"/>
                  <a:pt x="1293" y="718"/>
                  <a:pt x="1293" y="718"/>
                </a:cubicBezTo>
                <a:close/>
                <a:moveTo>
                  <a:pt x="1290" y="776"/>
                </a:moveTo>
                <a:cubicBezTo>
                  <a:pt x="1289" y="776"/>
                  <a:pt x="1289" y="777"/>
                  <a:pt x="1288" y="778"/>
                </a:cubicBezTo>
                <a:cubicBezTo>
                  <a:pt x="1285" y="781"/>
                  <a:pt x="1280" y="784"/>
                  <a:pt x="1277" y="785"/>
                </a:cubicBezTo>
                <a:cubicBezTo>
                  <a:pt x="1278" y="784"/>
                  <a:pt x="1278" y="784"/>
                  <a:pt x="1279" y="783"/>
                </a:cubicBezTo>
                <a:cubicBezTo>
                  <a:pt x="1279" y="783"/>
                  <a:pt x="1279" y="782"/>
                  <a:pt x="1279" y="782"/>
                </a:cubicBezTo>
                <a:cubicBezTo>
                  <a:pt x="1281" y="781"/>
                  <a:pt x="1286" y="778"/>
                  <a:pt x="1290" y="776"/>
                </a:cubicBezTo>
                <a:close/>
                <a:moveTo>
                  <a:pt x="1259" y="711"/>
                </a:moveTo>
                <a:cubicBezTo>
                  <a:pt x="1260" y="711"/>
                  <a:pt x="1261" y="711"/>
                  <a:pt x="1262" y="710"/>
                </a:cubicBezTo>
                <a:cubicBezTo>
                  <a:pt x="1260" y="704"/>
                  <a:pt x="1260" y="704"/>
                  <a:pt x="1260" y="704"/>
                </a:cubicBezTo>
                <a:cubicBezTo>
                  <a:pt x="1263" y="710"/>
                  <a:pt x="1263" y="710"/>
                  <a:pt x="1263" y="710"/>
                </a:cubicBezTo>
                <a:cubicBezTo>
                  <a:pt x="1263" y="710"/>
                  <a:pt x="1263" y="710"/>
                  <a:pt x="1263" y="710"/>
                </a:cubicBezTo>
                <a:cubicBezTo>
                  <a:pt x="1264" y="710"/>
                  <a:pt x="1268" y="709"/>
                  <a:pt x="1272" y="709"/>
                </a:cubicBezTo>
                <a:cubicBezTo>
                  <a:pt x="1276" y="709"/>
                  <a:pt x="1280" y="710"/>
                  <a:pt x="1283" y="710"/>
                </a:cubicBezTo>
                <a:cubicBezTo>
                  <a:pt x="1281" y="711"/>
                  <a:pt x="1281" y="712"/>
                  <a:pt x="1281" y="712"/>
                </a:cubicBezTo>
                <a:cubicBezTo>
                  <a:pt x="1279" y="715"/>
                  <a:pt x="1278" y="718"/>
                  <a:pt x="1277" y="722"/>
                </a:cubicBezTo>
                <a:cubicBezTo>
                  <a:pt x="1277" y="726"/>
                  <a:pt x="1276" y="731"/>
                  <a:pt x="1276" y="735"/>
                </a:cubicBezTo>
                <a:cubicBezTo>
                  <a:pt x="1276" y="739"/>
                  <a:pt x="1276" y="742"/>
                  <a:pt x="1278" y="746"/>
                </a:cubicBezTo>
                <a:cubicBezTo>
                  <a:pt x="1278" y="746"/>
                  <a:pt x="1278" y="746"/>
                  <a:pt x="1278" y="747"/>
                </a:cubicBezTo>
                <a:cubicBezTo>
                  <a:pt x="1278" y="747"/>
                  <a:pt x="1277" y="751"/>
                  <a:pt x="1274" y="753"/>
                </a:cubicBezTo>
                <a:cubicBezTo>
                  <a:pt x="1273" y="754"/>
                  <a:pt x="1272" y="752"/>
                  <a:pt x="1271" y="756"/>
                </a:cubicBezTo>
                <a:cubicBezTo>
                  <a:pt x="1271" y="756"/>
                  <a:pt x="1271" y="756"/>
                  <a:pt x="1271" y="756"/>
                </a:cubicBezTo>
                <a:cubicBezTo>
                  <a:pt x="1270" y="752"/>
                  <a:pt x="1268" y="747"/>
                  <a:pt x="1268" y="742"/>
                </a:cubicBezTo>
                <a:cubicBezTo>
                  <a:pt x="1268" y="740"/>
                  <a:pt x="1269" y="739"/>
                  <a:pt x="1269" y="737"/>
                </a:cubicBezTo>
                <a:cubicBezTo>
                  <a:pt x="1269" y="736"/>
                  <a:pt x="1269" y="735"/>
                  <a:pt x="1269" y="734"/>
                </a:cubicBezTo>
                <a:cubicBezTo>
                  <a:pt x="1269" y="724"/>
                  <a:pt x="1264" y="714"/>
                  <a:pt x="1255" y="710"/>
                </a:cubicBezTo>
                <a:cubicBezTo>
                  <a:pt x="1257" y="711"/>
                  <a:pt x="1258" y="711"/>
                  <a:pt x="1259" y="711"/>
                </a:cubicBezTo>
                <a:close/>
                <a:moveTo>
                  <a:pt x="1246" y="708"/>
                </a:moveTo>
                <a:cubicBezTo>
                  <a:pt x="1246" y="708"/>
                  <a:pt x="1246" y="708"/>
                  <a:pt x="1245" y="708"/>
                </a:cubicBezTo>
                <a:cubicBezTo>
                  <a:pt x="1244" y="708"/>
                  <a:pt x="1243" y="708"/>
                  <a:pt x="1242" y="708"/>
                </a:cubicBezTo>
                <a:cubicBezTo>
                  <a:pt x="1226" y="710"/>
                  <a:pt x="1219" y="726"/>
                  <a:pt x="1216" y="727"/>
                </a:cubicBezTo>
                <a:cubicBezTo>
                  <a:pt x="1212" y="731"/>
                  <a:pt x="1212" y="736"/>
                  <a:pt x="1211" y="740"/>
                </a:cubicBezTo>
                <a:cubicBezTo>
                  <a:pt x="1210" y="745"/>
                  <a:pt x="1210" y="750"/>
                  <a:pt x="1210" y="755"/>
                </a:cubicBezTo>
                <a:cubicBezTo>
                  <a:pt x="1210" y="760"/>
                  <a:pt x="1210" y="764"/>
                  <a:pt x="1211" y="766"/>
                </a:cubicBezTo>
                <a:cubicBezTo>
                  <a:pt x="1211" y="767"/>
                  <a:pt x="1211" y="769"/>
                  <a:pt x="1211" y="771"/>
                </a:cubicBezTo>
                <a:cubicBezTo>
                  <a:pt x="1211" y="774"/>
                  <a:pt x="1211" y="779"/>
                  <a:pt x="1210" y="781"/>
                </a:cubicBezTo>
                <a:cubicBezTo>
                  <a:pt x="1208" y="783"/>
                  <a:pt x="1208" y="784"/>
                  <a:pt x="1207" y="784"/>
                </a:cubicBezTo>
                <a:cubicBezTo>
                  <a:pt x="1207" y="784"/>
                  <a:pt x="1207" y="784"/>
                  <a:pt x="1207" y="784"/>
                </a:cubicBezTo>
                <a:cubicBezTo>
                  <a:pt x="1207" y="784"/>
                  <a:pt x="1207" y="783"/>
                  <a:pt x="1206" y="781"/>
                </a:cubicBezTo>
                <a:cubicBezTo>
                  <a:pt x="1205" y="778"/>
                  <a:pt x="1204" y="774"/>
                  <a:pt x="1204" y="770"/>
                </a:cubicBezTo>
                <a:cubicBezTo>
                  <a:pt x="1204" y="765"/>
                  <a:pt x="1205" y="759"/>
                  <a:pt x="1205" y="756"/>
                </a:cubicBezTo>
                <a:cubicBezTo>
                  <a:pt x="1206" y="755"/>
                  <a:pt x="1206" y="754"/>
                  <a:pt x="1206" y="752"/>
                </a:cubicBezTo>
                <a:cubicBezTo>
                  <a:pt x="1206" y="746"/>
                  <a:pt x="1204" y="737"/>
                  <a:pt x="1204" y="730"/>
                </a:cubicBezTo>
                <a:cubicBezTo>
                  <a:pt x="1204" y="725"/>
                  <a:pt x="1205" y="720"/>
                  <a:pt x="1206" y="718"/>
                </a:cubicBezTo>
                <a:cubicBezTo>
                  <a:pt x="1209" y="710"/>
                  <a:pt x="1220" y="706"/>
                  <a:pt x="1229" y="705"/>
                </a:cubicBezTo>
                <a:cubicBezTo>
                  <a:pt x="1229" y="705"/>
                  <a:pt x="1230" y="705"/>
                  <a:pt x="1230" y="705"/>
                </a:cubicBezTo>
                <a:cubicBezTo>
                  <a:pt x="1234" y="705"/>
                  <a:pt x="1239" y="706"/>
                  <a:pt x="1245" y="708"/>
                </a:cubicBezTo>
                <a:cubicBezTo>
                  <a:pt x="1245" y="708"/>
                  <a:pt x="1246" y="708"/>
                  <a:pt x="1246" y="708"/>
                </a:cubicBezTo>
                <a:close/>
                <a:moveTo>
                  <a:pt x="1157" y="679"/>
                </a:moveTo>
                <a:cubicBezTo>
                  <a:pt x="1158" y="679"/>
                  <a:pt x="1158" y="679"/>
                  <a:pt x="1158" y="679"/>
                </a:cubicBezTo>
                <a:cubicBezTo>
                  <a:pt x="1158" y="678"/>
                  <a:pt x="1164" y="677"/>
                  <a:pt x="1173" y="673"/>
                </a:cubicBezTo>
                <a:cubicBezTo>
                  <a:pt x="1171" y="667"/>
                  <a:pt x="1171" y="667"/>
                  <a:pt x="1171" y="667"/>
                </a:cubicBezTo>
                <a:cubicBezTo>
                  <a:pt x="1173" y="673"/>
                  <a:pt x="1173" y="673"/>
                  <a:pt x="1173" y="673"/>
                </a:cubicBezTo>
                <a:cubicBezTo>
                  <a:pt x="1180" y="669"/>
                  <a:pt x="1187" y="664"/>
                  <a:pt x="1193" y="660"/>
                </a:cubicBezTo>
                <a:cubicBezTo>
                  <a:pt x="1198" y="656"/>
                  <a:pt x="1203" y="653"/>
                  <a:pt x="1204" y="653"/>
                </a:cubicBezTo>
                <a:cubicBezTo>
                  <a:pt x="1211" y="662"/>
                  <a:pt x="1222" y="671"/>
                  <a:pt x="1233" y="674"/>
                </a:cubicBezTo>
                <a:cubicBezTo>
                  <a:pt x="1232" y="675"/>
                  <a:pt x="1232" y="677"/>
                  <a:pt x="1231" y="679"/>
                </a:cubicBezTo>
                <a:cubicBezTo>
                  <a:pt x="1230" y="680"/>
                  <a:pt x="1229" y="681"/>
                  <a:pt x="1228" y="682"/>
                </a:cubicBezTo>
                <a:cubicBezTo>
                  <a:pt x="1228" y="682"/>
                  <a:pt x="1228" y="682"/>
                  <a:pt x="1228" y="682"/>
                </a:cubicBezTo>
                <a:cubicBezTo>
                  <a:pt x="1224" y="682"/>
                  <a:pt x="1214" y="679"/>
                  <a:pt x="1204" y="679"/>
                </a:cubicBezTo>
                <a:cubicBezTo>
                  <a:pt x="1201" y="679"/>
                  <a:pt x="1201" y="679"/>
                  <a:pt x="1201" y="678"/>
                </a:cubicBezTo>
                <a:cubicBezTo>
                  <a:pt x="1200" y="678"/>
                  <a:pt x="1200" y="677"/>
                  <a:pt x="1199" y="675"/>
                </a:cubicBezTo>
                <a:cubicBezTo>
                  <a:pt x="1198" y="674"/>
                  <a:pt x="1195" y="672"/>
                  <a:pt x="1192" y="672"/>
                </a:cubicBezTo>
                <a:cubicBezTo>
                  <a:pt x="1191" y="672"/>
                  <a:pt x="1190" y="672"/>
                  <a:pt x="1189" y="672"/>
                </a:cubicBezTo>
                <a:cubicBezTo>
                  <a:pt x="1185" y="674"/>
                  <a:pt x="1174" y="677"/>
                  <a:pt x="1166" y="681"/>
                </a:cubicBezTo>
                <a:cubicBezTo>
                  <a:pt x="1165" y="682"/>
                  <a:pt x="1162" y="683"/>
                  <a:pt x="1160" y="683"/>
                </a:cubicBezTo>
                <a:cubicBezTo>
                  <a:pt x="1159" y="683"/>
                  <a:pt x="1157" y="682"/>
                  <a:pt x="1157" y="682"/>
                </a:cubicBezTo>
                <a:cubicBezTo>
                  <a:pt x="1157" y="680"/>
                  <a:pt x="1157" y="679"/>
                  <a:pt x="1157" y="679"/>
                </a:cubicBezTo>
                <a:close/>
                <a:moveTo>
                  <a:pt x="1239" y="392"/>
                </a:moveTo>
                <a:cubicBezTo>
                  <a:pt x="1238" y="392"/>
                  <a:pt x="1238" y="392"/>
                  <a:pt x="1237" y="393"/>
                </a:cubicBezTo>
                <a:cubicBezTo>
                  <a:pt x="1236" y="393"/>
                  <a:pt x="1235" y="393"/>
                  <a:pt x="1234" y="393"/>
                </a:cubicBezTo>
                <a:cubicBezTo>
                  <a:pt x="1233" y="393"/>
                  <a:pt x="1233" y="393"/>
                  <a:pt x="1232" y="392"/>
                </a:cubicBezTo>
                <a:cubicBezTo>
                  <a:pt x="1232" y="392"/>
                  <a:pt x="1232" y="392"/>
                  <a:pt x="1231" y="391"/>
                </a:cubicBezTo>
                <a:cubicBezTo>
                  <a:pt x="1234" y="391"/>
                  <a:pt x="1236" y="392"/>
                  <a:pt x="1239" y="392"/>
                </a:cubicBezTo>
                <a:close/>
                <a:moveTo>
                  <a:pt x="1190" y="333"/>
                </a:moveTo>
                <a:cubicBezTo>
                  <a:pt x="1192" y="333"/>
                  <a:pt x="1194" y="333"/>
                  <a:pt x="1196" y="333"/>
                </a:cubicBezTo>
                <a:cubicBezTo>
                  <a:pt x="1198" y="333"/>
                  <a:pt x="1200" y="332"/>
                  <a:pt x="1202" y="332"/>
                </a:cubicBezTo>
                <a:cubicBezTo>
                  <a:pt x="1208" y="332"/>
                  <a:pt x="1213" y="333"/>
                  <a:pt x="1217" y="334"/>
                </a:cubicBezTo>
                <a:cubicBezTo>
                  <a:pt x="1218" y="334"/>
                  <a:pt x="1219" y="334"/>
                  <a:pt x="1219" y="334"/>
                </a:cubicBezTo>
                <a:cubicBezTo>
                  <a:pt x="1219" y="335"/>
                  <a:pt x="1219" y="336"/>
                  <a:pt x="1219" y="337"/>
                </a:cubicBezTo>
                <a:cubicBezTo>
                  <a:pt x="1219" y="339"/>
                  <a:pt x="1218" y="341"/>
                  <a:pt x="1218" y="342"/>
                </a:cubicBezTo>
                <a:cubicBezTo>
                  <a:pt x="1218" y="343"/>
                  <a:pt x="1217" y="343"/>
                  <a:pt x="1217" y="343"/>
                </a:cubicBezTo>
                <a:cubicBezTo>
                  <a:pt x="1215" y="344"/>
                  <a:pt x="1212" y="345"/>
                  <a:pt x="1208" y="347"/>
                </a:cubicBezTo>
                <a:cubicBezTo>
                  <a:pt x="1204" y="348"/>
                  <a:pt x="1199" y="352"/>
                  <a:pt x="1197" y="358"/>
                </a:cubicBezTo>
                <a:cubicBezTo>
                  <a:pt x="1197" y="358"/>
                  <a:pt x="1197" y="359"/>
                  <a:pt x="1197" y="359"/>
                </a:cubicBezTo>
                <a:cubicBezTo>
                  <a:pt x="1197" y="357"/>
                  <a:pt x="1197" y="356"/>
                  <a:pt x="1197" y="354"/>
                </a:cubicBezTo>
                <a:cubicBezTo>
                  <a:pt x="1197" y="349"/>
                  <a:pt x="1196" y="343"/>
                  <a:pt x="1191" y="339"/>
                </a:cubicBezTo>
                <a:cubicBezTo>
                  <a:pt x="1188" y="336"/>
                  <a:pt x="1185" y="334"/>
                  <a:pt x="1182" y="332"/>
                </a:cubicBezTo>
                <a:cubicBezTo>
                  <a:pt x="1184" y="333"/>
                  <a:pt x="1187" y="333"/>
                  <a:pt x="1190" y="333"/>
                </a:cubicBezTo>
                <a:close/>
                <a:moveTo>
                  <a:pt x="1102" y="289"/>
                </a:moveTo>
                <a:cubicBezTo>
                  <a:pt x="1101" y="287"/>
                  <a:pt x="1101" y="287"/>
                  <a:pt x="1101" y="287"/>
                </a:cubicBezTo>
                <a:cubicBezTo>
                  <a:pt x="1102" y="289"/>
                  <a:pt x="1102" y="289"/>
                  <a:pt x="1102" y="289"/>
                </a:cubicBezTo>
                <a:cubicBezTo>
                  <a:pt x="1102" y="289"/>
                  <a:pt x="1102" y="289"/>
                  <a:pt x="1102" y="289"/>
                </a:cubicBezTo>
                <a:close/>
                <a:moveTo>
                  <a:pt x="190" y="423"/>
                </a:moveTo>
                <a:cubicBezTo>
                  <a:pt x="188" y="425"/>
                  <a:pt x="186" y="427"/>
                  <a:pt x="184" y="427"/>
                </a:cubicBezTo>
                <a:cubicBezTo>
                  <a:pt x="183" y="427"/>
                  <a:pt x="183" y="427"/>
                  <a:pt x="183" y="427"/>
                </a:cubicBezTo>
                <a:cubicBezTo>
                  <a:pt x="181" y="427"/>
                  <a:pt x="180" y="427"/>
                  <a:pt x="179" y="426"/>
                </a:cubicBezTo>
                <a:cubicBezTo>
                  <a:pt x="180" y="426"/>
                  <a:pt x="182" y="425"/>
                  <a:pt x="183" y="423"/>
                </a:cubicBezTo>
                <a:cubicBezTo>
                  <a:pt x="186" y="420"/>
                  <a:pt x="188" y="420"/>
                  <a:pt x="191" y="420"/>
                </a:cubicBezTo>
                <a:cubicBezTo>
                  <a:pt x="192" y="420"/>
                  <a:pt x="192" y="420"/>
                  <a:pt x="193" y="420"/>
                </a:cubicBezTo>
                <a:cubicBezTo>
                  <a:pt x="192" y="421"/>
                  <a:pt x="191" y="422"/>
                  <a:pt x="190" y="423"/>
                </a:cubicBezTo>
                <a:close/>
                <a:moveTo>
                  <a:pt x="692" y="653"/>
                </a:moveTo>
                <a:cubicBezTo>
                  <a:pt x="692" y="653"/>
                  <a:pt x="692" y="652"/>
                  <a:pt x="692" y="652"/>
                </a:cubicBezTo>
                <a:cubicBezTo>
                  <a:pt x="692" y="652"/>
                  <a:pt x="692" y="652"/>
                  <a:pt x="692" y="652"/>
                </a:cubicBezTo>
                <a:cubicBezTo>
                  <a:pt x="692" y="653"/>
                  <a:pt x="693" y="653"/>
                  <a:pt x="693" y="653"/>
                </a:cubicBezTo>
                <a:cubicBezTo>
                  <a:pt x="693" y="653"/>
                  <a:pt x="692" y="653"/>
                  <a:pt x="692" y="653"/>
                </a:cubicBezTo>
                <a:close/>
                <a:moveTo>
                  <a:pt x="714" y="672"/>
                </a:moveTo>
                <a:cubicBezTo>
                  <a:pt x="714" y="673"/>
                  <a:pt x="716" y="676"/>
                  <a:pt x="716" y="680"/>
                </a:cubicBezTo>
                <a:cubicBezTo>
                  <a:pt x="715" y="677"/>
                  <a:pt x="714" y="675"/>
                  <a:pt x="714" y="672"/>
                </a:cubicBezTo>
                <a:close/>
                <a:moveTo>
                  <a:pt x="832" y="962"/>
                </a:moveTo>
                <a:cubicBezTo>
                  <a:pt x="832" y="961"/>
                  <a:pt x="832" y="960"/>
                  <a:pt x="835" y="957"/>
                </a:cubicBezTo>
                <a:cubicBezTo>
                  <a:pt x="835" y="957"/>
                  <a:pt x="836" y="957"/>
                  <a:pt x="836" y="956"/>
                </a:cubicBezTo>
                <a:cubicBezTo>
                  <a:pt x="837" y="957"/>
                  <a:pt x="838" y="960"/>
                  <a:pt x="839" y="963"/>
                </a:cubicBezTo>
                <a:cubicBezTo>
                  <a:pt x="840" y="967"/>
                  <a:pt x="841" y="972"/>
                  <a:pt x="843" y="977"/>
                </a:cubicBezTo>
                <a:cubicBezTo>
                  <a:pt x="843" y="977"/>
                  <a:pt x="843" y="977"/>
                  <a:pt x="843" y="977"/>
                </a:cubicBezTo>
                <a:cubicBezTo>
                  <a:pt x="836" y="970"/>
                  <a:pt x="831" y="964"/>
                  <a:pt x="832" y="962"/>
                </a:cubicBezTo>
                <a:close/>
                <a:moveTo>
                  <a:pt x="897" y="270"/>
                </a:moveTo>
                <a:cubicBezTo>
                  <a:pt x="897" y="270"/>
                  <a:pt x="896" y="270"/>
                  <a:pt x="896" y="270"/>
                </a:cubicBezTo>
                <a:cubicBezTo>
                  <a:pt x="892" y="270"/>
                  <a:pt x="888" y="270"/>
                  <a:pt x="883" y="271"/>
                </a:cubicBezTo>
                <a:cubicBezTo>
                  <a:pt x="873" y="272"/>
                  <a:pt x="857" y="275"/>
                  <a:pt x="850" y="275"/>
                </a:cubicBezTo>
                <a:cubicBezTo>
                  <a:pt x="849" y="275"/>
                  <a:pt x="849" y="275"/>
                  <a:pt x="849" y="275"/>
                </a:cubicBezTo>
                <a:cubicBezTo>
                  <a:pt x="848" y="275"/>
                  <a:pt x="847" y="275"/>
                  <a:pt x="847" y="275"/>
                </a:cubicBezTo>
                <a:cubicBezTo>
                  <a:pt x="846" y="274"/>
                  <a:pt x="844" y="271"/>
                  <a:pt x="836" y="268"/>
                </a:cubicBezTo>
                <a:cubicBezTo>
                  <a:pt x="824" y="261"/>
                  <a:pt x="818" y="261"/>
                  <a:pt x="812" y="258"/>
                </a:cubicBezTo>
                <a:cubicBezTo>
                  <a:pt x="816" y="256"/>
                  <a:pt x="818" y="254"/>
                  <a:pt x="821" y="252"/>
                </a:cubicBezTo>
                <a:cubicBezTo>
                  <a:pt x="823" y="251"/>
                  <a:pt x="824" y="250"/>
                  <a:pt x="825" y="249"/>
                </a:cubicBezTo>
                <a:cubicBezTo>
                  <a:pt x="826" y="249"/>
                  <a:pt x="827" y="249"/>
                  <a:pt x="827" y="249"/>
                </a:cubicBezTo>
                <a:cubicBezTo>
                  <a:pt x="828" y="250"/>
                  <a:pt x="829" y="253"/>
                  <a:pt x="831" y="256"/>
                </a:cubicBezTo>
                <a:cubicBezTo>
                  <a:pt x="832" y="259"/>
                  <a:pt x="834" y="264"/>
                  <a:pt x="839" y="267"/>
                </a:cubicBezTo>
                <a:cubicBezTo>
                  <a:pt x="844" y="269"/>
                  <a:pt x="849" y="270"/>
                  <a:pt x="855" y="270"/>
                </a:cubicBezTo>
                <a:cubicBezTo>
                  <a:pt x="860" y="270"/>
                  <a:pt x="866" y="269"/>
                  <a:pt x="871" y="268"/>
                </a:cubicBezTo>
                <a:cubicBezTo>
                  <a:pt x="873" y="267"/>
                  <a:pt x="881" y="266"/>
                  <a:pt x="887" y="266"/>
                </a:cubicBezTo>
                <a:cubicBezTo>
                  <a:pt x="893" y="266"/>
                  <a:pt x="899" y="266"/>
                  <a:pt x="902" y="267"/>
                </a:cubicBezTo>
                <a:cubicBezTo>
                  <a:pt x="904" y="267"/>
                  <a:pt x="908" y="268"/>
                  <a:pt x="913" y="269"/>
                </a:cubicBezTo>
                <a:cubicBezTo>
                  <a:pt x="913" y="270"/>
                  <a:pt x="913" y="271"/>
                  <a:pt x="913" y="272"/>
                </a:cubicBezTo>
                <a:cubicBezTo>
                  <a:pt x="913" y="273"/>
                  <a:pt x="913" y="274"/>
                  <a:pt x="913" y="276"/>
                </a:cubicBezTo>
                <a:cubicBezTo>
                  <a:pt x="908" y="272"/>
                  <a:pt x="902" y="270"/>
                  <a:pt x="897" y="270"/>
                </a:cubicBezTo>
                <a:close/>
                <a:moveTo>
                  <a:pt x="1692" y="1468"/>
                </a:moveTo>
                <a:cubicBezTo>
                  <a:pt x="1691" y="1470"/>
                  <a:pt x="1691" y="1471"/>
                  <a:pt x="1682" y="1473"/>
                </a:cubicBezTo>
                <a:cubicBezTo>
                  <a:pt x="1680" y="1474"/>
                  <a:pt x="1679" y="1474"/>
                  <a:pt x="1678" y="1474"/>
                </a:cubicBezTo>
                <a:cubicBezTo>
                  <a:pt x="1677" y="1474"/>
                  <a:pt x="1676" y="1474"/>
                  <a:pt x="1676" y="1474"/>
                </a:cubicBezTo>
                <a:cubicBezTo>
                  <a:pt x="1676" y="1473"/>
                  <a:pt x="1677" y="1473"/>
                  <a:pt x="1678" y="1473"/>
                </a:cubicBezTo>
                <a:cubicBezTo>
                  <a:pt x="1683" y="1472"/>
                  <a:pt x="1688" y="1470"/>
                  <a:pt x="1692" y="1467"/>
                </a:cubicBezTo>
                <a:cubicBezTo>
                  <a:pt x="1692" y="1467"/>
                  <a:pt x="1692" y="1468"/>
                  <a:pt x="1692" y="1468"/>
                </a:cubicBezTo>
                <a:close/>
                <a:moveTo>
                  <a:pt x="1712" y="1500"/>
                </a:moveTo>
                <a:cubicBezTo>
                  <a:pt x="1712" y="1500"/>
                  <a:pt x="1712" y="1500"/>
                  <a:pt x="1712" y="1500"/>
                </a:cubicBezTo>
                <a:cubicBezTo>
                  <a:pt x="1712" y="1500"/>
                  <a:pt x="1712" y="1500"/>
                  <a:pt x="1712" y="1500"/>
                </a:cubicBezTo>
                <a:cubicBezTo>
                  <a:pt x="1712" y="1500"/>
                  <a:pt x="1712" y="1500"/>
                  <a:pt x="1712" y="1500"/>
                </a:cubicBezTo>
                <a:cubicBezTo>
                  <a:pt x="1712" y="1500"/>
                  <a:pt x="1712" y="1500"/>
                  <a:pt x="1712" y="1500"/>
                </a:cubicBezTo>
                <a:close/>
                <a:moveTo>
                  <a:pt x="1024" y="266"/>
                </a:moveTo>
                <a:cubicBezTo>
                  <a:pt x="1021" y="266"/>
                  <a:pt x="1014" y="264"/>
                  <a:pt x="1008" y="264"/>
                </a:cubicBezTo>
                <a:cubicBezTo>
                  <a:pt x="1003" y="264"/>
                  <a:pt x="998" y="265"/>
                  <a:pt x="994" y="268"/>
                </a:cubicBezTo>
                <a:cubicBezTo>
                  <a:pt x="990" y="271"/>
                  <a:pt x="989" y="276"/>
                  <a:pt x="989" y="279"/>
                </a:cubicBezTo>
                <a:cubicBezTo>
                  <a:pt x="989" y="287"/>
                  <a:pt x="993" y="296"/>
                  <a:pt x="1003" y="297"/>
                </a:cubicBezTo>
                <a:cubicBezTo>
                  <a:pt x="1004" y="297"/>
                  <a:pt x="1005" y="297"/>
                  <a:pt x="1005" y="297"/>
                </a:cubicBezTo>
                <a:cubicBezTo>
                  <a:pt x="1012" y="297"/>
                  <a:pt x="1019" y="295"/>
                  <a:pt x="1023" y="294"/>
                </a:cubicBezTo>
                <a:cubicBezTo>
                  <a:pt x="1024" y="297"/>
                  <a:pt x="1025" y="302"/>
                  <a:pt x="1027" y="307"/>
                </a:cubicBezTo>
                <a:cubicBezTo>
                  <a:pt x="1030" y="312"/>
                  <a:pt x="1034" y="320"/>
                  <a:pt x="1044" y="320"/>
                </a:cubicBezTo>
                <a:cubicBezTo>
                  <a:pt x="1047" y="320"/>
                  <a:pt x="1049" y="319"/>
                  <a:pt x="1052" y="318"/>
                </a:cubicBezTo>
                <a:cubicBezTo>
                  <a:pt x="1060" y="313"/>
                  <a:pt x="1064" y="308"/>
                  <a:pt x="1066" y="305"/>
                </a:cubicBezTo>
                <a:cubicBezTo>
                  <a:pt x="1067" y="303"/>
                  <a:pt x="1068" y="302"/>
                  <a:pt x="1068" y="301"/>
                </a:cubicBezTo>
                <a:cubicBezTo>
                  <a:pt x="1071" y="300"/>
                  <a:pt x="1072" y="298"/>
                  <a:pt x="1073" y="297"/>
                </a:cubicBezTo>
                <a:cubicBezTo>
                  <a:pt x="1073" y="295"/>
                  <a:pt x="1073" y="294"/>
                  <a:pt x="1073" y="292"/>
                </a:cubicBezTo>
                <a:cubicBezTo>
                  <a:pt x="1073" y="284"/>
                  <a:pt x="1070" y="272"/>
                  <a:pt x="1063" y="265"/>
                </a:cubicBezTo>
                <a:cubicBezTo>
                  <a:pt x="1058" y="262"/>
                  <a:pt x="1053" y="262"/>
                  <a:pt x="1047" y="262"/>
                </a:cubicBezTo>
                <a:cubicBezTo>
                  <a:pt x="1039" y="262"/>
                  <a:pt x="1030" y="263"/>
                  <a:pt x="1025" y="266"/>
                </a:cubicBezTo>
                <a:cubicBezTo>
                  <a:pt x="1025" y="266"/>
                  <a:pt x="1025" y="266"/>
                  <a:pt x="1025" y="266"/>
                </a:cubicBezTo>
                <a:cubicBezTo>
                  <a:pt x="1025" y="266"/>
                  <a:pt x="1024" y="266"/>
                  <a:pt x="1024" y="266"/>
                </a:cubicBezTo>
                <a:close/>
                <a:moveTo>
                  <a:pt x="2576" y="835"/>
                </a:moveTo>
                <a:cubicBezTo>
                  <a:pt x="2575" y="835"/>
                  <a:pt x="2567" y="833"/>
                  <a:pt x="2559" y="833"/>
                </a:cubicBezTo>
                <a:cubicBezTo>
                  <a:pt x="2556" y="833"/>
                  <a:pt x="2552" y="833"/>
                  <a:pt x="2548" y="836"/>
                </a:cubicBezTo>
                <a:cubicBezTo>
                  <a:pt x="2546" y="837"/>
                  <a:pt x="2544" y="840"/>
                  <a:pt x="2544" y="843"/>
                </a:cubicBezTo>
                <a:cubicBezTo>
                  <a:pt x="2545" y="849"/>
                  <a:pt x="2548" y="851"/>
                  <a:pt x="2551" y="854"/>
                </a:cubicBezTo>
                <a:cubicBezTo>
                  <a:pt x="2555" y="857"/>
                  <a:pt x="2558" y="860"/>
                  <a:pt x="2562" y="862"/>
                </a:cubicBezTo>
                <a:cubicBezTo>
                  <a:pt x="2563" y="862"/>
                  <a:pt x="2565" y="864"/>
                  <a:pt x="2568" y="867"/>
                </a:cubicBezTo>
                <a:cubicBezTo>
                  <a:pt x="2570" y="869"/>
                  <a:pt x="2572" y="873"/>
                  <a:pt x="2577" y="874"/>
                </a:cubicBezTo>
                <a:cubicBezTo>
                  <a:pt x="2577" y="874"/>
                  <a:pt x="2577" y="874"/>
                  <a:pt x="2577" y="874"/>
                </a:cubicBezTo>
                <a:cubicBezTo>
                  <a:pt x="2577" y="874"/>
                  <a:pt x="2577" y="874"/>
                  <a:pt x="2577" y="874"/>
                </a:cubicBezTo>
                <a:cubicBezTo>
                  <a:pt x="2577" y="874"/>
                  <a:pt x="2577" y="874"/>
                  <a:pt x="2577" y="874"/>
                </a:cubicBezTo>
                <a:cubicBezTo>
                  <a:pt x="2579" y="875"/>
                  <a:pt x="2581" y="875"/>
                  <a:pt x="2583" y="875"/>
                </a:cubicBezTo>
                <a:cubicBezTo>
                  <a:pt x="2586" y="875"/>
                  <a:pt x="2590" y="874"/>
                  <a:pt x="2594" y="872"/>
                </a:cubicBezTo>
                <a:cubicBezTo>
                  <a:pt x="2598" y="870"/>
                  <a:pt x="2601" y="865"/>
                  <a:pt x="2601" y="859"/>
                </a:cubicBezTo>
                <a:cubicBezTo>
                  <a:pt x="2601" y="857"/>
                  <a:pt x="2600" y="855"/>
                  <a:pt x="2600" y="853"/>
                </a:cubicBezTo>
                <a:cubicBezTo>
                  <a:pt x="2594" y="836"/>
                  <a:pt x="2579" y="834"/>
                  <a:pt x="2576" y="835"/>
                </a:cubicBezTo>
                <a:close/>
                <a:moveTo>
                  <a:pt x="4079" y="1252"/>
                </a:moveTo>
                <a:cubicBezTo>
                  <a:pt x="4079" y="1252"/>
                  <a:pt x="4079" y="1252"/>
                  <a:pt x="4078" y="1252"/>
                </a:cubicBezTo>
                <a:cubicBezTo>
                  <a:pt x="4074" y="1252"/>
                  <a:pt x="4073" y="1255"/>
                  <a:pt x="4071" y="1256"/>
                </a:cubicBezTo>
                <a:cubicBezTo>
                  <a:pt x="4067" y="1261"/>
                  <a:pt x="4063" y="1269"/>
                  <a:pt x="4063" y="1277"/>
                </a:cubicBezTo>
                <a:cubicBezTo>
                  <a:pt x="4063" y="1280"/>
                  <a:pt x="4063" y="1282"/>
                  <a:pt x="4064" y="1284"/>
                </a:cubicBezTo>
                <a:cubicBezTo>
                  <a:pt x="4064" y="1284"/>
                  <a:pt x="4064" y="1284"/>
                  <a:pt x="4064" y="1284"/>
                </a:cubicBezTo>
                <a:cubicBezTo>
                  <a:pt x="4059" y="1279"/>
                  <a:pt x="4054" y="1273"/>
                  <a:pt x="4045" y="1272"/>
                </a:cubicBezTo>
                <a:cubicBezTo>
                  <a:pt x="4042" y="1272"/>
                  <a:pt x="4040" y="1273"/>
                  <a:pt x="4038" y="1274"/>
                </a:cubicBezTo>
                <a:cubicBezTo>
                  <a:pt x="4035" y="1275"/>
                  <a:pt x="4034" y="1277"/>
                  <a:pt x="4033" y="1278"/>
                </a:cubicBezTo>
                <a:cubicBezTo>
                  <a:pt x="4030" y="1283"/>
                  <a:pt x="4027" y="1290"/>
                  <a:pt x="4027" y="1298"/>
                </a:cubicBezTo>
                <a:cubicBezTo>
                  <a:pt x="4027" y="1301"/>
                  <a:pt x="4027" y="1304"/>
                  <a:pt x="4030" y="1307"/>
                </a:cubicBezTo>
                <a:cubicBezTo>
                  <a:pt x="4032" y="1310"/>
                  <a:pt x="4036" y="1312"/>
                  <a:pt x="4039" y="1311"/>
                </a:cubicBezTo>
                <a:cubicBezTo>
                  <a:pt x="4046" y="1311"/>
                  <a:pt x="4055" y="1313"/>
                  <a:pt x="4062" y="1313"/>
                </a:cubicBezTo>
                <a:cubicBezTo>
                  <a:pt x="4065" y="1313"/>
                  <a:pt x="4067" y="1313"/>
                  <a:pt x="4069" y="1312"/>
                </a:cubicBezTo>
                <a:cubicBezTo>
                  <a:pt x="4071" y="1312"/>
                  <a:pt x="4072" y="1311"/>
                  <a:pt x="4073" y="1310"/>
                </a:cubicBezTo>
                <a:cubicBezTo>
                  <a:pt x="4075" y="1309"/>
                  <a:pt x="4076" y="1307"/>
                  <a:pt x="4076" y="1304"/>
                </a:cubicBezTo>
                <a:cubicBezTo>
                  <a:pt x="4076" y="1302"/>
                  <a:pt x="4075" y="1301"/>
                  <a:pt x="4074" y="1299"/>
                </a:cubicBezTo>
                <a:cubicBezTo>
                  <a:pt x="4073" y="1297"/>
                  <a:pt x="4070" y="1293"/>
                  <a:pt x="4067" y="1289"/>
                </a:cubicBezTo>
                <a:cubicBezTo>
                  <a:pt x="4070" y="1291"/>
                  <a:pt x="4074" y="1292"/>
                  <a:pt x="4078" y="1292"/>
                </a:cubicBezTo>
                <a:cubicBezTo>
                  <a:pt x="4079" y="1292"/>
                  <a:pt x="4079" y="1292"/>
                  <a:pt x="4080" y="1292"/>
                </a:cubicBezTo>
                <a:cubicBezTo>
                  <a:pt x="4092" y="1292"/>
                  <a:pt x="4099" y="1283"/>
                  <a:pt x="4099" y="1274"/>
                </a:cubicBezTo>
                <a:cubicBezTo>
                  <a:pt x="4099" y="1264"/>
                  <a:pt x="4091" y="1252"/>
                  <a:pt x="4079" y="1252"/>
                </a:cubicBezTo>
                <a:close/>
                <a:moveTo>
                  <a:pt x="4392" y="2119"/>
                </a:moveTo>
                <a:cubicBezTo>
                  <a:pt x="4385" y="2120"/>
                  <a:pt x="4381" y="2124"/>
                  <a:pt x="4375" y="2127"/>
                </a:cubicBezTo>
                <a:cubicBezTo>
                  <a:pt x="4372" y="2129"/>
                  <a:pt x="4369" y="2131"/>
                  <a:pt x="4367" y="2132"/>
                </a:cubicBezTo>
                <a:cubicBezTo>
                  <a:pt x="4366" y="2133"/>
                  <a:pt x="4365" y="2133"/>
                  <a:pt x="4365" y="2133"/>
                </a:cubicBezTo>
                <a:cubicBezTo>
                  <a:pt x="4365" y="2133"/>
                  <a:pt x="4364" y="2133"/>
                  <a:pt x="4364" y="2133"/>
                </a:cubicBezTo>
                <a:cubicBezTo>
                  <a:pt x="4359" y="2132"/>
                  <a:pt x="4348" y="2127"/>
                  <a:pt x="4348" y="2127"/>
                </a:cubicBezTo>
                <a:cubicBezTo>
                  <a:pt x="4345" y="2126"/>
                  <a:pt x="4343" y="2127"/>
                  <a:pt x="4341" y="2129"/>
                </a:cubicBezTo>
                <a:cubicBezTo>
                  <a:pt x="4338" y="2132"/>
                  <a:pt x="4336" y="2136"/>
                  <a:pt x="4336" y="2140"/>
                </a:cubicBezTo>
                <a:cubicBezTo>
                  <a:pt x="4336" y="2148"/>
                  <a:pt x="4342" y="2151"/>
                  <a:pt x="4344" y="2154"/>
                </a:cubicBezTo>
                <a:cubicBezTo>
                  <a:pt x="4348" y="2157"/>
                  <a:pt x="4349" y="2158"/>
                  <a:pt x="4349" y="2160"/>
                </a:cubicBezTo>
                <a:cubicBezTo>
                  <a:pt x="4349" y="2161"/>
                  <a:pt x="4349" y="2161"/>
                  <a:pt x="4349" y="2162"/>
                </a:cubicBezTo>
                <a:cubicBezTo>
                  <a:pt x="4348" y="2163"/>
                  <a:pt x="4348" y="2165"/>
                  <a:pt x="4348" y="2166"/>
                </a:cubicBezTo>
                <a:cubicBezTo>
                  <a:pt x="4348" y="2170"/>
                  <a:pt x="4350" y="2175"/>
                  <a:pt x="4354" y="2177"/>
                </a:cubicBezTo>
                <a:cubicBezTo>
                  <a:pt x="4357" y="2179"/>
                  <a:pt x="4360" y="2179"/>
                  <a:pt x="4363" y="2179"/>
                </a:cubicBezTo>
                <a:cubicBezTo>
                  <a:pt x="4370" y="2179"/>
                  <a:pt x="4376" y="2177"/>
                  <a:pt x="4380" y="2175"/>
                </a:cubicBezTo>
                <a:cubicBezTo>
                  <a:pt x="4384" y="2173"/>
                  <a:pt x="4385" y="2171"/>
                  <a:pt x="4388" y="2167"/>
                </a:cubicBezTo>
                <a:cubicBezTo>
                  <a:pt x="4394" y="2157"/>
                  <a:pt x="4401" y="2140"/>
                  <a:pt x="4401" y="2129"/>
                </a:cubicBezTo>
                <a:cubicBezTo>
                  <a:pt x="4401" y="2128"/>
                  <a:pt x="4401" y="2127"/>
                  <a:pt x="4401" y="2125"/>
                </a:cubicBezTo>
                <a:cubicBezTo>
                  <a:pt x="4400" y="2122"/>
                  <a:pt x="4395" y="2119"/>
                  <a:pt x="4392" y="2119"/>
                </a:cubicBezTo>
                <a:close/>
                <a:moveTo>
                  <a:pt x="4086" y="1305"/>
                </a:moveTo>
                <a:cubicBezTo>
                  <a:pt x="4085" y="1304"/>
                  <a:pt x="4083" y="1303"/>
                  <a:pt x="4081" y="1304"/>
                </a:cubicBezTo>
                <a:cubicBezTo>
                  <a:pt x="4079" y="1304"/>
                  <a:pt x="4078" y="1305"/>
                  <a:pt x="4077" y="1306"/>
                </a:cubicBezTo>
                <a:cubicBezTo>
                  <a:pt x="4072" y="1313"/>
                  <a:pt x="4069" y="1318"/>
                  <a:pt x="4067" y="1320"/>
                </a:cubicBezTo>
                <a:cubicBezTo>
                  <a:pt x="4066" y="1321"/>
                  <a:pt x="4066" y="1322"/>
                  <a:pt x="4065" y="1322"/>
                </a:cubicBezTo>
                <a:cubicBezTo>
                  <a:pt x="4064" y="1321"/>
                  <a:pt x="4062" y="1320"/>
                  <a:pt x="4058" y="1318"/>
                </a:cubicBezTo>
                <a:cubicBezTo>
                  <a:pt x="4056" y="1317"/>
                  <a:pt x="4053" y="1316"/>
                  <a:pt x="4051" y="1316"/>
                </a:cubicBezTo>
                <a:cubicBezTo>
                  <a:pt x="4043" y="1316"/>
                  <a:pt x="4037" y="1320"/>
                  <a:pt x="4032" y="1324"/>
                </a:cubicBezTo>
                <a:cubicBezTo>
                  <a:pt x="4027" y="1329"/>
                  <a:pt x="4023" y="1334"/>
                  <a:pt x="4022" y="1341"/>
                </a:cubicBezTo>
                <a:cubicBezTo>
                  <a:pt x="4022" y="1342"/>
                  <a:pt x="4023" y="1344"/>
                  <a:pt x="4024" y="1346"/>
                </a:cubicBezTo>
                <a:cubicBezTo>
                  <a:pt x="4026" y="1350"/>
                  <a:pt x="4031" y="1351"/>
                  <a:pt x="4034" y="1352"/>
                </a:cubicBezTo>
                <a:cubicBezTo>
                  <a:pt x="4040" y="1352"/>
                  <a:pt x="4045" y="1352"/>
                  <a:pt x="4050" y="1353"/>
                </a:cubicBezTo>
                <a:cubicBezTo>
                  <a:pt x="4055" y="1353"/>
                  <a:pt x="4057" y="1355"/>
                  <a:pt x="4058" y="1356"/>
                </a:cubicBezTo>
                <a:cubicBezTo>
                  <a:pt x="4060" y="1361"/>
                  <a:pt x="4061" y="1364"/>
                  <a:pt x="4063" y="1367"/>
                </a:cubicBezTo>
                <a:cubicBezTo>
                  <a:pt x="4065" y="1370"/>
                  <a:pt x="4069" y="1372"/>
                  <a:pt x="4073" y="1372"/>
                </a:cubicBezTo>
                <a:cubicBezTo>
                  <a:pt x="4073" y="1372"/>
                  <a:pt x="4073" y="1372"/>
                  <a:pt x="4074" y="1372"/>
                </a:cubicBezTo>
                <a:cubicBezTo>
                  <a:pt x="4076" y="1372"/>
                  <a:pt x="4079" y="1371"/>
                  <a:pt x="4082" y="1371"/>
                </a:cubicBezTo>
                <a:cubicBezTo>
                  <a:pt x="4090" y="1369"/>
                  <a:pt x="4095" y="1363"/>
                  <a:pt x="4100" y="1357"/>
                </a:cubicBezTo>
                <a:cubicBezTo>
                  <a:pt x="4104" y="1351"/>
                  <a:pt x="4107" y="1344"/>
                  <a:pt x="4107" y="1337"/>
                </a:cubicBezTo>
                <a:cubicBezTo>
                  <a:pt x="4107" y="1335"/>
                  <a:pt x="4107" y="1333"/>
                  <a:pt x="4106" y="1331"/>
                </a:cubicBezTo>
                <a:cubicBezTo>
                  <a:pt x="4101" y="1319"/>
                  <a:pt x="4086" y="1306"/>
                  <a:pt x="4086" y="1305"/>
                </a:cubicBezTo>
                <a:close/>
                <a:moveTo>
                  <a:pt x="4425" y="1824"/>
                </a:moveTo>
                <a:cubicBezTo>
                  <a:pt x="4417" y="1815"/>
                  <a:pt x="4412" y="1805"/>
                  <a:pt x="4412" y="1803"/>
                </a:cubicBezTo>
                <a:cubicBezTo>
                  <a:pt x="4412" y="1803"/>
                  <a:pt x="4412" y="1803"/>
                  <a:pt x="4412" y="1803"/>
                </a:cubicBezTo>
                <a:cubicBezTo>
                  <a:pt x="4412" y="1802"/>
                  <a:pt x="4412" y="1802"/>
                  <a:pt x="4412" y="1802"/>
                </a:cubicBezTo>
                <a:cubicBezTo>
                  <a:pt x="4412" y="1802"/>
                  <a:pt x="4412" y="1801"/>
                  <a:pt x="4412" y="1801"/>
                </a:cubicBezTo>
                <a:cubicBezTo>
                  <a:pt x="4413" y="1796"/>
                  <a:pt x="4410" y="1792"/>
                  <a:pt x="4407" y="1789"/>
                </a:cubicBezTo>
                <a:cubicBezTo>
                  <a:pt x="4398" y="1782"/>
                  <a:pt x="4386" y="1781"/>
                  <a:pt x="4381" y="1775"/>
                </a:cubicBezTo>
                <a:cubicBezTo>
                  <a:pt x="4377" y="1772"/>
                  <a:pt x="4374" y="1764"/>
                  <a:pt x="4372" y="1753"/>
                </a:cubicBezTo>
                <a:cubicBezTo>
                  <a:pt x="4370" y="1743"/>
                  <a:pt x="4368" y="1732"/>
                  <a:pt x="4365" y="1722"/>
                </a:cubicBezTo>
                <a:cubicBezTo>
                  <a:pt x="4359" y="1704"/>
                  <a:pt x="4346" y="1693"/>
                  <a:pt x="4335" y="1678"/>
                </a:cubicBezTo>
                <a:cubicBezTo>
                  <a:pt x="4331" y="1672"/>
                  <a:pt x="4326" y="1661"/>
                  <a:pt x="4323" y="1651"/>
                </a:cubicBezTo>
                <a:cubicBezTo>
                  <a:pt x="4322" y="1646"/>
                  <a:pt x="4320" y="1642"/>
                  <a:pt x="4319" y="1638"/>
                </a:cubicBezTo>
                <a:cubicBezTo>
                  <a:pt x="4318" y="1636"/>
                  <a:pt x="4318" y="1635"/>
                  <a:pt x="4317" y="1633"/>
                </a:cubicBezTo>
                <a:cubicBezTo>
                  <a:pt x="4316" y="1633"/>
                  <a:pt x="4316" y="1631"/>
                  <a:pt x="4315" y="1630"/>
                </a:cubicBezTo>
                <a:cubicBezTo>
                  <a:pt x="4320" y="1627"/>
                  <a:pt x="4324" y="1621"/>
                  <a:pt x="4327" y="1615"/>
                </a:cubicBezTo>
                <a:cubicBezTo>
                  <a:pt x="4331" y="1607"/>
                  <a:pt x="4335" y="1599"/>
                  <a:pt x="4336" y="1597"/>
                </a:cubicBezTo>
                <a:cubicBezTo>
                  <a:pt x="4337" y="1596"/>
                  <a:pt x="4344" y="1593"/>
                  <a:pt x="4350" y="1593"/>
                </a:cubicBezTo>
                <a:cubicBezTo>
                  <a:pt x="4352" y="1593"/>
                  <a:pt x="4354" y="1594"/>
                  <a:pt x="4355" y="1594"/>
                </a:cubicBezTo>
                <a:cubicBezTo>
                  <a:pt x="4356" y="1595"/>
                  <a:pt x="4356" y="1595"/>
                  <a:pt x="4357" y="1596"/>
                </a:cubicBezTo>
                <a:cubicBezTo>
                  <a:pt x="4359" y="1610"/>
                  <a:pt x="4367" y="1624"/>
                  <a:pt x="4383" y="1633"/>
                </a:cubicBezTo>
                <a:cubicBezTo>
                  <a:pt x="4393" y="1639"/>
                  <a:pt x="4404" y="1646"/>
                  <a:pt x="4413" y="1646"/>
                </a:cubicBezTo>
                <a:cubicBezTo>
                  <a:pt x="4416" y="1647"/>
                  <a:pt x="4422" y="1644"/>
                  <a:pt x="4423" y="1639"/>
                </a:cubicBezTo>
                <a:cubicBezTo>
                  <a:pt x="4423" y="1638"/>
                  <a:pt x="4423" y="1637"/>
                  <a:pt x="4423" y="1636"/>
                </a:cubicBezTo>
                <a:cubicBezTo>
                  <a:pt x="4423" y="1630"/>
                  <a:pt x="4421" y="1622"/>
                  <a:pt x="4418" y="1614"/>
                </a:cubicBezTo>
                <a:cubicBezTo>
                  <a:pt x="4414" y="1606"/>
                  <a:pt x="4411" y="1599"/>
                  <a:pt x="4403" y="1595"/>
                </a:cubicBezTo>
                <a:cubicBezTo>
                  <a:pt x="4401" y="1594"/>
                  <a:pt x="4394" y="1588"/>
                  <a:pt x="4390" y="1580"/>
                </a:cubicBezTo>
                <a:cubicBezTo>
                  <a:pt x="4385" y="1574"/>
                  <a:pt x="4381" y="1565"/>
                  <a:pt x="4381" y="1563"/>
                </a:cubicBezTo>
                <a:cubicBezTo>
                  <a:pt x="4381" y="1555"/>
                  <a:pt x="4375" y="1550"/>
                  <a:pt x="4371" y="1547"/>
                </a:cubicBezTo>
                <a:cubicBezTo>
                  <a:pt x="4366" y="1544"/>
                  <a:pt x="4361" y="1542"/>
                  <a:pt x="4359" y="1540"/>
                </a:cubicBezTo>
                <a:cubicBezTo>
                  <a:pt x="4354" y="1536"/>
                  <a:pt x="4347" y="1513"/>
                  <a:pt x="4326" y="1508"/>
                </a:cubicBezTo>
                <a:cubicBezTo>
                  <a:pt x="4310" y="1504"/>
                  <a:pt x="4307" y="1498"/>
                  <a:pt x="4288" y="1486"/>
                </a:cubicBezTo>
                <a:cubicBezTo>
                  <a:pt x="4275" y="1479"/>
                  <a:pt x="4258" y="1477"/>
                  <a:pt x="4243" y="1477"/>
                </a:cubicBezTo>
                <a:cubicBezTo>
                  <a:pt x="4237" y="1477"/>
                  <a:pt x="4232" y="1477"/>
                  <a:pt x="4228" y="1478"/>
                </a:cubicBezTo>
                <a:cubicBezTo>
                  <a:pt x="4226" y="1478"/>
                  <a:pt x="4224" y="1479"/>
                  <a:pt x="4222" y="1480"/>
                </a:cubicBezTo>
                <a:cubicBezTo>
                  <a:pt x="4222" y="1480"/>
                  <a:pt x="4221" y="1481"/>
                  <a:pt x="4221" y="1481"/>
                </a:cubicBezTo>
                <a:cubicBezTo>
                  <a:pt x="4219" y="1479"/>
                  <a:pt x="4216" y="1478"/>
                  <a:pt x="4212" y="1476"/>
                </a:cubicBezTo>
                <a:cubicBezTo>
                  <a:pt x="4204" y="1473"/>
                  <a:pt x="4197" y="1473"/>
                  <a:pt x="4193" y="1473"/>
                </a:cubicBezTo>
                <a:cubicBezTo>
                  <a:pt x="4191" y="1472"/>
                  <a:pt x="4189" y="1472"/>
                  <a:pt x="4189" y="1472"/>
                </a:cubicBezTo>
                <a:cubicBezTo>
                  <a:pt x="4188" y="1471"/>
                  <a:pt x="4188" y="1472"/>
                  <a:pt x="4188" y="1470"/>
                </a:cubicBezTo>
                <a:cubicBezTo>
                  <a:pt x="4186" y="1464"/>
                  <a:pt x="4181" y="1458"/>
                  <a:pt x="4173" y="1458"/>
                </a:cubicBezTo>
                <a:cubicBezTo>
                  <a:pt x="4166" y="1458"/>
                  <a:pt x="4161" y="1462"/>
                  <a:pt x="4156" y="1468"/>
                </a:cubicBezTo>
                <a:cubicBezTo>
                  <a:pt x="4154" y="1471"/>
                  <a:pt x="4152" y="1473"/>
                  <a:pt x="4150" y="1474"/>
                </a:cubicBezTo>
                <a:cubicBezTo>
                  <a:pt x="4149" y="1476"/>
                  <a:pt x="4147" y="1478"/>
                  <a:pt x="4147" y="1482"/>
                </a:cubicBezTo>
                <a:cubicBezTo>
                  <a:pt x="4147" y="1484"/>
                  <a:pt x="4148" y="1487"/>
                  <a:pt x="4150" y="1488"/>
                </a:cubicBezTo>
                <a:cubicBezTo>
                  <a:pt x="4154" y="1491"/>
                  <a:pt x="4158" y="1491"/>
                  <a:pt x="4166" y="1493"/>
                </a:cubicBezTo>
                <a:cubicBezTo>
                  <a:pt x="4173" y="1495"/>
                  <a:pt x="4178" y="1496"/>
                  <a:pt x="4181" y="1497"/>
                </a:cubicBezTo>
                <a:cubicBezTo>
                  <a:pt x="4181" y="1497"/>
                  <a:pt x="4181" y="1497"/>
                  <a:pt x="4181" y="1497"/>
                </a:cubicBezTo>
                <a:cubicBezTo>
                  <a:pt x="4181" y="1497"/>
                  <a:pt x="4180" y="1498"/>
                  <a:pt x="4179" y="1499"/>
                </a:cubicBezTo>
                <a:cubicBezTo>
                  <a:pt x="4174" y="1507"/>
                  <a:pt x="4169" y="1516"/>
                  <a:pt x="4168" y="1524"/>
                </a:cubicBezTo>
                <a:cubicBezTo>
                  <a:pt x="4168" y="1528"/>
                  <a:pt x="4171" y="1534"/>
                  <a:pt x="4176" y="1535"/>
                </a:cubicBezTo>
                <a:cubicBezTo>
                  <a:pt x="4177" y="1535"/>
                  <a:pt x="4179" y="1535"/>
                  <a:pt x="4180" y="1535"/>
                </a:cubicBezTo>
                <a:cubicBezTo>
                  <a:pt x="4187" y="1535"/>
                  <a:pt x="4196" y="1533"/>
                  <a:pt x="4201" y="1533"/>
                </a:cubicBezTo>
                <a:cubicBezTo>
                  <a:pt x="4202" y="1533"/>
                  <a:pt x="4202" y="1533"/>
                  <a:pt x="4202" y="1533"/>
                </a:cubicBezTo>
                <a:cubicBezTo>
                  <a:pt x="4202" y="1533"/>
                  <a:pt x="4202" y="1535"/>
                  <a:pt x="4203" y="1537"/>
                </a:cubicBezTo>
                <a:cubicBezTo>
                  <a:pt x="4205" y="1540"/>
                  <a:pt x="4208" y="1541"/>
                  <a:pt x="4211" y="1543"/>
                </a:cubicBezTo>
                <a:cubicBezTo>
                  <a:pt x="4214" y="1544"/>
                  <a:pt x="4218" y="1545"/>
                  <a:pt x="4225" y="1546"/>
                </a:cubicBezTo>
                <a:cubicBezTo>
                  <a:pt x="4246" y="1550"/>
                  <a:pt x="4248" y="1557"/>
                  <a:pt x="4253" y="1563"/>
                </a:cubicBezTo>
                <a:cubicBezTo>
                  <a:pt x="4255" y="1565"/>
                  <a:pt x="4258" y="1569"/>
                  <a:pt x="4260" y="1572"/>
                </a:cubicBezTo>
                <a:cubicBezTo>
                  <a:pt x="4261" y="1574"/>
                  <a:pt x="4262" y="1576"/>
                  <a:pt x="4263" y="1577"/>
                </a:cubicBezTo>
                <a:cubicBezTo>
                  <a:pt x="4259" y="1578"/>
                  <a:pt x="4256" y="1580"/>
                  <a:pt x="4253" y="1583"/>
                </a:cubicBezTo>
                <a:cubicBezTo>
                  <a:pt x="4250" y="1586"/>
                  <a:pt x="4247" y="1590"/>
                  <a:pt x="4246" y="1595"/>
                </a:cubicBezTo>
                <a:cubicBezTo>
                  <a:pt x="4246" y="1599"/>
                  <a:pt x="4250" y="1603"/>
                  <a:pt x="4253" y="1604"/>
                </a:cubicBezTo>
                <a:cubicBezTo>
                  <a:pt x="4255" y="1604"/>
                  <a:pt x="4256" y="1605"/>
                  <a:pt x="4257" y="1605"/>
                </a:cubicBezTo>
                <a:cubicBezTo>
                  <a:pt x="4264" y="1605"/>
                  <a:pt x="4274" y="1604"/>
                  <a:pt x="4278" y="1604"/>
                </a:cubicBezTo>
                <a:cubicBezTo>
                  <a:pt x="4278" y="1604"/>
                  <a:pt x="4278" y="1604"/>
                  <a:pt x="4278" y="1604"/>
                </a:cubicBezTo>
                <a:cubicBezTo>
                  <a:pt x="4280" y="1604"/>
                  <a:pt x="4282" y="1612"/>
                  <a:pt x="4286" y="1618"/>
                </a:cubicBezTo>
                <a:cubicBezTo>
                  <a:pt x="4290" y="1624"/>
                  <a:pt x="4295" y="1631"/>
                  <a:pt x="4304" y="1633"/>
                </a:cubicBezTo>
                <a:cubicBezTo>
                  <a:pt x="4303" y="1635"/>
                  <a:pt x="4303" y="1636"/>
                  <a:pt x="4302" y="1638"/>
                </a:cubicBezTo>
                <a:cubicBezTo>
                  <a:pt x="4299" y="1647"/>
                  <a:pt x="4295" y="1662"/>
                  <a:pt x="4295" y="1675"/>
                </a:cubicBezTo>
                <a:cubicBezTo>
                  <a:pt x="4295" y="1682"/>
                  <a:pt x="4296" y="1688"/>
                  <a:pt x="4299" y="1693"/>
                </a:cubicBezTo>
                <a:cubicBezTo>
                  <a:pt x="4300" y="1695"/>
                  <a:pt x="4301" y="1698"/>
                  <a:pt x="4301" y="1701"/>
                </a:cubicBezTo>
                <a:cubicBezTo>
                  <a:pt x="4301" y="1712"/>
                  <a:pt x="4294" y="1729"/>
                  <a:pt x="4289" y="1742"/>
                </a:cubicBezTo>
                <a:cubicBezTo>
                  <a:pt x="4289" y="1743"/>
                  <a:pt x="4288" y="1744"/>
                  <a:pt x="4288" y="1744"/>
                </a:cubicBezTo>
                <a:cubicBezTo>
                  <a:pt x="4288" y="1744"/>
                  <a:pt x="4287" y="1744"/>
                  <a:pt x="4286" y="1743"/>
                </a:cubicBezTo>
                <a:cubicBezTo>
                  <a:pt x="4281" y="1740"/>
                  <a:pt x="4274" y="1733"/>
                  <a:pt x="4267" y="1728"/>
                </a:cubicBezTo>
                <a:cubicBezTo>
                  <a:pt x="4255" y="1719"/>
                  <a:pt x="4239" y="1713"/>
                  <a:pt x="4233" y="1705"/>
                </a:cubicBezTo>
                <a:cubicBezTo>
                  <a:pt x="4233" y="1705"/>
                  <a:pt x="4232" y="1705"/>
                  <a:pt x="4232" y="1704"/>
                </a:cubicBezTo>
                <a:cubicBezTo>
                  <a:pt x="4232" y="1701"/>
                  <a:pt x="4234" y="1694"/>
                  <a:pt x="4237" y="1688"/>
                </a:cubicBezTo>
                <a:cubicBezTo>
                  <a:pt x="4240" y="1681"/>
                  <a:pt x="4243" y="1675"/>
                  <a:pt x="4243" y="1668"/>
                </a:cubicBezTo>
                <a:cubicBezTo>
                  <a:pt x="4243" y="1666"/>
                  <a:pt x="4243" y="1663"/>
                  <a:pt x="4241" y="1661"/>
                </a:cubicBezTo>
                <a:cubicBezTo>
                  <a:pt x="4236" y="1654"/>
                  <a:pt x="4229" y="1653"/>
                  <a:pt x="4222" y="1653"/>
                </a:cubicBezTo>
                <a:cubicBezTo>
                  <a:pt x="4216" y="1653"/>
                  <a:pt x="4210" y="1654"/>
                  <a:pt x="4205" y="1655"/>
                </a:cubicBezTo>
                <a:cubicBezTo>
                  <a:pt x="4202" y="1655"/>
                  <a:pt x="4200" y="1656"/>
                  <a:pt x="4198" y="1656"/>
                </a:cubicBezTo>
                <a:cubicBezTo>
                  <a:pt x="4198" y="1656"/>
                  <a:pt x="4197" y="1656"/>
                  <a:pt x="4197" y="1656"/>
                </a:cubicBezTo>
                <a:cubicBezTo>
                  <a:pt x="4196" y="1655"/>
                  <a:pt x="4194" y="1653"/>
                  <a:pt x="4192" y="1650"/>
                </a:cubicBezTo>
                <a:cubicBezTo>
                  <a:pt x="4189" y="1647"/>
                  <a:pt x="4185" y="1643"/>
                  <a:pt x="4179" y="1643"/>
                </a:cubicBezTo>
                <a:cubicBezTo>
                  <a:pt x="4174" y="1643"/>
                  <a:pt x="4171" y="1646"/>
                  <a:pt x="4170" y="1649"/>
                </a:cubicBezTo>
                <a:cubicBezTo>
                  <a:pt x="4169" y="1652"/>
                  <a:pt x="4168" y="1655"/>
                  <a:pt x="4167" y="1659"/>
                </a:cubicBezTo>
                <a:cubicBezTo>
                  <a:pt x="4165" y="1656"/>
                  <a:pt x="4163" y="1653"/>
                  <a:pt x="4160" y="1650"/>
                </a:cubicBezTo>
                <a:cubicBezTo>
                  <a:pt x="4159" y="1649"/>
                  <a:pt x="4158" y="1648"/>
                  <a:pt x="4157" y="1647"/>
                </a:cubicBezTo>
                <a:cubicBezTo>
                  <a:pt x="4156" y="1646"/>
                  <a:pt x="4155" y="1645"/>
                  <a:pt x="4151" y="1644"/>
                </a:cubicBezTo>
                <a:cubicBezTo>
                  <a:pt x="4148" y="1644"/>
                  <a:pt x="4145" y="1648"/>
                  <a:pt x="4145" y="1649"/>
                </a:cubicBezTo>
                <a:cubicBezTo>
                  <a:pt x="4145" y="1650"/>
                  <a:pt x="4145" y="1651"/>
                  <a:pt x="4145" y="1652"/>
                </a:cubicBezTo>
                <a:cubicBezTo>
                  <a:pt x="4145" y="1654"/>
                  <a:pt x="4145" y="1657"/>
                  <a:pt x="4145" y="1659"/>
                </a:cubicBezTo>
                <a:cubicBezTo>
                  <a:pt x="4145" y="1663"/>
                  <a:pt x="4144" y="1668"/>
                  <a:pt x="4142" y="1671"/>
                </a:cubicBezTo>
                <a:cubicBezTo>
                  <a:pt x="4137" y="1677"/>
                  <a:pt x="4135" y="1679"/>
                  <a:pt x="4133" y="1683"/>
                </a:cubicBezTo>
                <a:cubicBezTo>
                  <a:pt x="4131" y="1686"/>
                  <a:pt x="4131" y="1688"/>
                  <a:pt x="4129" y="1695"/>
                </a:cubicBezTo>
                <a:cubicBezTo>
                  <a:pt x="4128" y="1697"/>
                  <a:pt x="4128" y="1699"/>
                  <a:pt x="4127" y="1699"/>
                </a:cubicBezTo>
                <a:cubicBezTo>
                  <a:pt x="4127" y="1699"/>
                  <a:pt x="4127" y="1700"/>
                  <a:pt x="4127" y="1700"/>
                </a:cubicBezTo>
                <a:cubicBezTo>
                  <a:pt x="4127" y="1700"/>
                  <a:pt x="4127" y="1700"/>
                  <a:pt x="4127" y="1700"/>
                </a:cubicBezTo>
                <a:cubicBezTo>
                  <a:pt x="4126" y="1700"/>
                  <a:pt x="4120" y="1696"/>
                  <a:pt x="4114" y="1688"/>
                </a:cubicBezTo>
                <a:cubicBezTo>
                  <a:pt x="4110" y="1682"/>
                  <a:pt x="4105" y="1679"/>
                  <a:pt x="4099" y="1678"/>
                </a:cubicBezTo>
                <a:cubicBezTo>
                  <a:pt x="4090" y="1679"/>
                  <a:pt x="4087" y="1685"/>
                  <a:pt x="4083" y="1686"/>
                </a:cubicBezTo>
                <a:cubicBezTo>
                  <a:pt x="4077" y="1691"/>
                  <a:pt x="4074" y="1698"/>
                  <a:pt x="4071" y="1705"/>
                </a:cubicBezTo>
                <a:cubicBezTo>
                  <a:pt x="4068" y="1712"/>
                  <a:pt x="4068" y="1720"/>
                  <a:pt x="4064" y="1721"/>
                </a:cubicBezTo>
                <a:cubicBezTo>
                  <a:pt x="4064" y="1721"/>
                  <a:pt x="4064" y="1721"/>
                  <a:pt x="4064" y="1721"/>
                </a:cubicBezTo>
                <a:cubicBezTo>
                  <a:pt x="4064" y="1722"/>
                  <a:pt x="4057" y="1726"/>
                  <a:pt x="4050" y="1729"/>
                </a:cubicBezTo>
                <a:cubicBezTo>
                  <a:pt x="4043" y="1732"/>
                  <a:pt x="4037" y="1735"/>
                  <a:pt x="4032" y="1740"/>
                </a:cubicBezTo>
                <a:cubicBezTo>
                  <a:pt x="4028" y="1745"/>
                  <a:pt x="4026" y="1753"/>
                  <a:pt x="4025" y="1760"/>
                </a:cubicBezTo>
                <a:cubicBezTo>
                  <a:pt x="4024" y="1766"/>
                  <a:pt x="4023" y="1772"/>
                  <a:pt x="4023" y="1775"/>
                </a:cubicBezTo>
                <a:cubicBezTo>
                  <a:pt x="4021" y="1776"/>
                  <a:pt x="4016" y="1777"/>
                  <a:pt x="4011" y="1777"/>
                </a:cubicBezTo>
                <a:cubicBezTo>
                  <a:pt x="4005" y="1778"/>
                  <a:pt x="3998" y="1779"/>
                  <a:pt x="3993" y="1783"/>
                </a:cubicBezTo>
                <a:cubicBezTo>
                  <a:pt x="3991" y="1785"/>
                  <a:pt x="3988" y="1786"/>
                  <a:pt x="3984" y="1786"/>
                </a:cubicBezTo>
                <a:cubicBezTo>
                  <a:pt x="3979" y="1786"/>
                  <a:pt x="3973" y="1785"/>
                  <a:pt x="3968" y="1785"/>
                </a:cubicBezTo>
                <a:cubicBezTo>
                  <a:pt x="3963" y="1785"/>
                  <a:pt x="3960" y="1787"/>
                  <a:pt x="3956" y="1790"/>
                </a:cubicBezTo>
                <a:cubicBezTo>
                  <a:pt x="3943" y="1798"/>
                  <a:pt x="3926" y="1814"/>
                  <a:pt x="3920" y="1819"/>
                </a:cubicBezTo>
                <a:cubicBezTo>
                  <a:pt x="3911" y="1826"/>
                  <a:pt x="3910" y="1837"/>
                  <a:pt x="3909" y="1847"/>
                </a:cubicBezTo>
                <a:cubicBezTo>
                  <a:pt x="3910" y="1854"/>
                  <a:pt x="3910" y="1861"/>
                  <a:pt x="3914" y="1866"/>
                </a:cubicBezTo>
                <a:cubicBezTo>
                  <a:pt x="3917" y="1870"/>
                  <a:pt x="3922" y="1881"/>
                  <a:pt x="3922" y="1884"/>
                </a:cubicBezTo>
                <a:cubicBezTo>
                  <a:pt x="3917" y="1888"/>
                  <a:pt x="3916" y="1895"/>
                  <a:pt x="3915" y="1902"/>
                </a:cubicBezTo>
                <a:cubicBezTo>
                  <a:pt x="3915" y="1911"/>
                  <a:pt x="3918" y="1921"/>
                  <a:pt x="3927" y="1931"/>
                </a:cubicBezTo>
                <a:cubicBezTo>
                  <a:pt x="3935" y="1942"/>
                  <a:pt x="3935" y="1945"/>
                  <a:pt x="3935" y="1949"/>
                </a:cubicBezTo>
                <a:cubicBezTo>
                  <a:pt x="3935" y="1950"/>
                  <a:pt x="3935" y="1951"/>
                  <a:pt x="3935" y="1953"/>
                </a:cubicBezTo>
                <a:cubicBezTo>
                  <a:pt x="3935" y="1954"/>
                  <a:pt x="3935" y="1955"/>
                  <a:pt x="3936" y="1957"/>
                </a:cubicBezTo>
                <a:cubicBezTo>
                  <a:pt x="3936" y="1962"/>
                  <a:pt x="3939" y="1967"/>
                  <a:pt x="3942" y="1970"/>
                </a:cubicBezTo>
                <a:cubicBezTo>
                  <a:pt x="3945" y="1974"/>
                  <a:pt x="3948" y="1978"/>
                  <a:pt x="3953" y="1984"/>
                </a:cubicBezTo>
                <a:cubicBezTo>
                  <a:pt x="3953" y="1985"/>
                  <a:pt x="3954" y="1986"/>
                  <a:pt x="3954" y="1987"/>
                </a:cubicBezTo>
                <a:cubicBezTo>
                  <a:pt x="3954" y="1989"/>
                  <a:pt x="3951" y="1993"/>
                  <a:pt x="3946" y="1997"/>
                </a:cubicBezTo>
                <a:cubicBezTo>
                  <a:pt x="3941" y="2002"/>
                  <a:pt x="3936" y="2005"/>
                  <a:pt x="3932" y="2012"/>
                </a:cubicBezTo>
                <a:cubicBezTo>
                  <a:pt x="3932" y="2013"/>
                  <a:pt x="3931" y="2015"/>
                  <a:pt x="3931" y="2017"/>
                </a:cubicBezTo>
                <a:cubicBezTo>
                  <a:pt x="3932" y="2030"/>
                  <a:pt x="3943" y="2039"/>
                  <a:pt x="3949" y="2046"/>
                </a:cubicBezTo>
                <a:cubicBezTo>
                  <a:pt x="3953" y="2050"/>
                  <a:pt x="3959" y="2051"/>
                  <a:pt x="3965" y="2051"/>
                </a:cubicBezTo>
                <a:cubicBezTo>
                  <a:pt x="3974" y="2051"/>
                  <a:pt x="3983" y="2049"/>
                  <a:pt x="3990" y="2046"/>
                </a:cubicBezTo>
                <a:cubicBezTo>
                  <a:pt x="3996" y="2043"/>
                  <a:pt x="4002" y="2039"/>
                  <a:pt x="4007" y="2036"/>
                </a:cubicBezTo>
                <a:cubicBezTo>
                  <a:pt x="4012" y="2032"/>
                  <a:pt x="4016" y="2030"/>
                  <a:pt x="4017" y="2030"/>
                </a:cubicBezTo>
                <a:cubicBezTo>
                  <a:pt x="4020" y="2029"/>
                  <a:pt x="4030" y="2028"/>
                  <a:pt x="4039" y="2028"/>
                </a:cubicBezTo>
                <a:cubicBezTo>
                  <a:pt x="4048" y="2027"/>
                  <a:pt x="4056" y="2027"/>
                  <a:pt x="4056" y="2027"/>
                </a:cubicBezTo>
                <a:cubicBezTo>
                  <a:pt x="4058" y="2027"/>
                  <a:pt x="4060" y="2026"/>
                  <a:pt x="4061" y="2024"/>
                </a:cubicBezTo>
                <a:cubicBezTo>
                  <a:pt x="4061" y="2024"/>
                  <a:pt x="4072" y="2003"/>
                  <a:pt x="4080" y="1993"/>
                </a:cubicBezTo>
                <a:cubicBezTo>
                  <a:pt x="4081" y="1991"/>
                  <a:pt x="4084" y="1990"/>
                  <a:pt x="4089" y="1990"/>
                </a:cubicBezTo>
                <a:cubicBezTo>
                  <a:pt x="4093" y="1990"/>
                  <a:pt x="4097" y="1991"/>
                  <a:pt x="4101" y="1992"/>
                </a:cubicBezTo>
                <a:cubicBezTo>
                  <a:pt x="4104" y="1993"/>
                  <a:pt x="4106" y="1993"/>
                  <a:pt x="4106" y="1993"/>
                </a:cubicBezTo>
                <a:cubicBezTo>
                  <a:pt x="4108" y="1994"/>
                  <a:pt x="4110" y="1994"/>
                  <a:pt x="4112" y="1993"/>
                </a:cubicBezTo>
                <a:cubicBezTo>
                  <a:pt x="4112" y="1993"/>
                  <a:pt x="4113" y="1992"/>
                  <a:pt x="4114" y="1992"/>
                </a:cubicBezTo>
                <a:cubicBezTo>
                  <a:pt x="4117" y="1989"/>
                  <a:pt x="4128" y="1984"/>
                  <a:pt x="4148" y="1978"/>
                </a:cubicBezTo>
                <a:cubicBezTo>
                  <a:pt x="4153" y="1977"/>
                  <a:pt x="4156" y="1977"/>
                  <a:pt x="4158" y="1977"/>
                </a:cubicBezTo>
                <a:cubicBezTo>
                  <a:pt x="4161" y="1977"/>
                  <a:pt x="4161" y="1977"/>
                  <a:pt x="4161" y="1977"/>
                </a:cubicBezTo>
                <a:cubicBezTo>
                  <a:pt x="4161" y="1977"/>
                  <a:pt x="4161" y="1977"/>
                  <a:pt x="4161" y="1977"/>
                </a:cubicBezTo>
                <a:cubicBezTo>
                  <a:pt x="4162" y="1978"/>
                  <a:pt x="4163" y="1986"/>
                  <a:pt x="4171" y="1989"/>
                </a:cubicBezTo>
                <a:cubicBezTo>
                  <a:pt x="4182" y="1994"/>
                  <a:pt x="4195" y="1997"/>
                  <a:pt x="4201" y="2002"/>
                </a:cubicBezTo>
                <a:cubicBezTo>
                  <a:pt x="4202" y="2003"/>
                  <a:pt x="4202" y="2004"/>
                  <a:pt x="4203" y="2007"/>
                </a:cubicBezTo>
                <a:cubicBezTo>
                  <a:pt x="4203" y="2012"/>
                  <a:pt x="4199" y="2021"/>
                  <a:pt x="4198" y="2027"/>
                </a:cubicBezTo>
                <a:cubicBezTo>
                  <a:pt x="4198" y="2027"/>
                  <a:pt x="4198" y="2028"/>
                  <a:pt x="4198" y="2028"/>
                </a:cubicBezTo>
                <a:cubicBezTo>
                  <a:pt x="4198" y="2032"/>
                  <a:pt x="4201" y="2036"/>
                  <a:pt x="4203" y="2036"/>
                </a:cubicBezTo>
                <a:cubicBezTo>
                  <a:pt x="4206" y="2038"/>
                  <a:pt x="4208" y="2038"/>
                  <a:pt x="4210" y="2038"/>
                </a:cubicBezTo>
                <a:cubicBezTo>
                  <a:pt x="4214" y="2038"/>
                  <a:pt x="4218" y="2037"/>
                  <a:pt x="4222" y="2036"/>
                </a:cubicBezTo>
                <a:cubicBezTo>
                  <a:pt x="4225" y="2034"/>
                  <a:pt x="4229" y="2032"/>
                  <a:pt x="4231" y="2026"/>
                </a:cubicBezTo>
                <a:cubicBezTo>
                  <a:pt x="4231" y="2022"/>
                  <a:pt x="4234" y="2017"/>
                  <a:pt x="4243" y="2011"/>
                </a:cubicBezTo>
                <a:cubicBezTo>
                  <a:pt x="4243" y="2013"/>
                  <a:pt x="4242" y="2015"/>
                  <a:pt x="4242" y="2018"/>
                </a:cubicBezTo>
                <a:cubicBezTo>
                  <a:pt x="4242" y="2022"/>
                  <a:pt x="4243" y="2026"/>
                  <a:pt x="4244" y="2030"/>
                </a:cubicBezTo>
                <a:cubicBezTo>
                  <a:pt x="4245" y="2032"/>
                  <a:pt x="4246" y="2033"/>
                  <a:pt x="4247" y="2034"/>
                </a:cubicBezTo>
                <a:cubicBezTo>
                  <a:pt x="4248" y="2036"/>
                  <a:pt x="4250" y="2037"/>
                  <a:pt x="4253" y="2037"/>
                </a:cubicBezTo>
                <a:cubicBezTo>
                  <a:pt x="4255" y="2037"/>
                  <a:pt x="4257" y="2036"/>
                  <a:pt x="4258" y="2035"/>
                </a:cubicBezTo>
                <a:cubicBezTo>
                  <a:pt x="4259" y="2037"/>
                  <a:pt x="4260" y="2038"/>
                  <a:pt x="4260" y="2039"/>
                </a:cubicBezTo>
                <a:cubicBezTo>
                  <a:pt x="4262" y="2043"/>
                  <a:pt x="4264" y="2044"/>
                  <a:pt x="4266" y="2045"/>
                </a:cubicBezTo>
                <a:cubicBezTo>
                  <a:pt x="4269" y="2047"/>
                  <a:pt x="4271" y="2048"/>
                  <a:pt x="4273" y="2050"/>
                </a:cubicBezTo>
                <a:cubicBezTo>
                  <a:pt x="4275" y="2052"/>
                  <a:pt x="4276" y="2053"/>
                  <a:pt x="4276" y="2057"/>
                </a:cubicBezTo>
                <a:cubicBezTo>
                  <a:pt x="4276" y="2064"/>
                  <a:pt x="4276" y="2069"/>
                  <a:pt x="4277" y="2074"/>
                </a:cubicBezTo>
                <a:cubicBezTo>
                  <a:pt x="4277" y="2078"/>
                  <a:pt x="4278" y="2083"/>
                  <a:pt x="4282" y="2086"/>
                </a:cubicBezTo>
                <a:cubicBezTo>
                  <a:pt x="4285" y="2089"/>
                  <a:pt x="4287" y="2088"/>
                  <a:pt x="4290" y="2089"/>
                </a:cubicBezTo>
                <a:cubicBezTo>
                  <a:pt x="4297" y="2090"/>
                  <a:pt x="4305" y="2091"/>
                  <a:pt x="4310" y="2101"/>
                </a:cubicBezTo>
                <a:cubicBezTo>
                  <a:pt x="4313" y="2107"/>
                  <a:pt x="4316" y="2111"/>
                  <a:pt x="4323" y="2112"/>
                </a:cubicBezTo>
                <a:cubicBezTo>
                  <a:pt x="4329" y="2111"/>
                  <a:pt x="4332" y="2107"/>
                  <a:pt x="4334" y="2104"/>
                </a:cubicBezTo>
                <a:cubicBezTo>
                  <a:pt x="4336" y="2101"/>
                  <a:pt x="4338" y="2100"/>
                  <a:pt x="4339" y="2096"/>
                </a:cubicBezTo>
                <a:cubicBezTo>
                  <a:pt x="4339" y="2096"/>
                  <a:pt x="4339" y="2096"/>
                  <a:pt x="4339" y="2096"/>
                </a:cubicBezTo>
                <a:cubicBezTo>
                  <a:pt x="4342" y="2096"/>
                  <a:pt x="4353" y="2102"/>
                  <a:pt x="4355" y="2105"/>
                </a:cubicBezTo>
                <a:cubicBezTo>
                  <a:pt x="4356" y="2107"/>
                  <a:pt x="4359" y="2108"/>
                  <a:pt x="4362" y="2108"/>
                </a:cubicBezTo>
                <a:cubicBezTo>
                  <a:pt x="4369" y="2107"/>
                  <a:pt x="4372" y="2103"/>
                  <a:pt x="4378" y="2100"/>
                </a:cubicBezTo>
                <a:cubicBezTo>
                  <a:pt x="4383" y="2096"/>
                  <a:pt x="4389" y="2092"/>
                  <a:pt x="4396" y="2090"/>
                </a:cubicBezTo>
                <a:cubicBezTo>
                  <a:pt x="4404" y="2087"/>
                  <a:pt x="4408" y="2086"/>
                  <a:pt x="4412" y="2084"/>
                </a:cubicBezTo>
                <a:cubicBezTo>
                  <a:pt x="4416" y="2082"/>
                  <a:pt x="4417" y="2078"/>
                  <a:pt x="4419" y="2075"/>
                </a:cubicBezTo>
                <a:cubicBezTo>
                  <a:pt x="4424" y="2064"/>
                  <a:pt x="4427" y="2043"/>
                  <a:pt x="4437" y="2028"/>
                </a:cubicBezTo>
                <a:cubicBezTo>
                  <a:pt x="4447" y="2011"/>
                  <a:pt x="4462" y="1982"/>
                  <a:pt x="4462" y="1957"/>
                </a:cubicBezTo>
                <a:cubicBezTo>
                  <a:pt x="4462" y="1935"/>
                  <a:pt x="4461" y="1884"/>
                  <a:pt x="4447" y="1858"/>
                </a:cubicBezTo>
                <a:cubicBezTo>
                  <a:pt x="4441" y="1846"/>
                  <a:pt x="4432" y="1834"/>
                  <a:pt x="4425" y="1824"/>
                </a:cubicBezTo>
                <a:close/>
                <a:moveTo>
                  <a:pt x="4055" y="1637"/>
                </a:moveTo>
                <a:cubicBezTo>
                  <a:pt x="4057" y="1639"/>
                  <a:pt x="4060" y="1640"/>
                  <a:pt x="4062" y="1640"/>
                </a:cubicBezTo>
                <a:cubicBezTo>
                  <a:pt x="4062" y="1640"/>
                  <a:pt x="4062" y="1640"/>
                  <a:pt x="4062" y="1640"/>
                </a:cubicBezTo>
                <a:cubicBezTo>
                  <a:pt x="4069" y="1640"/>
                  <a:pt x="4074" y="1635"/>
                  <a:pt x="4079" y="1632"/>
                </a:cubicBezTo>
                <a:cubicBezTo>
                  <a:pt x="4082" y="1629"/>
                  <a:pt x="4085" y="1627"/>
                  <a:pt x="4086" y="1626"/>
                </a:cubicBezTo>
                <a:cubicBezTo>
                  <a:pt x="4088" y="1625"/>
                  <a:pt x="4091" y="1624"/>
                  <a:pt x="4095" y="1623"/>
                </a:cubicBezTo>
                <a:cubicBezTo>
                  <a:pt x="4097" y="1622"/>
                  <a:pt x="4100" y="1620"/>
                  <a:pt x="4103" y="1618"/>
                </a:cubicBezTo>
                <a:cubicBezTo>
                  <a:pt x="4105" y="1616"/>
                  <a:pt x="4108" y="1612"/>
                  <a:pt x="4108" y="1607"/>
                </a:cubicBezTo>
                <a:cubicBezTo>
                  <a:pt x="4107" y="1601"/>
                  <a:pt x="4104" y="1596"/>
                  <a:pt x="4100" y="1592"/>
                </a:cubicBezTo>
                <a:cubicBezTo>
                  <a:pt x="4095" y="1589"/>
                  <a:pt x="4090" y="1586"/>
                  <a:pt x="4084" y="1586"/>
                </a:cubicBezTo>
                <a:cubicBezTo>
                  <a:pt x="4079" y="1586"/>
                  <a:pt x="4074" y="1588"/>
                  <a:pt x="4071" y="1593"/>
                </a:cubicBezTo>
                <a:cubicBezTo>
                  <a:pt x="4068" y="1598"/>
                  <a:pt x="4064" y="1603"/>
                  <a:pt x="4060" y="1608"/>
                </a:cubicBezTo>
                <a:cubicBezTo>
                  <a:pt x="4056" y="1614"/>
                  <a:pt x="4052" y="1619"/>
                  <a:pt x="4052" y="1627"/>
                </a:cubicBezTo>
                <a:cubicBezTo>
                  <a:pt x="4052" y="1627"/>
                  <a:pt x="4052" y="1628"/>
                  <a:pt x="4052" y="1629"/>
                </a:cubicBezTo>
                <a:cubicBezTo>
                  <a:pt x="4052" y="1632"/>
                  <a:pt x="4053" y="1634"/>
                  <a:pt x="4055" y="1637"/>
                </a:cubicBezTo>
                <a:close/>
                <a:moveTo>
                  <a:pt x="4022" y="1470"/>
                </a:moveTo>
                <a:cubicBezTo>
                  <a:pt x="4023" y="1470"/>
                  <a:pt x="4024" y="1470"/>
                  <a:pt x="4025" y="1470"/>
                </a:cubicBezTo>
                <a:cubicBezTo>
                  <a:pt x="4038" y="1469"/>
                  <a:pt x="4065" y="1464"/>
                  <a:pt x="4069" y="1464"/>
                </a:cubicBezTo>
                <a:cubicBezTo>
                  <a:pt x="4076" y="1464"/>
                  <a:pt x="4079" y="1459"/>
                  <a:pt x="4081" y="1455"/>
                </a:cubicBezTo>
                <a:cubicBezTo>
                  <a:pt x="4084" y="1451"/>
                  <a:pt x="4086" y="1447"/>
                  <a:pt x="4086" y="1442"/>
                </a:cubicBezTo>
                <a:cubicBezTo>
                  <a:pt x="4086" y="1441"/>
                  <a:pt x="4086" y="1440"/>
                  <a:pt x="4085" y="1438"/>
                </a:cubicBezTo>
                <a:cubicBezTo>
                  <a:pt x="4083" y="1436"/>
                  <a:pt x="4081" y="1434"/>
                  <a:pt x="4078" y="1434"/>
                </a:cubicBezTo>
                <a:cubicBezTo>
                  <a:pt x="4072" y="1435"/>
                  <a:pt x="4043" y="1441"/>
                  <a:pt x="4036" y="1443"/>
                </a:cubicBezTo>
                <a:cubicBezTo>
                  <a:pt x="4036" y="1443"/>
                  <a:pt x="4036" y="1443"/>
                  <a:pt x="4036" y="1443"/>
                </a:cubicBezTo>
                <a:cubicBezTo>
                  <a:pt x="4033" y="1443"/>
                  <a:pt x="4028" y="1442"/>
                  <a:pt x="4023" y="1442"/>
                </a:cubicBezTo>
                <a:cubicBezTo>
                  <a:pt x="4019" y="1441"/>
                  <a:pt x="4015" y="1440"/>
                  <a:pt x="4015" y="1440"/>
                </a:cubicBezTo>
                <a:cubicBezTo>
                  <a:pt x="4013" y="1440"/>
                  <a:pt x="4011" y="1440"/>
                  <a:pt x="4009" y="1442"/>
                </a:cubicBezTo>
                <a:cubicBezTo>
                  <a:pt x="4006" y="1446"/>
                  <a:pt x="4004" y="1450"/>
                  <a:pt x="4004" y="1455"/>
                </a:cubicBezTo>
                <a:cubicBezTo>
                  <a:pt x="4004" y="1459"/>
                  <a:pt x="4006" y="1463"/>
                  <a:pt x="4010" y="1466"/>
                </a:cubicBezTo>
                <a:cubicBezTo>
                  <a:pt x="4013" y="1469"/>
                  <a:pt x="4017" y="1470"/>
                  <a:pt x="4022" y="1470"/>
                </a:cubicBezTo>
                <a:close/>
                <a:moveTo>
                  <a:pt x="4825" y="1720"/>
                </a:moveTo>
                <a:cubicBezTo>
                  <a:pt x="4825" y="1720"/>
                  <a:pt x="4825" y="1720"/>
                  <a:pt x="4825" y="1720"/>
                </a:cubicBezTo>
                <a:cubicBezTo>
                  <a:pt x="4824" y="1720"/>
                  <a:pt x="4822" y="1719"/>
                  <a:pt x="4821" y="1719"/>
                </a:cubicBezTo>
                <a:cubicBezTo>
                  <a:pt x="4816" y="1720"/>
                  <a:pt x="4812" y="1722"/>
                  <a:pt x="4808" y="1725"/>
                </a:cubicBezTo>
                <a:cubicBezTo>
                  <a:pt x="4797" y="1735"/>
                  <a:pt x="4787" y="1751"/>
                  <a:pt x="4787" y="1752"/>
                </a:cubicBezTo>
                <a:cubicBezTo>
                  <a:pt x="4786" y="1753"/>
                  <a:pt x="4786" y="1755"/>
                  <a:pt x="4786" y="1757"/>
                </a:cubicBezTo>
                <a:cubicBezTo>
                  <a:pt x="4787" y="1758"/>
                  <a:pt x="4788" y="1759"/>
                  <a:pt x="4789" y="1759"/>
                </a:cubicBezTo>
                <a:cubicBezTo>
                  <a:pt x="4792" y="1760"/>
                  <a:pt x="4794" y="1760"/>
                  <a:pt x="4796" y="1760"/>
                </a:cubicBezTo>
                <a:cubicBezTo>
                  <a:pt x="4797" y="1760"/>
                  <a:pt x="4797" y="1760"/>
                  <a:pt x="4797" y="1760"/>
                </a:cubicBezTo>
                <a:cubicBezTo>
                  <a:pt x="4806" y="1760"/>
                  <a:pt x="4813" y="1755"/>
                  <a:pt x="4820" y="1749"/>
                </a:cubicBezTo>
                <a:cubicBezTo>
                  <a:pt x="4826" y="1743"/>
                  <a:pt x="4831" y="1737"/>
                  <a:pt x="4831" y="1729"/>
                </a:cubicBezTo>
                <a:cubicBezTo>
                  <a:pt x="4832" y="1726"/>
                  <a:pt x="4829" y="1722"/>
                  <a:pt x="4825" y="1720"/>
                </a:cubicBezTo>
                <a:close/>
                <a:moveTo>
                  <a:pt x="4791" y="2070"/>
                </a:moveTo>
                <a:cubicBezTo>
                  <a:pt x="4787" y="2070"/>
                  <a:pt x="4785" y="2072"/>
                  <a:pt x="4784" y="2072"/>
                </a:cubicBezTo>
                <a:cubicBezTo>
                  <a:pt x="4782" y="2073"/>
                  <a:pt x="4782" y="2073"/>
                  <a:pt x="4782" y="2073"/>
                </a:cubicBezTo>
                <a:cubicBezTo>
                  <a:pt x="4781" y="2073"/>
                  <a:pt x="4780" y="2073"/>
                  <a:pt x="4777" y="2071"/>
                </a:cubicBezTo>
                <a:cubicBezTo>
                  <a:pt x="4771" y="2067"/>
                  <a:pt x="4770" y="2066"/>
                  <a:pt x="4769" y="2066"/>
                </a:cubicBezTo>
                <a:cubicBezTo>
                  <a:pt x="4769" y="2065"/>
                  <a:pt x="4767" y="2062"/>
                  <a:pt x="4764" y="2055"/>
                </a:cubicBezTo>
                <a:cubicBezTo>
                  <a:pt x="4761" y="2050"/>
                  <a:pt x="4759" y="2044"/>
                  <a:pt x="4757" y="2038"/>
                </a:cubicBezTo>
                <a:cubicBezTo>
                  <a:pt x="4756" y="2035"/>
                  <a:pt x="4755" y="2033"/>
                  <a:pt x="4753" y="2030"/>
                </a:cubicBezTo>
                <a:cubicBezTo>
                  <a:pt x="4751" y="2028"/>
                  <a:pt x="4748" y="2026"/>
                  <a:pt x="4744" y="2026"/>
                </a:cubicBezTo>
                <a:cubicBezTo>
                  <a:pt x="4741" y="2026"/>
                  <a:pt x="4738" y="2027"/>
                  <a:pt x="4736" y="2028"/>
                </a:cubicBezTo>
                <a:cubicBezTo>
                  <a:pt x="4731" y="2031"/>
                  <a:pt x="4731" y="2035"/>
                  <a:pt x="4731" y="2038"/>
                </a:cubicBezTo>
                <a:cubicBezTo>
                  <a:pt x="4731" y="2046"/>
                  <a:pt x="4734" y="2055"/>
                  <a:pt x="4739" y="2061"/>
                </a:cubicBezTo>
                <a:cubicBezTo>
                  <a:pt x="4740" y="2061"/>
                  <a:pt x="4741" y="2065"/>
                  <a:pt x="4742" y="2070"/>
                </a:cubicBezTo>
                <a:cubicBezTo>
                  <a:pt x="4743" y="2074"/>
                  <a:pt x="4744" y="2080"/>
                  <a:pt x="4744" y="2083"/>
                </a:cubicBezTo>
                <a:cubicBezTo>
                  <a:pt x="4744" y="2084"/>
                  <a:pt x="4743" y="2085"/>
                  <a:pt x="4743" y="2085"/>
                </a:cubicBezTo>
                <a:cubicBezTo>
                  <a:pt x="4743" y="2086"/>
                  <a:pt x="4740" y="2088"/>
                  <a:pt x="4737" y="2091"/>
                </a:cubicBezTo>
                <a:cubicBezTo>
                  <a:pt x="4734" y="2093"/>
                  <a:pt x="4730" y="2096"/>
                  <a:pt x="4729" y="2102"/>
                </a:cubicBezTo>
                <a:cubicBezTo>
                  <a:pt x="4729" y="2106"/>
                  <a:pt x="4732" y="2109"/>
                  <a:pt x="4734" y="2111"/>
                </a:cubicBezTo>
                <a:cubicBezTo>
                  <a:pt x="4741" y="2116"/>
                  <a:pt x="4748" y="2116"/>
                  <a:pt x="4753" y="2116"/>
                </a:cubicBezTo>
                <a:cubicBezTo>
                  <a:pt x="4754" y="2116"/>
                  <a:pt x="4754" y="2116"/>
                  <a:pt x="4755" y="2116"/>
                </a:cubicBezTo>
                <a:cubicBezTo>
                  <a:pt x="4753" y="2120"/>
                  <a:pt x="4750" y="2125"/>
                  <a:pt x="4750" y="2131"/>
                </a:cubicBezTo>
                <a:cubicBezTo>
                  <a:pt x="4749" y="2129"/>
                  <a:pt x="4747" y="2127"/>
                  <a:pt x="4744" y="2125"/>
                </a:cubicBezTo>
                <a:cubicBezTo>
                  <a:pt x="4743" y="2123"/>
                  <a:pt x="4740" y="2121"/>
                  <a:pt x="4738" y="2119"/>
                </a:cubicBezTo>
                <a:cubicBezTo>
                  <a:pt x="4736" y="2117"/>
                  <a:pt x="4735" y="2115"/>
                  <a:pt x="4730" y="2115"/>
                </a:cubicBezTo>
                <a:cubicBezTo>
                  <a:pt x="4728" y="2114"/>
                  <a:pt x="4724" y="2118"/>
                  <a:pt x="4724" y="2120"/>
                </a:cubicBezTo>
                <a:cubicBezTo>
                  <a:pt x="4724" y="2121"/>
                  <a:pt x="4722" y="2122"/>
                  <a:pt x="4719" y="2124"/>
                </a:cubicBezTo>
                <a:cubicBezTo>
                  <a:pt x="4716" y="2126"/>
                  <a:pt x="4711" y="2128"/>
                  <a:pt x="4707" y="2132"/>
                </a:cubicBezTo>
                <a:cubicBezTo>
                  <a:pt x="4703" y="2137"/>
                  <a:pt x="4702" y="2141"/>
                  <a:pt x="4701" y="2143"/>
                </a:cubicBezTo>
                <a:cubicBezTo>
                  <a:pt x="4700" y="2145"/>
                  <a:pt x="4698" y="2148"/>
                  <a:pt x="4688" y="2155"/>
                </a:cubicBezTo>
                <a:cubicBezTo>
                  <a:pt x="4669" y="2169"/>
                  <a:pt x="4645" y="2183"/>
                  <a:pt x="4638" y="2199"/>
                </a:cubicBezTo>
                <a:cubicBezTo>
                  <a:pt x="4637" y="2202"/>
                  <a:pt x="4636" y="2205"/>
                  <a:pt x="4636" y="2207"/>
                </a:cubicBezTo>
                <a:cubicBezTo>
                  <a:pt x="4636" y="2214"/>
                  <a:pt x="4640" y="2220"/>
                  <a:pt x="4646" y="2223"/>
                </a:cubicBezTo>
                <a:cubicBezTo>
                  <a:pt x="4651" y="2226"/>
                  <a:pt x="4658" y="2228"/>
                  <a:pt x="4666" y="2228"/>
                </a:cubicBezTo>
                <a:cubicBezTo>
                  <a:pt x="4673" y="2229"/>
                  <a:pt x="4676" y="2230"/>
                  <a:pt x="4680" y="2230"/>
                </a:cubicBezTo>
                <a:cubicBezTo>
                  <a:pt x="4680" y="2230"/>
                  <a:pt x="4680" y="2230"/>
                  <a:pt x="4680" y="2230"/>
                </a:cubicBezTo>
                <a:cubicBezTo>
                  <a:pt x="4684" y="2230"/>
                  <a:pt x="4687" y="2228"/>
                  <a:pt x="4689" y="2225"/>
                </a:cubicBezTo>
                <a:cubicBezTo>
                  <a:pt x="4692" y="2223"/>
                  <a:pt x="4694" y="2220"/>
                  <a:pt x="4698" y="2215"/>
                </a:cubicBezTo>
                <a:cubicBezTo>
                  <a:pt x="4710" y="2199"/>
                  <a:pt x="4721" y="2189"/>
                  <a:pt x="4736" y="2176"/>
                </a:cubicBezTo>
                <a:cubicBezTo>
                  <a:pt x="4750" y="2162"/>
                  <a:pt x="4753" y="2145"/>
                  <a:pt x="4753" y="2139"/>
                </a:cubicBezTo>
                <a:cubicBezTo>
                  <a:pt x="4755" y="2141"/>
                  <a:pt x="4757" y="2142"/>
                  <a:pt x="4759" y="2143"/>
                </a:cubicBezTo>
                <a:cubicBezTo>
                  <a:pt x="4761" y="2143"/>
                  <a:pt x="4762" y="2143"/>
                  <a:pt x="4764" y="2143"/>
                </a:cubicBezTo>
                <a:cubicBezTo>
                  <a:pt x="4771" y="2143"/>
                  <a:pt x="4775" y="2138"/>
                  <a:pt x="4778" y="2134"/>
                </a:cubicBezTo>
                <a:cubicBezTo>
                  <a:pt x="4781" y="2129"/>
                  <a:pt x="4783" y="2124"/>
                  <a:pt x="4785" y="2120"/>
                </a:cubicBezTo>
                <a:cubicBezTo>
                  <a:pt x="4789" y="2110"/>
                  <a:pt x="4793" y="2103"/>
                  <a:pt x="4799" y="2099"/>
                </a:cubicBezTo>
                <a:cubicBezTo>
                  <a:pt x="4803" y="2096"/>
                  <a:pt x="4805" y="2091"/>
                  <a:pt x="4805" y="2088"/>
                </a:cubicBezTo>
                <a:cubicBezTo>
                  <a:pt x="4805" y="2083"/>
                  <a:pt x="4803" y="2079"/>
                  <a:pt x="4801" y="2076"/>
                </a:cubicBezTo>
                <a:cubicBezTo>
                  <a:pt x="4798" y="2073"/>
                  <a:pt x="4796" y="2070"/>
                  <a:pt x="4791" y="2070"/>
                </a:cubicBezTo>
                <a:close/>
                <a:moveTo>
                  <a:pt x="4639" y="1836"/>
                </a:moveTo>
                <a:cubicBezTo>
                  <a:pt x="4646" y="1836"/>
                  <a:pt x="4651" y="1831"/>
                  <a:pt x="4652" y="1824"/>
                </a:cubicBezTo>
                <a:cubicBezTo>
                  <a:pt x="4646" y="1823"/>
                  <a:pt x="4646" y="1823"/>
                  <a:pt x="4646" y="1823"/>
                </a:cubicBezTo>
                <a:cubicBezTo>
                  <a:pt x="4652" y="1825"/>
                  <a:pt x="4652" y="1825"/>
                  <a:pt x="4652" y="1825"/>
                </a:cubicBezTo>
                <a:cubicBezTo>
                  <a:pt x="4652" y="1823"/>
                  <a:pt x="4652" y="1822"/>
                  <a:pt x="4652" y="1821"/>
                </a:cubicBezTo>
                <a:cubicBezTo>
                  <a:pt x="4652" y="1811"/>
                  <a:pt x="4644" y="1801"/>
                  <a:pt x="4624" y="1796"/>
                </a:cubicBezTo>
                <a:cubicBezTo>
                  <a:pt x="4620" y="1795"/>
                  <a:pt x="4617" y="1794"/>
                  <a:pt x="4614" y="1794"/>
                </a:cubicBezTo>
                <a:cubicBezTo>
                  <a:pt x="4613" y="1794"/>
                  <a:pt x="4611" y="1794"/>
                  <a:pt x="4609" y="1795"/>
                </a:cubicBezTo>
                <a:cubicBezTo>
                  <a:pt x="4607" y="1796"/>
                  <a:pt x="4606" y="1799"/>
                  <a:pt x="4606" y="1802"/>
                </a:cubicBezTo>
                <a:cubicBezTo>
                  <a:pt x="4606" y="1805"/>
                  <a:pt x="4607" y="1806"/>
                  <a:pt x="4608" y="1807"/>
                </a:cubicBezTo>
                <a:cubicBezTo>
                  <a:pt x="4610" y="1812"/>
                  <a:pt x="4615" y="1816"/>
                  <a:pt x="4617" y="1821"/>
                </a:cubicBezTo>
                <a:cubicBezTo>
                  <a:pt x="4623" y="1829"/>
                  <a:pt x="4630" y="1836"/>
                  <a:pt x="4639" y="1836"/>
                </a:cubicBezTo>
                <a:cubicBezTo>
                  <a:pt x="4639" y="1836"/>
                  <a:pt x="4639" y="1836"/>
                  <a:pt x="4639" y="1836"/>
                </a:cubicBezTo>
                <a:close/>
                <a:moveTo>
                  <a:pt x="2422" y="804"/>
                </a:moveTo>
                <a:cubicBezTo>
                  <a:pt x="2416" y="804"/>
                  <a:pt x="2413" y="808"/>
                  <a:pt x="2409" y="815"/>
                </a:cubicBezTo>
                <a:cubicBezTo>
                  <a:pt x="2409" y="816"/>
                  <a:pt x="2408" y="817"/>
                  <a:pt x="2408" y="819"/>
                </a:cubicBezTo>
                <a:cubicBezTo>
                  <a:pt x="2408" y="823"/>
                  <a:pt x="2411" y="826"/>
                  <a:pt x="2413" y="827"/>
                </a:cubicBezTo>
                <a:cubicBezTo>
                  <a:pt x="2415" y="828"/>
                  <a:pt x="2417" y="828"/>
                  <a:pt x="2420" y="828"/>
                </a:cubicBezTo>
                <a:cubicBezTo>
                  <a:pt x="2424" y="828"/>
                  <a:pt x="2429" y="827"/>
                  <a:pt x="2432" y="821"/>
                </a:cubicBezTo>
                <a:cubicBezTo>
                  <a:pt x="2432" y="821"/>
                  <a:pt x="2432" y="821"/>
                  <a:pt x="2432" y="821"/>
                </a:cubicBezTo>
                <a:cubicBezTo>
                  <a:pt x="2432" y="819"/>
                  <a:pt x="2433" y="818"/>
                  <a:pt x="2433" y="816"/>
                </a:cubicBezTo>
                <a:cubicBezTo>
                  <a:pt x="2433" y="813"/>
                  <a:pt x="2432" y="811"/>
                  <a:pt x="2430" y="809"/>
                </a:cubicBezTo>
                <a:cubicBezTo>
                  <a:pt x="2429" y="806"/>
                  <a:pt x="2426" y="804"/>
                  <a:pt x="2422" y="804"/>
                </a:cubicBezTo>
                <a:close/>
                <a:moveTo>
                  <a:pt x="4023" y="1526"/>
                </a:moveTo>
                <a:cubicBezTo>
                  <a:pt x="4023" y="1530"/>
                  <a:pt x="4024" y="1536"/>
                  <a:pt x="4028" y="1543"/>
                </a:cubicBezTo>
                <a:cubicBezTo>
                  <a:pt x="4037" y="1556"/>
                  <a:pt x="4051" y="1557"/>
                  <a:pt x="4055" y="1557"/>
                </a:cubicBezTo>
                <a:cubicBezTo>
                  <a:pt x="4056" y="1557"/>
                  <a:pt x="4057" y="1557"/>
                  <a:pt x="4057" y="1557"/>
                </a:cubicBezTo>
                <a:cubicBezTo>
                  <a:pt x="4060" y="1557"/>
                  <a:pt x="4063" y="1554"/>
                  <a:pt x="4063" y="1551"/>
                </a:cubicBezTo>
                <a:cubicBezTo>
                  <a:pt x="4063" y="1550"/>
                  <a:pt x="4062" y="1542"/>
                  <a:pt x="4060" y="1532"/>
                </a:cubicBezTo>
                <a:cubicBezTo>
                  <a:pt x="4058" y="1522"/>
                  <a:pt x="4055" y="1511"/>
                  <a:pt x="4046" y="1504"/>
                </a:cubicBezTo>
                <a:cubicBezTo>
                  <a:pt x="4044" y="1503"/>
                  <a:pt x="4043" y="1502"/>
                  <a:pt x="4041" y="1501"/>
                </a:cubicBezTo>
                <a:cubicBezTo>
                  <a:pt x="4042" y="1501"/>
                  <a:pt x="4043" y="1501"/>
                  <a:pt x="4043" y="1501"/>
                </a:cubicBezTo>
                <a:cubicBezTo>
                  <a:pt x="4049" y="1501"/>
                  <a:pt x="4053" y="1500"/>
                  <a:pt x="4057" y="1497"/>
                </a:cubicBezTo>
                <a:cubicBezTo>
                  <a:pt x="4061" y="1495"/>
                  <a:pt x="4063" y="1490"/>
                  <a:pt x="4063" y="1486"/>
                </a:cubicBezTo>
                <a:cubicBezTo>
                  <a:pt x="4063" y="1484"/>
                  <a:pt x="4063" y="1482"/>
                  <a:pt x="4062" y="1480"/>
                </a:cubicBezTo>
                <a:cubicBezTo>
                  <a:pt x="4058" y="1471"/>
                  <a:pt x="4050" y="1471"/>
                  <a:pt x="4043" y="1471"/>
                </a:cubicBezTo>
                <a:cubicBezTo>
                  <a:pt x="4035" y="1471"/>
                  <a:pt x="4027" y="1472"/>
                  <a:pt x="4023" y="1473"/>
                </a:cubicBezTo>
                <a:cubicBezTo>
                  <a:pt x="4023" y="1473"/>
                  <a:pt x="4023" y="1473"/>
                  <a:pt x="4022" y="1473"/>
                </a:cubicBezTo>
                <a:cubicBezTo>
                  <a:pt x="4021" y="1473"/>
                  <a:pt x="4017" y="1472"/>
                  <a:pt x="4015" y="1471"/>
                </a:cubicBezTo>
                <a:cubicBezTo>
                  <a:pt x="4012" y="1470"/>
                  <a:pt x="4010" y="1469"/>
                  <a:pt x="4010" y="1469"/>
                </a:cubicBezTo>
                <a:cubicBezTo>
                  <a:pt x="4009" y="1467"/>
                  <a:pt x="4007" y="1467"/>
                  <a:pt x="4005" y="1468"/>
                </a:cubicBezTo>
                <a:cubicBezTo>
                  <a:pt x="3999" y="1470"/>
                  <a:pt x="3996" y="1475"/>
                  <a:pt x="3995" y="1480"/>
                </a:cubicBezTo>
                <a:cubicBezTo>
                  <a:pt x="3994" y="1485"/>
                  <a:pt x="3994" y="1489"/>
                  <a:pt x="3993" y="1496"/>
                </a:cubicBezTo>
                <a:cubicBezTo>
                  <a:pt x="3992" y="1504"/>
                  <a:pt x="3986" y="1511"/>
                  <a:pt x="3986" y="1520"/>
                </a:cubicBezTo>
                <a:cubicBezTo>
                  <a:pt x="3986" y="1525"/>
                  <a:pt x="3988" y="1529"/>
                  <a:pt x="3992" y="1532"/>
                </a:cubicBezTo>
                <a:cubicBezTo>
                  <a:pt x="3994" y="1534"/>
                  <a:pt x="3996" y="1534"/>
                  <a:pt x="3999" y="1534"/>
                </a:cubicBezTo>
                <a:cubicBezTo>
                  <a:pt x="4007" y="1534"/>
                  <a:pt x="4011" y="1529"/>
                  <a:pt x="4016" y="1525"/>
                </a:cubicBezTo>
                <a:cubicBezTo>
                  <a:pt x="4019" y="1522"/>
                  <a:pt x="4021" y="1520"/>
                  <a:pt x="4022" y="1519"/>
                </a:cubicBezTo>
                <a:cubicBezTo>
                  <a:pt x="4023" y="1521"/>
                  <a:pt x="4023" y="1523"/>
                  <a:pt x="4023" y="1526"/>
                </a:cubicBezTo>
                <a:close/>
                <a:moveTo>
                  <a:pt x="4598" y="517"/>
                </a:moveTo>
                <a:cubicBezTo>
                  <a:pt x="4598" y="516"/>
                  <a:pt x="4598" y="514"/>
                  <a:pt x="4599" y="511"/>
                </a:cubicBezTo>
                <a:cubicBezTo>
                  <a:pt x="4603" y="504"/>
                  <a:pt x="4605" y="498"/>
                  <a:pt x="4608" y="496"/>
                </a:cubicBezTo>
                <a:cubicBezTo>
                  <a:pt x="4611" y="493"/>
                  <a:pt x="4618" y="490"/>
                  <a:pt x="4634" y="490"/>
                </a:cubicBezTo>
                <a:cubicBezTo>
                  <a:pt x="4662" y="490"/>
                  <a:pt x="4659" y="492"/>
                  <a:pt x="4672" y="492"/>
                </a:cubicBezTo>
                <a:cubicBezTo>
                  <a:pt x="4676" y="492"/>
                  <a:pt x="4680" y="492"/>
                  <a:pt x="4685" y="491"/>
                </a:cubicBezTo>
                <a:cubicBezTo>
                  <a:pt x="4700" y="491"/>
                  <a:pt x="4711" y="485"/>
                  <a:pt x="4721" y="480"/>
                </a:cubicBezTo>
                <a:cubicBezTo>
                  <a:pt x="4730" y="474"/>
                  <a:pt x="4739" y="469"/>
                  <a:pt x="4751" y="465"/>
                </a:cubicBezTo>
                <a:cubicBezTo>
                  <a:pt x="4771" y="458"/>
                  <a:pt x="4788" y="454"/>
                  <a:pt x="4797" y="454"/>
                </a:cubicBezTo>
                <a:cubicBezTo>
                  <a:pt x="4800" y="454"/>
                  <a:pt x="4801" y="454"/>
                  <a:pt x="4802" y="455"/>
                </a:cubicBezTo>
                <a:cubicBezTo>
                  <a:pt x="4805" y="456"/>
                  <a:pt x="4809" y="457"/>
                  <a:pt x="4812" y="457"/>
                </a:cubicBezTo>
                <a:cubicBezTo>
                  <a:pt x="4815" y="457"/>
                  <a:pt x="4818" y="457"/>
                  <a:pt x="4821" y="455"/>
                </a:cubicBezTo>
                <a:cubicBezTo>
                  <a:pt x="4823" y="454"/>
                  <a:pt x="4826" y="450"/>
                  <a:pt x="4826" y="447"/>
                </a:cubicBezTo>
                <a:cubicBezTo>
                  <a:pt x="4826" y="443"/>
                  <a:pt x="4824" y="440"/>
                  <a:pt x="4822" y="437"/>
                </a:cubicBezTo>
                <a:cubicBezTo>
                  <a:pt x="4818" y="433"/>
                  <a:pt x="4813" y="428"/>
                  <a:pt x="4809" y="424"/>
                </a:cubicBezTo>
                <a:cubicBezTo>
                  <a:pt x="4808" y="423"/>
                  <a:pt x="4806" y="421"/>
                  <a:pt x="4805" y="420"/>
                </a:cubicBezTo>
                <a:cubicBezTo>
                  <a:pt x="4809" y="419"/>
                  <a:pt x="4812" y="418"/>
                  <a:pt x="4816" y="416"/>
                </a:cubicBezTo>
                <a:cubicBezTo>
                  <a:pt x="4821" y="413"/>
                  <a:pt x="4826" y="409"/>
                  <a:pt x="4828" y="402"/>
                </a:cubicBezTo>
                <a:cubicBezTo>
                  <a:pt x="4828" y="400"/>
                  <a:pt x="4828" y="398"/>
                  <a:pt x="4828" y="396"/>
                </a:cubicBezTo>
                <a:cubicBezTo>
                  <a:pt x="4828" y="385"/>
                  <a:pt x="4821" y="374"/>
                  <a:pt x="4822" y="367"/>
                </a:cubicBezTo>
                <a:cubicBezTo>
                  <a:pt x="4822" y="365"/>
                  <a:pt x="4822" y="364"/>
                  <a:pt x="4823" y="362"/>
                </a:cubicBezTo>
                <a:cubicBezTo>
                  <a:pt x="4826" y="359"/>
                  <a:pt x="4827" y="355"/>
                  <a:pt x="4827" y="351"/>
                </a:cubicBezTo>
                <a:cubicBezTo>
                  <a:pt x="4827" y="344"/>
                  <a:pt x="4823" y="338"/>
                  <a:pt x="4818" y="334"/>
                </a:cubicBezTo>
                <a:cubicBezTo>
                  <a:pt x="4813" y="330"/>
                  <a:pt x="4807" y="326"/>
                  <a:pt x="4801" y="325"/>
                </a:cubicBezTo>
                <a:cubicBezTo>
                  <a:pt x="4798" y="324"/>
                  <a:pt x="4793" y="324"/>
                  <a:pt x="4788" y="324"/>
                </a:cubicBezTo>
                <a:cubicBezTo>
                  <a:pt x="4778" y="324"/>
                  <a:pt x="4766" y="325"/>
                  <a:pt x="4756" y="325"/>
                </a:cubicBezTo>
                <a:cubicBezTo>
                  <a:pt x="4746" y="325"/>
                  <a:pt x="4738" y="323"/>
                  <a:pt x="4737" y="323"/>
                </a:cubicBezTo>
                <a:cubicBezTo>
                  <a:pt x="4730" y="318"/>
                  <a:pt x="4719" y="313"/>
                  <a:pt x="4710" y="312"/>
                </a:cubicBezTo>
                <a:cubicBezTo>
                  <a:pt x="4707" y="312"/>
                  <a:pt x="4704" y="313"/>
                  <a:pt x="4702" y="315"/>
                </a:cubicBezTo>
                <a:cubicBezTo>
                  <a:pt x="4698" y="319"/>
                  <a:pt x="4695" y="325"/>
                  <a:pt x="4691" y="332"/>
                </a:cubicBezTo>
                <a:cubicBezTo>
                  <a:pt x="4689" y="335"/>
                  <a:pt x="4688" y="338"/>
                  <a:pt x="4687" y="340"/>
                </a:cubicBezTo>
                <a:cubicBezTo>
                  <a:pt x="4686" y="339"/>
                  <a:pt x="4684" y="338"/>
                  <a:pt x="4681" y="333"/>
                </a:cubicBezTo>
                <a:cubicBezTo>
                  <a:pt x="4676" y="325"/>
                  <a:pt x="4666" y="323"/>
                  <a:pt x="4657" y="321"/>
                </a:cubicBezTo>
                <a:cubicBezTo>
                  <a:pt x="4647" y="319"/>
                  <a:pt x="4636" y="319"/>
                  <a:pt x="4628" y="319"/>
                </a:cubicBezTo>
                <a:cubicBezTo>
                  <a:pt x="4624" y="319"/>
                  <a:pt x="4621" y="319"/>
                  <a:pt x="4619" y="319"/>
                </a:cubicBezTo>
                <a:cubicBezTo>
                  <a:pt x="4607" y="319"/>
                  <a:pt x="4594" y="322"/>
                  <a:pt x="4582" y="323"/>
                </a:cubicBezTo>
                <a:cubicBezTo>
                  <a:pt x="4575" y="324"/>
                  <a:pt x="4570" y="326"/>
                  <a:pt x="4567" y="325"/>
                </a:cubicBezTo>
                <a:cubicBezTo>
                  <a:pt x="4564" y="325"/>
                  <a:pt x="4562" y="325"/>
                  <a:pt x="4558" y="321"/>
                </a:cubicBezTo>
                <a:cubicBezTo>
                  <a:pt x="4548" y="310"/>
                  <a:pt x="4534" y="306"/>
                  <a:pt x="4531" y="303"/>
                </a:cubicBezTo>
                <a:cubicBezTo>
                  <a:pt x="4528" y="300"/>
                  <a:pt x="4524" y="300"/>
                  <a:pt x="4520" y="299"/>
                </a:cubicBezTo>
                <a:cubicBezTo>
                  <a:pt x="4516" y="298"/>
                  <a:pt x="4511" y="298"/>
                  <a:pt x="4505" y="298"/>
                </a:cubicBezTo>
                <a:cubicBezTo>
                  <a:pt x="4496" y="298"/>
                  <a:pt x="4486" y="299"/>
                  <a:pt x="4477" y="300"/>
                </a:cubicBezTo>
                <a:cubicBezTo>
                  <a:pt x="4461" y="302"/>
                  <a:pt x="4445" y="303"/>
                  <a:pt x="4440" y="303"/>
                </a:cubicBezTo>
                <a:cubicBezTo>
                  <a:pt x="4439" y="302"/>
                  <a:pt x="4437" y="301"/>
                  <a:pt x="4435" y="300"/>
                </a:cubicBezTo>
                <a:cubicBezTo>
                  <a:pt x="4431" y="298"/>
                  <a:pt x="4426" y="295"/>
                  <a:pt x="4419" y="290"/>
                </a:cubicBezTo>
                <a:cubicBezTo>
                  <a:pt x="4412" y="285"/>
                  <a:pt x="4405" y="281"/>
                  <a:pt x="4399" y="278"/>
                </a:cubicBezTo>
                <a:cubicBezTo>
                  <a:pt x="4393" y="275"/>
                  <a:pt x="4388" y="273"/>
                  <a:pt x="4383" y="272"/>
                </a:cubicBezTo>
                <a:cubicBezTo>
                  <a:pt x="4379" y="272"/>
                  <a:pt x="4363" y="275"/>
                  <a:pt x="4350" y="275"/>
                </a:cubicBezTo>
                <a:cubicBezTo>
                  <a:pt x="4344" y="276"/>
                  <a:pt x="4339" y="274"/>
                  <a:pt x="4339" y="274"/>
                </a:cubicBezTo>
                <a:cubicBezTo>
                  <a:pt x="4331" y="267"/>
                  <a:pt x="4324" y="263"/>
                  <a:pt x="4316" y="262"/>
                </a:cubicBezTo>
                <a:cubicBezTo>
                  <a:pt x="4321" y="260"/>
                  <a:pt x="4327" y="259"/>
                  <a:pt x="4334" y="257"/>
                </a:cubicBezTo>
                <a:cubicBezTo>
                  <a:pt x="4343" y="254"/>
                  <a:pt x="4351" y="251"/>
                  <a:pt x="4351" y="251"/>
                </a:cubicBezTo>
                <a:cubicBezTo>
                  <a:pt x="4353" y="250"/>
                  <a:pt x="4354" y="249"/>
                  <a:pt x="4355" y="247"/>
                </a:cubicBezTo>
                <a:cubicBezTo>
                  <a:pt x="4355" y="246"/>
                  <a:pt x="4355" y="244"/>
                  <a:pt x="4354" y="242"/>
                </a:cubicBezTo>
                <a:cubicBezTo>
                  <a:pt x="4354" y="242"/>
                  <a:pt x="4351" y="238"/>
                  <a:pt x="4347" y="234"/>
                </a:cubicBezTo>
                <a:cubicBezTo>
                  <a:pt x="4343" y="229"/>
                  <a:pt x="4337" y="224"/>
                  <a:pt x="4328" y="224"/>
                </a:cubicBezTo>
                <a:cubicBezTo>
                  <a:pt x="4324" y="224"/>
                  <a:pt x="4316" y="223"/>
                  <a:pt x="4308" y="221"/>
                </a:cubicBezTo>
                <a:cubicBezTo>
                  <a:pt x="4301" y="219"/>
                  <a:pt x="4295" y="217"/>
                  <a:pt x="4290" y="217"/>
                </a:cubicBezTo>
                <a:cubicBezTo>
                  <a:pt x="4288" y="217"/>
                  <a:pt x="4285" y="218"/>
                  <a:pt x="4284" y="219"/>
                </a:cubicBezTo>
                <a:cubicBezTo>
                  <a:pt x="4283" y="220"/>
                  <a:pt x="4282" y="221"/>
                  <a:pt x="4282" y="222"/>
                </a:cubicBezTo>
                <a:cubicBezTo>
                  <a:pt x="4281" y="222"/>
                  <a:pt x="4280" y="222"/>
                  <a:pt x="4279" y="222"/>
                </a:cubicBezTo>
                <a:cubicBezTo>
                  <a:pt x="4271" y="220"/>
                  <a:pt x="4264" y="216"/>
                  <a:pt x="4255" y="216"/>
                </a:cubicBezTo>
                <a:cubicBezTo>
                  <a:pt x="4251" y="216"/>
                  <a:pt x="4247" y="217"/>
                  <a:pt x="4244" y="220"/>
                </a:cubicBezTo>
                <a:cubicBezTo>
                  <a:pt x="4242" y="222"/>
                  <a:pt x="4239" y="224"/>
                  <a:pt x="4235" y="226"/>
                </a:cubicBezTo>
                <a:cubicBezTo>
                  <a:pt x="4232" y="229"/>
                  <a:pt x="4229" y="232"/>
                  <a:pt x="4228" y="238"/>
                </a:cubicBezTo>
                <a:cubicBezTo>
                  <a:pt x="4228" y="241"/>
                  <a:pt x="4230" y="244"/>
                  <a:pt x="4232" y="246"/>
                </a:cubicBezTo>
                <a:cubicBezTo>
                  <a:pt x="4234" y="248"/>
                  <a:pt x="4237" y="249"/>
                  <a:pt x="4240" y="250"/>
                </a:cubicBezTo>
                <a:cubicBezTo>
                  <a:pt x="4250" y="253"/>
                  <a:pt x="4259" y="253"/>
                  <a:pt x="4265" y="253"/>
                </a:cubicBezTo>
                <a:cubicBezTo>
                  <a:pt x="4272" y="253"/>
                  <a:pt x="4275" y="255"/>
                  <a:pt x="4275" y="255"/>
                </a:cubicBezTo>
                <a:cubicBezTo>
                  <a:pt x="4276" y="257"/>
                  <a:pt x="4276" y="258"/>
                  <a:pt x="4276" y="259"/>
                </a:cubicBezTo>
                <a:cubicBezTo>
                  <a:pt x="4276" y="261"/>
                  <a:pt x="4274" y="264"/>
                  <a:pt x="4274" y="270"/>
                </a:cubicBezTo>
                <a:cubicBezTo>
                  <a:pt x="4274" y="270"/>
                  <a:pt x="4272" y="276"/>
                  <a:pt x="4269" y="280"/>
                </a:cubicBezTo>
                <a:cubicBezTo>
                  <a:pt x="4267" y="284"/>
                  <a:pt x="4263" y="288"/>
                  <a:pt x="4262" y="288"/>
                </a:cubicBezTo>
                <a:cubicBezTo>
                  <a:pt x="4262" y="288"/>
                  <a:pt x="4262" y="288"/>
                  <a:pt x="4262" y="288"/>
                </a:cubicBezTo>
                <a:cubicBezTo>
                  <a:pt x="4260" y="288"/>
                  <a:pt x="4257" y="287"/>
                  <a:pt x="4251" y="287"/>
                </a:cubicBezTo>
                <a:cubicBezTo>
                  <a:pt x="4248" y="287"/>
                  <a:pt x="4243" y="289"/>
                  <a:pt x="4238" y="292"/>
                </a:cubicBezTo>
                <a:cubicBezTo>
                  <a:pt x="4234" y="294"/>
                  <a:pt x="4224" y="296"/>
                  <a:pt x="4216" y="296"/>
                </a:cubicBezTo>
                <a:cubicBezTo>
                  <a:pt x="4213" y="296"/>
                  <a:pt x="4211" y="296"/>
                  <a:pt x="4210" y="296"/>
                </a:cubicBezTo>
                <a:cubicBezTo>
                  <a:pt x="4206" y="296"/>
                  <a:pt x="4203" y="295"/>
                  <a:pt x="4201" y="295"/>
                </a:cubicBezTo>
                <a:cubicBezTo>
                  <a:pt x="4199" y="296"/>
                  <a:pt x="4197" y="295"/>
                  <a:pt x="4196" y="296"/>
                </a:cubicBezTo>
                <a:cubicBezTo>
                  <a:pt x="4195" y="295"/>
                  <a:pt x="4194" y="294"/>
                  <a:pt x="4193" y="293"/>
                </a:cubicBezTo>
                <a:cubicBezTo>
                  <a:pt x="4190" y="291"/>
                  <a:pt x="4188" y="288"/>
                  <a:pt x="4182" y="287"/>
                </a:cubicBezTo>
                <a:cubicBezTo>
                  <a:pt x="4181" y="287"/>
                  <a:pt x="4180" y="288"/>
                  <a:pt x="4178" y="288"/>
                </a:cubicBezTo>
                <a:cubicBezTo>
                  <a:pt x="4174" y="291"/>
                  <a:pt x="4169" y="295"/>
                  <a:pt x="4164" y="300"/>
                </a:cubicBezTo>
                <a:cubicBezTo>
                  <a:pt x="4159" y="304"/>
                  <a:pt x="4152" y="307"/>
                  <a:pt x="4152" y="307"/>
                </a:cubicBezTo>
                <a:cubicBezTo>
                  <a:pt x="4152" y="307"/>
                  <a:pt x="4152" y="307"/>
                  <a:pt x="4152" y="307"/>
                </a:cubicBezTo>
                <a:cubicBezTo>
                  <a:pt x="4148" y="306"/>
                  <a:pt x="4139" y="298"/>
                  <a:pt x="4139" y="291"/>
                </a:cubicBezTo>
                <a:cubicBezTo>
                  <a:pt x="4139" y="285"/>
                  <a:pt x="4139" y="278"/>
                  <a:pt x="4137" y="272"/>
                </a:cubicBezTo>
                <a:cubicBezTo>
                  <a:pt x="4136" y="267"/>
                  <a:pt x="4135" y="262"/>
                  <a:pt x="4130" y="258"/>
                </a:cubicBezTo>
                <a:cubicBezTo>
                  <a:pt x="4128" y="257"/>
                  <a:pt x="4126" y="257"/>
                  <a:pt x="4124" y="256"/>
                </a:cubicBezTo>
                <a:cubicBezTo>
                  <a:pt x="4118" y="255"/>
                  <a:pt x="4108" y="254"/>
                  <a:pt x="4099" y="254"/>
                </a:cubicBezTo>
                <a:cubicBezTo>
                  <a:pt x="4095" y="254"/>
                  <a:pt x="4091" y="254"/>
                  <a:pt x="4088" y="255"/>
                </a:cubicBezTo>
                <a:cubicBezTo>
                  <a:pt x="4084" y="255"/>
                  <a:pt x="4074" y="256"/>
                  <a:pt x="4065" y="258"/>
                </a:cubicBezTo>
                <a:cubicBezTo>
                  <a:pt x="4060" y="259"/>
                  <a:pt x="4056" y="260"/>
                  <a:pt x="4052" y="261"/>
                </a:cubicBezTo>
                <a:cubicBezTo>
                  <a:pt x="4048" y="262"/>
                  <a:pt x="4045" y="263"/>
                  <a:pt x="4042" y="266"/>
                </a:cubicBezTo>
                <a:cubicBezTo>
                  <a:pt x="4040" y="269"/>
                  <a:pt x="4027" y="274"/>
                  <a:pt x="4021" y="274"/>
                </a:cubicBezTo>
                <a:cubicBezTo>
                  <a:pt x="4020" y="274"/>
                  <a:pt x="4016" y="272"/>
                  <a:pt x="4011" y="269"/>
                </a:cubicBezTo>
                <a:cubicBezTo>
                  <a:pt x="4006" y="267"/>
                  <a:pt x="3999" y="263"/>
                  <a:pt x="3990" y="261"/>
                </a:cubicBezTo>
                <a:cubicBezTo>
                  <a:pt x="3976" y="259"/>
                  <a:pt x="3953" y="259"/>
                  <a:pt x="3939" y="259"/>
                </a:cubicBezTo>
                <a:cubicBezTo>
                  <a:pt x="3933" y="259"/>
                  <a:pt x="3930" y="260"/>
                  <a:pt x="3927" y="260"/>
                </a:cubicBezTo>
                <a:cubicBezTo>
                  <a:pt x="3927" y="260"/>
                  <a:pt x="3927" y="260"/>
                  <a:pt x="3927" y="260"/>
                </a:cubicBezTo>
                <a:cubicBezTo>
                  <a:pt x="3926" y="260"/>
                  <a:pt x="3923" y="259"/>
                  <a:pt x="3922" y="259"/>
                </a:cubicBezTo>
                <a:cubicBezTo>
                  <a:pt x="3924" y="256"/>
                  <a:pt x="3927" y="253"/>
                  <a:pt x="3930" y="250"/>
                </a:cubicBezTo>
                <a:cubicBezTo>
                  <a:pt x="3933" y="244"/>
                  <a:pt x="3937" y="239"/>
                  <a:pt x="3937" y="232"/>
                </a:cubicBezTo>
                <a:cubicBezTo>
                  <a:pt x="3937" y="227"/>
                  <a:pt x="3935" y="223"/>
                  <a:pt x="3931" y="220"/>
                </a:cubicBezTo>
                <a:cubicBezTo>
                  <a:pt x="3918" y="210"/>
                  <a:pt x="3895" y="211"/>
                  <a:pt x="3885" y="209"/>
                </a:cubicBezTo>
                <a:cubicBezTo>
                  <a:pt x="3878" y="208"/>
                  <a:pt x="3870" y="206"/>
                  <a:pt x="3861" y="206"/>
                </a:cubicBezTo>
                <a:cubicBezTo>
                  <a:pt x="3856" y="206"/>
                  <a:pt x="3851" y="207"/>
                  <a:pt x="3846" y="208"/>
                </a:cubicBezTo>
                <a:cubicBezTo>
                  <a:pt x="3840" y="209"/>
                  <a:pt x="3835" y="211"/>
                  <a:pt x="3831" y="213"/>
                </a:cubicBezTo>
                <a:cubicBezTo>
                  <a:pt x="3830" y="213"/>
                  <a:pt x="3830" y="213"/>
                  <a:pt x="3830" y="213"/>
                </a:cubicBezTo>
                <a:cubicBezTo>
                  <a:pt x="3830" y="212"/>
                  <a:pt x="3829" y="211"/>
                  <a:pt x="3829" y="211"/>
                </a:cubicBezTo>
                <a:cubicBezTo>
                  <a:pt x="3828" y="210"/>
                  <a:pt x="3828" y="210"/>
                  <a:pt x="3827" y="210"/>
                </a:cubicBezTo>
                <a:cubicBezTo>
                  <a:pt x="3826" y="209"/>
                  <a:pt x="3823" y="207"/>
                  <a:pt x="3817" y="204"/>
                </a:cubicBezTo>
                <a:cubicBezTo>
                  <a:pt x="3802" y="197"/>
                  <a:pt x="3791" y="194"/>
                  <a:pt x="3783" y="194"/>
                </a:cubicBezTo>
                <a:cubicBezTo>
                  <a:pt x="3777" y="194"/>
                  <a:pt x="3772" y="195"/>
                  <a:pt x="3768" y="197"/>
                </a:cubicBezTo>
                <a:cubicBezTo>
                  <a:pt x="3766" y="199"/>
                  <a:pt x="3765" y="200"/>
                  <a:pt x="3764" y="201"/>
                </a:cubicBezTo>
                <a:cubicBezTo>
                  <a:pt x="3762" y="203"/>
                  <a:pt x="3763" y="202"/>
                  <a:pt x="3762" y="203"/>
                </a:cubicBezTo>
                <a:cubicBezTo>
                  <a:pt x="3761" y="203"/>
                  <a:pt x="3758" y="204"/>
                  <a:pt x="3752" y="207"/>
                </a:cubicBezTo>
                <a:cubicBezTo>
                  <a:pt x="3734" y="215"/>
                  <a:pt x="3723" y="220"/>
                  <a:pt x="3719" y="220"/>
                </a:cubicBezTo>
                <a:cubicBezTo>
                  <a:pt x="3719" y="220"/>
                  <a:pt x="3719" y="220"/>
                  <a:pt x="3719" y="220"/>
                </a:cubicBezTo>
                <a:cubicBezTo>
                  <a:pt x="3717" y="220"/>
                  <a:pt x="3709" y="219"/>
                  <a:pt x="3702" y="217"/>
                </a:cubicBezTo>
                <a:cubicBezTo>
                  <a:pt x="3698" y="216"/>
                  <a:pt x="3694" y="215"/>
                  <a:pt x="3692" y="214"/>
                </a:cubicBezTo>
                <a:cubicBezTo>
                  <a:pt x="3690" y="214"/>
                  <a:pt x="3689" y="214"/>
                  <a:pt x="3689" y="213"/>
                </a:cubicBezTo>
                <a:cubicBezTo>
                  <a:pt x="3688" y="213"/>
                  <a:pt x="3688" y="213"/>
                  <a:pt x="3688" y="213"/>
                </a:cubicBezTo>
                <a:cubicBezTo>
                  <a:pt x="3688" y="213"/>
                  <a:pt x="3688" y="213"/>
                  <a:pt x="3688" y="213"/>
                </a:cubicBezTo>
                <a:cubicBezTo>
                  <a:pt x="3684" y="211"/>
                  <a:pt x="3683" y="211"/>
                  <a:pt x="3681" y="211"/>
                </a:cubicBezTo>
                <a:cubicBezTo>
                  <a:pt x="3673" y="211"/>
                  <a:pt x="3663" y="215"/>
                  <a:pt x="3654" y="219"/>
                </a:cubicBezTo>
                <a:cubicBezTo>
                  <a:pt x="3643" y="225"/>
                  <a:pt x="3636" y="231"/>
                  <a:pt x="3630" y="230"/>
                </a:cubicBezTo>
                <a:cubicBezTo>
                  <a:pt x="3629" y="230"/>
                  <a:pt x="3628" y="230"/>
                  <a:pt x="3626" y="230"/>
                </a:cubicBezTo>
                <a:cubicBezTo>
                  <a:pt x="3621" y="228"/>
                  <a:pt x="3615" y="228"/>
                  <a:pt x="3608" y="228"/>
                </a:cubicBezTo>
                <a:cubicBezTo>
                  <a:pt x="3599" y="228"/>
                  <a:pt x="3589" y="229"/>
                  <a:pt x="3581" y="233"/>
                </a:cubicBezTo>
                <a:cubicBezTo>
                  <a:pt x="3571" y="238"/>
                  <a:pt x="3562" y="238"/>
                  <a:pt x="3549" y="249"/>
                </a:cubicBezTo>
                <a:cubicBezTo>
                  <a:pt x="3544" y="253"/>
                  <a:pt x="3536" y="257"/>
                  <a:pt x="3529" y="259"/>
                </a:cubicBezTo>
                <a:cubicBezTo>
                  <a:pt x="3525" y="261"/>
                  <a:pt x="3520" y="262"/>
                  <a:pt x="3519" y="263"/>
                </a:cubicBezTo>
                <a:cubicBezTo>
                  <a:pt x="3514" y="262"/>
                  <a:pt x="3499" y="261"/>
                  <a:pt x="3489" y="261"/>
                </a:cubicBezTo>
                <a:cubicBezTo>
                  <a:pt x="3485" y="261"/>
                  <a:pt x="3481" y="261"/>
                  <a:pt x="3476" y="262"/>
                </a:cubicBezTo>
                <a:cubicBezTo>
                  <a:pt x="3474" y="262"/>
                  <a:pt x="3472" y="263"/>
                  <a:pt x="3470" y="264"/>
                </a:cubicBezTo>
                <a:cubicBezTo>
                  <a:pt x="3468" y="265"/>
                  <a:pt x="3465" y="268"/>
                  <a:pt x="3465" y="272"/>
                </a:cubicBezTo>
                <a:cubicBezTo>
                  <a:pt x="3465" y="276"/>
                  <a:pt x="3467" y="278"/>
                  <a:pt x="3470" y="281"/>
                </a:cubicBezTo>
                <a:cubicBezTo>
                  <a:pt x="3476" y="287"/>
                  <a:pt x="3485" y="292"/>
                  <a:pt x="3494" y="296"/>
                </a:cubicBezTo>
                <a:cubicBezTo>
                  <a:pt x="3494" y="296"/>
                  <a:pt x="3494" y="297"/>
                  <a:pt x="3494" y="297"/>
                </a:cubicBezTo>
                <a:cubicBezTo>
                  <a:pt x="3492" y="296"/>
                  <a:pt x="3490" y="295"/>
                  <a:pt x="3487" y="293"/>
                </a:cubicBezTo>
                <a:cubicBezTo>
                  <a:pt x="3480" y="291"/>
                  <a:pt x="3476" y="290"/>
                  <a:pt x="3474" y="289"/>
                </a:cubicBezTo>
                <a:cubicBezTo>
                  <a:pt x="3473" y="289"/>
                  <a:pt x="3471" y="287"/>
                  <a:pt x="3465" y="281"/>
                </a:cubicBezTo>
                <a:cubicBezTo>
                  <a:pt x="3458" y="274"/>
                  <a:pt x="3450" y="270"/>
                  <a:pt x="3443" y="270"/>
                </a:cubicBezTo>
                <a:cubicBezTo>
                  <a:pt x="3436" y="270"/>
                  <a:pt x="3429" y="274"/>
                  <a:pt x="3426" y="279"/>
                </a:cubicBezTo>
                <a:cubicBezTo>
                  <a:pt x="3421" y="285"/>
                  <a:pt x="3421" y="292"/>
                  <a:pt x="3420" y="297"/>
                </a:cubicBezTo>
                <a:cubicBezTo>
                  <a:pt x="3420" y="300"/>
                  <a:pt x="3420" y="302"/>
                  <a:pt x="3419" y="303"/>
                </a:cubicBezTo>
                <a:cubicBezTo>
                  <a:pt x="3419" y="303"/>
                  <a:pt x="3419" y="303"/>
                  <a:pt x="3419" y="303"/>
                </a:cubicBezTo>
                <a:cubicBezTo>
                  <a:pt x="3416" y="304"/>
                  <a:pt x="3413" y="305"/>
                  <a:pt x="3412" y="305"/>
                </a:cubicBezTo>
                <a:cubicBezTo>
                  <a:pt x="3412" y="305"/>
                  <a:pt x="3411" y="304"/>
                  <a:pt x="3411" y="303"/>
                </a:cubicBezTo>
                <a:cubicBezTo>
                  <a:pt x="3411" y="298"/>
                  <a:pt x="3411" y="291"/>
                  <a:pt x="3410" y="286"/>
                </a:cubicBezTo>
                <a:cubicBezTo>
                  <a:pt x="3410" y="283"/>
                  <a:pt x="3409" y="280"/>
                  <a:pt x="3408" y="278"/>
                </a:cubicBezTo>
                <a:cubicBezTo>
                  <a:pt x="3408" y="276"/>
                  <a:pt x="3407" y="275"/>
                  <a:pt x="3406" y="274"/>
                </a:cubicBezTo>
                <a:cubicBezTo>
                  <a:pt x="3405" y="273"/>
                  <a:pt x="3403" y="271"/>
                  <a:pt x="3400" y="271"/>
                </a:cubicBezTo>
                <a:cubicBezTo>
                  <a:pt x="3394" y="272"/>
                  <a:pt x="3393" y="275"/>
                  <a:pt x="3391" y="278"/>
                </a:cubicBezTo>
                <a:cubicBezTo>
                  <a:pt x="3387" y="285"/>
                  <a:pt x="3384" y="288"/>
                  <a:pt x="3382" y="291"/>
                </a:cubicBezTo>
                <a:cubicBezTo>
                  <a:pt x="3380" y="293"/>
                  <a:pt x="3378" y="297"/>
                  <a:pt x="3379" y="302"/>
                </a:cubicBezTo>
                <a:cubicBezTo>
                  <a:pt x="3379" y="311"/>
                  <a:pt x="3384" y="316"/>
                  <a:pt x="3384" y="323"/>
                </a:cubicBezTo>
                <a:cubicBezTo>
                  <a:pt x="3384" y="324"/>
                  <a:pt x="3384" y="326"/>
                  <a:pt x="3383" y="327"/>
                </a:cubicBezTo>
                <a:cubicBezTo>
                  <a:pt x="3382" y="333"/>
                  <a:pt x="3382" y="338"/>
                  <a:pt x="3382" y="342"/>
                </a:cubicBezTo>
                <a:cubicBezTo>
                  <a:pt x="3382" y="344"/>
                  <a:pt x="3382" y="347"/>
                  <a:pt x="3383" y="349"/>
                </a:cubicBezTo>
                <a:cubicBezTo>
                  <a:pt x="3383" y="351"/>
                  <a:pt x="3385" y="353"/>
                  <a:pt x="3387" y="354"/>
                </a:cubicBezTo>
                <a:cubicBezTo>
                  <a:pt x="3380" y="363"/>
                  <a:pt x="3372" y="375"/>
                  <a:pt x="3369" y="378"/>
                </a:cubicBezTo>
                <a:cubicBezTo>
                  <a:pt x="3367" y="380"/>
                  <a:pt x="3363" y="382"/>
                  <a:pt x="3358" y="384"/>
                </a:cubicBezTo>
                <a:cubicBezTo>
                  <a:pt x="3356" y="385"/>
                  <a:pt x="3355" y="386"/>
                  <a:pt x="3353" y="387"/>
                </a:cubicBezTo>
                <a:cubicBezTo>
                  <a:pt x="3356" y="382"/>
                  <a:pt x="3361" y="378"/>
                  <a:pt x="3364" y="376"/>
                </a:cubicBezTo>
                <a:cubicBezTo>
                  <a:pt x="3373" y="368"/>
                  <a:pt x="3380" y="357"/>
                  <a:pt x="3380" y="348"/>
                </a:cubicBezTo>
                <a:cubicBezTo>
                  <a:pt x="3380" y="346"/>
                  <a:pt x="3380" y="343"/>
                  <a:pt x="3378" y="341"/>
                </a:cubicBezTo>
                <a:cubicBezTo>
                  <a:pt x="3378" y="341"/>
                  <a:pt x="3378" y="341"/>
                  <a:pt x="3378" y="341"/>
                </a:cubicBezTo>
                <a:cubicBezTo>
                  <a:pt x="3376" y="339"/>
                  <a:pt x="3373" y="321"/>
                  <a:pt x="3373" y="313"/>
                </a:cubicBezTo>
                <a:cubicBezTo>
                  <a:pt x="3373" y="311"/>
                  <a:pt x="3373" y="309"/>
                  <a:pt x="3373" y="309"/>
                </a:cubicBezTo>
                <a:cubicBezTo>
                  <a:pt x="3374" y="306"/>
                  <a:pt x="3379" y="301"/>
                  <a:pt x="3380" y="292"/>
                </a:cubicBezTo>
                <a:cubicBezTo>
                  <a:pt x="3380" y="287"/>
                  <a:pt x="3377" y="282"/>
                  <a:pt x="3372" y="279"/>
                </a:cubicBezTo>
                <a:cubicBezTo>
                  <a:pt x="3361" y="272"/>
                  <a:pt x="3353" y="264"/>
                  <a:pt x="3342" y="259"/>
                </a:cubicBezTo>
                <a:cubicBezTo>
                  <a:pt x="3341" y="258"/>
                  <a:pt x="3339" y="258"/>
                  <a:pt x="3337" y="258"/>
                </a:cubicBezTo>
                <a:cubicBezTo>
                  <a:pt x="3329" y="259"/>
                  <a:pt x="3324" y="265"/>
                  <a:pt x="3320" y="270"/>
                </a:cubicBezTo>
                <a:cubicBezTo>
                  <a:pt x="3315" y="275"/>
                  <a:pt x="3311" y="280"/>
                  <a:pt x="3309" y="282"/>
                </a:cubicBezTo>
                <a:cubicBezTo>
                  <a:pt x="3304" y="285"/>
                  <a:pt x="3301" y="289"/>
                  <a:pt x="3300" y="291"/>
                </a:cubicBezTo>
                <a:cubicBezTo>
                  <a:pt x="3298" y="293"/>
                  <a:pt x="3298" y="294"/>
                  <a:pt x="3294" y="294"/>
                </a:cubicBezTo>
                <a:cubicBezTo>
                  <a:pt x="3285" y="296"/>
                  <a:pt x="3278" y="304"/>
                  <a:pt x="3278" y="313"/>
                </a:cubicBezTo>
                <a:cubicBezTo>
                  <a:pt x="3278" y="321"/>
                  <a:pt x="3283" y="328"/>
                  <a:pt x="3292" y="333"/>
                </a:cubicBezTo>
                <a:cubicBezTo>
                  <a:pt x="3298" y="337"/>
                  <a:pt x="3303" y="340"/>
                  <a:pt x="3306" y="343"/>
                </a:cubicBezTo>
                <a:cubicBezTo>
                  <a:pt x="3307" y="344"/>
                  <a:pt x="3308" y="345"/>
                  <a:pt x="3308" y="346"/>
                </a:cubicBezTo>
                <a:cubicBezTo>
                  <a:pt x="3308" y="346"/>
                  <a:pt x="3308" y="346"/>
                  <a:pt x="3308" y="346"/>
                </a:cubicBezTo>
                <a:cubicBezTo>
                  <a:pt x="3308" y="346"/>
                  <a:pt x="3308" y="346"/>
                  <a:pt x="3307" y="346"/>
                </a:cubicBezTo>
                <a:cubicBezTo>
                  <a:pt x="3305" y="346"/>
                  <a:pt x="3301" y="345"/>
                  <a:pt x="3297" y="344"/>
                </a:cubicBezTo>
                <a:cubicBezTo>
                  <a:pt x="3294" y="343"/>
                  <a:pt x="3291" y="342"/>
                  <a:pt x="3291" y="342"/>
                </a:cubicBezTo>
                <a:cubicBezTo>
                  <a:pt x="3291" y="342"/>
                  <a:pt x="3291" y="342"/>
                  <a:pt x="3291" y="342"/>
                </a:cubicBezTo>
                <a:cubicBezTo>
                  <a:pt x="3289" y="340"/>
                  <a:pt x="3276" y="333"/>
                  <a:pt x="3265" y="333"/>
                </a:cubicBezTo>
                <a:cubicBezTo>
                  <a:pt x="3258" y="333"/>
                  <a:pt x="3247" y="327"/>
                  <a:pt x="3236" y="325"/>
                </a:cubicBezTo>
                <a:cubicBezTo>
                  <a:pt x="3232" y="324"/>
                  <a:pt x="3228" y="324"/>
                  <a:pt x="3223" y="324"/>
                </a:cubicBezTo>
                <a:cubicBezTo>
                  <a:pt x="3214" y="324"/>
                  <a:pt x="3205" y="324"/>
                  <a:pt x="3198" y="331"/>
                </a:cubicBezTo>
                <a:cubicBezTo>
                  <a:pt x="3196" y="334"/>
                  <a:pt x="3193" y="338"/>
                  <a:pt x="3189" y="341"/>
                </a:cubicBezTo>
                <a:cubicBezTo>
                  <a:pt x="3186" y="345"/>
                  <a:pt x="3182" y="347"/>
                  <a:pt x="3181" y="347"/>
                </a:cubicBezTo>
                <a:cubicBezTo>
                  <a:pt x="3181" y="347"/>
                  <a:pt x="3181" y="346"/>
                  <a:pt x="3181" y="346"/>
                </a:cubicBezTo>
                <a:cubicBezTo>
                  <a:pt x="3178" y="345"/>
                  <a:pt x="3176" y="343"/>
                  <a:pt x="3174" y="341"/>
                </a:cubicBezTo>
                <a:cubicBezTo>
                  <a:pt x="3172" y="340"/>
                  <a:pt x="3168" y="338"/>
                  <a:pt x="3164" y="338"/>
                </a:cubicBezTo>
                <a:cubicBezTo>
                  <a:pt x="3161" y="338"/>
                  <a:pt x="3157" y="339"/>
                  <a:pt x="3153" y="340"/>
                </a:cubicBezTo>
                <a:cubicBezTo>
                  <a:pt x="3151" y="341"/>
                  <a:pt x="3149" y="342"/>
                  <a:pt x="3146" y="342"/>
                </a:cubicBezTo>
                <a:cubicBezTo>
                  <a:pt x="3142" y="342"/>
                  <a:pt x="3137" y="341"/>
                  <a:pt x="3132" y="341"/>
                </a:cubicBezTo>
                <a:cubicBezTo>
                  <a:pt x="3128" y="340"/>
                  <a:pt x="3122" y="342"/>
                  <a:pt x="3119" y="346"/>
                </a:cubicBezTo>
                <a:cubicBezTo>
                  <a:pt x="3118" y="348"/>
                  <a:pt x="3117" y="349"/>
                  <a:pt x="3116" y="350"/>
                </a:cubicBezTo>
                <a:cubicBezTo>
                  <a:pt x="3114" y="349"/>
                  <a:pt x="3109" y="347"/>
                  <a:pt x="3102" y="344"/>
                </a:cubicBezTo>
                <a:cubicBezTo>
                  <a:pt x="3097" y="342"/>
                  <a:pt x="3093" y="341"/>
                  <a:pt x="3089" y="341"/>
                </a:cubicBezTo>
                <a:cubicBezTo>
                  <a:pt x="3082" y="341"/>
                  <a:pt x="3077" y="345"/>
                  <a:pt x="3074" y="348"/>
                </a:cubicBezTo>
                <a:cubicBezTo>
                  <a:pt x="3071" y="350"/>
                  <a:pt x="3068" y="352"/>
                  <a:pt x="3061" y="354"/>
                </a:cubicBezTo>
                <a:cubicBezTo>
                  <a:pt x="3057" y="355"/>
                  <a:pt x="3053" y="355"/>
                  <a:pt x="3049" y="355"/>
                </a:cubicBezTo>
                <a:cubicBezTo>
                  <a:pt x="3043" y="355"/>
                  <a:pt x="3038" y="354"/>
                  <a:pt x="3033" y="354"/>
                </a:cubicBezTo>
                <a:cubicBezTo>
                  <a:pt x="3028" y="354"/>
                  <a:pt x="3022" y="355"/>
                  <a:pt x="3018" y="360"/>
                </a:cubicBezTo>
                <a:cubicBezTo>
                  <a:pt x="3016" y="363"/>
                  <a:pt x="3015" y="366"/>
                  <a:pt x="3013" y="369"/>
                </a:cubicBezTo>
                <a:cubicBezTo>
                  <a:pt x="3013" y="367"/>
                  <a:pt x="3014" y="365"/>
                  <a:pt x="3015" y="364"/>
                </a:cubicBezTo>
                <a:cubicBezTo>
                  <a:pt x="3017" y="359"/>
                  <a:pt x="3019" y="355"/>
                  <a:pt x="3019" y="350"/>
                </a:cubicBezTo>
                <a:cubicBezTo>
                  <a:pt x="3019" y="347"/>
                  <a:pt x="3018" y="344"/>
                  <a:pt x="3016" y="342"/>
                </a:cubicBezTo>
                <a:cubicBezTo>
                  <a:pt x="3011" y="337"/>
                  <a:pt x="3005" y="337"/>
                  <a:pt x="2999" y="337"/>
                </a:cubicBezTo>
                <a:cubicBezTo>
                  <a:pt x="2994" y="337"/>
                  <a:pt x="2989" y="337"/>
                  <a:pt x="2985" y="338"/>
                </a:cubicBezTo>
                <a:cubicBezTo>
                  <a:pt x="2980" y="339"/>
                  <a:pt x="2977" y="340"/>
                  <a:pt x="2974" y="343"/>
                </a:cubicBezTo>
                <a:cubicBezTo>
                  <a:pt x="2971" y="348"/>
                  <a:pt x="2971" y="351"/>
                  <a:pt x="2971" y="355"/>
                </a:cubicBezTo>
                <a:cubicBezTo>
                  <a:pt x="2971" y="362"/>
                  <a:pt x="2972" y="370"/>
                  <a:pt x="2974" y="375"/>
                </a:cubicBezTo>
                <a:cubicBezTo>
                  <a:pt x="2974" y="375"/>
                  <a:pt x="2974" y="376"/>
                  <a:pt x="2975" y="377"/>
                </a:cubicBezTo>
                <a:cubicBezTo>
                  <a:pt x="2973" y="375"/>
                  <a:pt x="2970" y="373"/>
                  <a:pt x="2967" y="373"/>
                </a:cubicBezTo>
                <a:cubicBezTo>
                  <a:pt x="2966" y="373"/>
                  <a:pt x="2965" y="373"/>
                  <a:pt x="2964" y="373"/>
                </a:cubicBezTo>
                <a:cubicBezTo>
                  <a:pt x="2961" y="374"/>
                  <a:pt x="2958" y="375"/>
                  <a:pt x="2956" y="376"/>
                </a:cubicBezTo>
                <a:cubicBezTo>
                  <a:pt x="2957" y="375"/>
                  <a:pt x="2957" y="373"/>
                  <a:pt x="2957" y="371"/>
                </a:cubicBezTo>
                <a:cubicBezTo>
                  <a:pt x="2957" y="365"/>
                  <a:pt x="2953" y="363"/>
                  <a:pt x="2950" y="361"/>
                </a:cubicBezTo>
                <a:cubicBezTo>
                  <a:pt x="2940" y="356"/>
                  <a:pt x="2929" y="350"/>
                  <a:pt x="2911" y="347"/>
                </a:cubicBezTo>
                <a:cubicBezTo>
                  <a:pt x="2895" y="344"/>
                  <a:pt x="2874" y="344"/>
                  <a:pt x="2850" y="334"/>
                </a:cubicBezTo>
                <a:cubicBezTo>
                  <a:pt x="2825" y="323"/>
                  <a:pt x="2819" y="318"/>
                  <a:pt x="2807" y="315"/>
                </a:cubicBezTo>
                <a:cubicBezTo>
                  <a:pt x="2798" y="313"/>
                  <a:pt x="2754" y="304"/>
                  <a:pt x="2721" y="304"/>
                </a:cubicBezTo>
                <a:cubicBezTo>
                  <a:pt x="2714" y="304"/>
                  <a:pt x="2708" y="304"/>
                  <a:pt x="2702" y="306"/>
                </a:cubicBezTo>
                <a:cubicBezTo>
                  <a:pt x="2687" y="308"/>
                  <a:pt x="2660" y="316"/>
                  <a:pt x="2636" y="323"/>
                </a:cubicBezTo>
                <a:cubicBezTo>
                  <a:pt x="2624" y="327"/>
                  <a:pt x="2613" y="331"/>
                  <a:pt x="2604" y="334"/>
                </a:cubicBezTo>
                <a:cubicBezTo>
                  <a:pt x="2600" y="335"/>
                  <a:pt x="2596" y="337"/>
                  <a:pt x="2593" y="338"/>
                </a:cubicBezTo>
                <a:cubicBezTo>
                  <a:pt x="2590" y="339"/>
                  <a:pt x="2589" y="340"/>
                  <a:pt x="2586" y="341"/>
                </a:cubicBezTo>
                <a:cubicBezTo>
                  <a:pt x="2583" y="345"/>
                  <a:pt x="2580" y="350"/>
                  <a:pt x="2576" y="356"/>
                </a:cubicBezTo>
                <a:cubicBezTo>
                  <a:pt x="2572" y="362"/>
                  <a:pt x="2567" y="370"/>
                  <a:pt x="2560" y="376"/>
                </a:cubicBezTo>
                <a:cubicBezTo>
                  <a:pt x="2545" y="390"/>
                  <a:pt x="2517" y="421"/>
                  <a:pt x="2498" y="426"/>
                </a:cubicBezTo>
                <a:cubicBezTo>
                  <a:pt x="2486" y="429"/>
                  <a:pt x="2474" y="436"/>
                  <a:pt x="2464" y="443"/>
                </a:cubicBezTo>
                <a:cubicBezTo>
                  <a:pt x="2460" y="447"/>
                  <a:pt x="2455" y="450"/>
                  <a:pt x="2452" y="454"/>
                </a:cubicBezTo>
                <a:cubicBezTo>
                  <a:pt x="2450" y="457"/>
                  <a:pt x="2447" y="459"/>
                  <a:pt x="2446" y="465"/>
                </a:cubicBezTo>
                <a:cubicBezTo>
                  <a:pt x="2447" y="469"/>
                  <a:pt x="2449" y="474"/>
                  <a:pt x="2450" y="480"/>
                </a:cubicBezTo>
                <a:cubicBezTo>
                  <a:pt x="2452" y="485"/>
                  <a:pt x="2454" y="491"/>
                  <a:pt x="2454" y="493"/>
                </a:cubicBezTo>
                <a:cubicBezTo>
                  <a:pt x="2453" y="494"/>
                  <a:pt x="2453" y="496"/>
                  <a:pt x="2453" y="497"/>
                </a:cubicBezTo>
                <a:cubicBezTo>
                  <a:pt x="2453" y="502"/>
                  <a:pt x="2455" y="509"/>
                  <a:pt x="2458" y="515"/>
                </a:cubicBezTo>
                <a:cubicBezTo>
                  <a:pt x="2462" y="521"/>
                  <a:pt x="2467" y="527"/>
                  <a:pt x="2474" y="531"/>
                </a:cubicBezTo>
                <a:cubicBezTo>
                  <a:pt x="2480" y="533"/>
                  <a:pt x="2488" y="534"/>
                  <a:pt x="2494" y="535"/>
                </a:cubicBezTo>
                <a:cubicBezTo>
                  <a:pt x="2498" y="535"/>
                  <a:pt x="2501" y="534"/>
                  <a:pt x="2503" y="534"/>
                </a:cubicBezTo>
                <a:cubicBezTo>
                  <a:pt x="2503" y="534"/>
                  <a:pt x="2503" y="534"/>
                  <a:pt x="2503" y="534"/>
                </a:cubicBezTo>
                <a:cubicBezTo>
                  <a:pt x="2498" y="536"/>
                  <a:pt x="2492" y="539"/>
                  <a:pt x="2489" y="545"/>
                </a:cubicBezTo>
                <a:cubicBezTo>
                  <a:pt x="2487" y="551"/>
                  <a:pt x="2485" y="560"/>
                  <a:pt x="2484" y="568"/>
                </a:cubicBezTo>
                <a:cubicBezTo>
                  <a:pt x="2485" y="572"/>
                  <a:pt x="2485" y="577"/>
                  <a:pt x="2488" y="581"/>
                </a:cubicBezTo>
                <a:cubicBezTo>
                  <a:pt x="2489" y="583"/>
                  <a:pt x="2490" y="584"/>
                  <a:pt x="2492" y="586"/>
                </a:cubicBezTo>
                <a:cubicBezTo>
                  <a:pt x="2488" y="585"/>
                  <a:pt x="2483" y="585"/>
                  <a:pt x="2479" y="585"/>
                </a:cubicBezTo>
                <a:cubicBezTo>
                  <a:pt x="2471" y="585"/>
                  <a:pt x="2463" y="587"/>
                  <a:pt x="2457" y="592"/>
                </a:cubicBezTo>
                <a:cubicBezTo>
                  <a:pt x="2449" y="599"/>
                  <a:pt x="2437" y="613"/>
                  <a:pt x="2432" y="617"/>
                </a:cubicBezTo>
                <a:cubicBezTo>
                  <a:pt x="2429" y="618"/>
                  <a:pt x="2425" y="618"/>
                  <a:pt x="2419" y="620"/>
                </a:cubicBezTo>
                <a:cubicBezTo>
                  <a:pt x="2418" y="620"/>
                  <a:pt x="2416" y="621"/>
                  <a:pt x="2414" y="621"/>
                </a:cubicBezTo>
                <a:cubicBezTo>
                  <a:pt x="2414" y="621"/>
                  <a:pt x="2414" y="620"/>
                  <a:pt x="2414" y="620"/>
                </a:cubicBezTo>
                <a:cubicBezTo>
                  <a:pt x="2412" y="607"/>
                  <a:pt x="2400" y="592"/>
                  <a:pt x="2387" y="585"/>
                </a:cubicBezTo>
                <a:cubicBezTo>
                  <a:pt x="2384" y="583"/>
                  <a:pt x="2379" y="576"/>
                  <a:pt x="2374" y="569"/>
                </a:cubicBezTo>
                <a:cubicBezTo>
                  <a:pt x="2369" y="561"/>
                  <a:pt x="2364" y="554"/>
                  <a:pt x="2360" y="550"/>
                </a:cubicBezTo>
                <a:cubicBezTo>
                  <a:pt x="2360" y="550"/>
                  <a:pt x="2360" y="550"/>
                  <a:pt x="2360" y="550"/>
                </a:cubicBezTo>
                <a:cubicBezTo>
                  <a:pt x="2360" y="548"/>
                  <a:pt x="2363" y="541"/>
                  <a:pt x="2363" y="533"/>
                </a:cubicBezTo>
                <a:cubicBezTo>
                  <a:pt x="2363" y="529"/>
                  <a:pt x="2362" y="525"/>
                  <a:pt x="2359" y="521"/>
                </a:cubicBezTo>
                <a:cubicBezTo>
                  <a:pt x="2355" y="516"/>
                  <a:pt x="2350" y="513"/>
                  <a:pt x="2346" y="511"/>
                </a:cubicBezTo>
                <a:cubicBezTo>
                  <a:pt x="2342" y="509"/>
                  <a:pt x="2339" y="508"/>
                  <a:pt x="2335" y="505"/>
                </a:cubicBezTo>
                <a:cubicBezTo>
                  <a:pt x="2332" y="503"/>
                  <a:pt x="2328" y="501"/>
                  <a:pt x="2325" y="501"/>
                </a:cubicBezTo>
                <a:cubicBezTo>
                  <a:pt x="2314" y="502"/>
                  <a:pt x="2308" y="510"/>
                  <a:pt x="2304" y="516"/>
                </a:cubicBezTo>
                <a:cubicBezTo>
                  <a:pt x="2303" y="517"/>
                  <a:pt x="2303" y="517"/>
                  <a:pt x="2303" y="517"/>
                </a:cubicBezTo>
                <a:cubicBezTo>
                  <a:pt x="2303" y="517"/>
                  <a:pt x="2303" y="517"/>
                  <a:pt x="2303" y="517"/>
                </a:cubicBezTo>
                <a:cubicBezTo>
                  <a:pt x="2302" y="517"/>
                  <a:pt x="2298" y="515"/>
                  <a:pt x="2292" y="514"/>
                </a:cubicBezTo>
                <a:cubicBezTo>
                  <a:pt x="2290" y="514"/>
                  <a:pt x="2289" y="515"/>
                  <a:pt x="2287" y="515"/>
                </a:cubicBezTo>
                <a:cubicBezTo>
                  <a:pt x="2280" y="518"/>
                  <a:pt x="2277" y="525"/>
                  <a:pt x="2277" y="531"/>
                </a:cubicBezTo>
                <a:cubicBezTo>
                  <a:pt x="2277" y="538"/>
                  <a:pt x="2280" y="544"/>
                  <a:pt x="2283" y="549"/>
                </a:cubicBezTo>
                <a:cubicBezTo>
                  <a:pt x="2284" y="551"/>
                  <a:pt x="2286" y="554"/>
                  <a:pt x="2288" y="557"/>
                </a:cubicBezTo>
                <a:cubicBezTo>
                  <a:pt x="2285" y="556"/>
                  <a:pt x="2283" y="556"/>
                  <a:pt x="2281" y="556"/>
                </a:cubicBezTo>
                <a:cubicBezTo>
                  <a:pt x="2279" y="556"/>
                  <a:pt x="2277" y="556"/>
                  <a:pt x="2275" y="557"/>
                </a:cubicBezTo>
                <a:cubicBezTo>
                  <a:pt x="2267" y="558"/>
                  <a:pt x="2263" y="564"/>
                  <a:pt x="2261" y="567"/>
                </a:cubicBezTo>
                <a:cubicBezTo>
                  <a:pt x="2260" y="569"/>
                  <a:pt x="2259" y="571"/>
                  <a:pt x="2258" y="571"/>
                </a:cubicBezTo>
                <a:cubicBezTo>
                  <a:pt x="2258" y="571"/>
                  <a:pt x="2258" y="571"/>
                  <a:pt x="2258" y="572"/>
                </a:cubicBezTo>
                <a:cubicBezTo>
                  <a:pt x="2254" y="572"/>
                  <a:pt x="2250" y="572"/>
                  <a:pt x="2246" y="574"/>
                </a:cubicBezTo>
                <a:cubicBezTo>
                  <a:pt x="2242" y="576"/>
                  <a:pt x="2239" y="581"/>
                  <a:pt x="2239" y="587"/>
                </a:cubicBezTo>
                <a:cubicBezTo>
                  <a:pt x="2239" y="588"/>
                  <a:pt x="2239" y="590"/>
                  <a:pt x="2239" y="591"/>
                </a:cubicBezTo>
                <a:cubicBezTo>
                  <a:pt x="2241" y="598"/>
                  <a:pt x="2243" y="603"/>
                  <a:pt x="2243" y="605"/>
                </a:cubicBezTo>
                <a:cubicBezTo>
                  <a:pt x="2243" y="605"/>
                  <a:pt x="2243" y="605"/>
                  <a:pt x="2243" y="605"/>
                </a:cubicBezTo>
                <a:cubicBezTo>
                  <a:pt x="2243" y="605"/>
                  <a:pt x="2243" y="605"/>
                  <a:pt x="2242" y="605"/>
                </a:cubicBezTo>
                <a:cubicBezTo>
                  <a:pt x="2238" y="608"/>
                  <a:pt x="2237" y="612"/>
                  <a:pt x="2237" y="616"/>
                </a:cubicBezTo>
                <a:cubicBezTo>
                  <a:pt x="2237" y="621"/>
                  <a:pt x="2239" y="626"/>
                  <a:pt x="2242" y="630"/>
                </a:cubicBezTo>
                <a:cubicBezTo>
                  <a:pt x="2245" y="634"/>
                  <a:pt x="2249" y="638"/>
                  <a:pt x="2255" y="639"/>
                </a:cubicBezTo>
                <a:cubicBezTo>
                  <a:pt x="2255" y="639"/>
                  <a:pt x="2255" y="639"/>
                  <a:pt x="2255" y="639"/>
                </a:cubicBezTo>
                <a:cubicBezTo>
                  <a:pt x="2256" y="639"/>
                  <a:pt x="2257" y="639"/>
                  <a:pt x="2258" y="639"/>
                </a:cubicBezTo>
                <a:cubicBezTo>
                  <a:pt x="2270" y="639"/>
                  <a:pt x="2279" y="630"/>
                  <a:pt x="2286" y="627"/>
                </a:cubicBezTo>
                <a:cubicBezTo>
                  <a:pt x="2295" y="623"/>
                  <a:pt x="2309" y="614"/>
                  <a:pt x="2309" y="597"/>
                </a:cubicBezTo>
                <a:cubicBezTo>
                  <a:pt x="2309" y="590"/>
                  <a:pt x="2308" y="583"/>
                  <a:pt x="2307" y="577"/>
                </a:cubicBezTo>
                <a:cubicBezTo>
                  <a:pt x="2308" y="578"/>
                  <a:pt x="2309" y="578"/>
                  <a:pt x="2309" y="579"/>
                </a:cubicBezTo>
                <a:cubicBezTo>
                  <a:pt x="2312" y="573"/>
                  <a:pt x="2312" y="573"/>
                  <a:pt x="2312" y="573"/>
                </a:cubicBezTo>
                <a:cubicBezTo>
                  <a:pt x="2309" y="579"/>
                  <a:pt x="2309" y="579"/>
                  <a:pt x="2309" y="579"/>
                </a:cubicBezTo>
                <a:cubicBezTo>
                  <a:pt x="2315" y="581"/>
                  <a:pt x="2322" y="584"/>
                  <a:pt x="2328" y="586"/>
                </a:cubicBezTo>
                <a:cubicBezTo>
                  <a:pt x="2329" y="587"/>
                  <a:pt x="2330" y="587"/>
                  <a:pt x="2331" y="588"/>
                </a:cubicBezTo>
                <a:cubicBezTo>
                  <a:pt x="2327" y="591"/>
                  <a:pt x="2322" y="595"/>
                  <a:pt x="2318" y="599"/>
                </a:cubicBezTo>
                <a:cubicBezTo>
                  <a:pt x="2312" y="605"/>
                  <a:pt x="2307" y="611"/>
                  <a:pt x="2305" y="617"/>
                </a:cubicBezTo>
                <a:cubicBezTo>
                  <a:pt x="2305" y="618"/>
                  <a:pt x="2305" y="619"/>
                  <a:pt x="2305" y="620"/>
                </a:cubicBezTo>
                <a:cubicBezTo>
                  <a:pt x="2306" y="629"/>
                  <a:pt x="2312" y="633"/>
                  <a:pt x="2318" y="636"/>
                </a:cubicBezTo>
                <a:cubicBezTo>
                  <a:pt x="2319" y="637"/>
                  <a:pt x="2321" y="638"/>
                  <a:pt x="2322" y="638"/>
                </a:cubicBezTo>
                <a:cubicBezTo>
                  <a:pt x="2322" y="640"/>
                  <a:pt x="2321" y="642"/>
                  <a:pt x="2321" y="644"/>
                </a:cubicBezTo>
                <a:cubicBezTo>
                  <a:pt x="2321" y="647"/>
                  <a:pt x="2323" y="652"/>
                  <a:pt x="2327" y="653"/>
                </a:cubicBezTo>
                <a:cubicBezTo>
                  <a:pt x="2328" y="654"/>
                  <a:pt x="2330" y="654"/>
                  <a:pt x="2331" y="654"/>
                </a:cubicBezTo>
                <a:cubicBezTo>
                  <a:pt x="2338" y="654"/>
                  <a:pt x="2340" y="650"/>
                  <a:pt x="2342" y="648"/>
                </a:cubicBezTo>
                <a:cubicBezTo>
                  <a:pt x="2345" y="645"/>
                  <a:pt x="2346" y="644"/>
                  <a:pt x="2348" y="644"/>
                </a:cubicBezTo>
                <a:cubicBezTo>
                  <a:pt x="2355" y="644"/>
                  <a:pt x="2372" y="650"/>
                  <a:pt x="2383" y="651"/>
                </a:cubicBezTo>
                <a:cubicBezTo>
                  <a:pt x="2375" y="653"/>
                  <a:pt x="2366" y="655"/>
                  <a:pt x="2357" y="657"/>
                </a:cubicBezTo>
                <a:cubicBezTo>
                  <a:pt x="2349" y="659"/>
                  <a:pt x="2345" y="662"/>
                  <a:pt x="2341" y="664"/>
                </a:cubicBezTo>
                <a:cubicBezTo>
                  <a:pt x="2338" y="666"/>
                  <a:pt x="2336" y="667"/>
                  <a:pt x="2329" y="668"/>
                </a:cubicBezTo>
                <a:cubicBezTo>
                  <a:pt x="2324" y="668"/>
                  <a:pt x="2320" y="669"/>
                  <a:pt x="2317" y="671"/>
                </a:cubicBezTo>
                <a:cubicBezTo>
                  <a:pt x="2313" y="673"/>
                  <a:pt x="2310" y="675"/>
                  <a:pt x="2310" y="680"/>
                </a:cubicBezTo>
                <a:cubicBezTo>
                  <a:pt x="2310" y="685"/>
                  <a:pt x="2313" y="687"/>
                  <a:pt x="2315" y="689"/>
                </a:cubicBezTo>
                <a:cubicBezTo>
                  <a:pt x="2318" y="691"/>
                  <a:pt x="2321" y="692"/>
                  <a:pt x="2325" y="692"/>
                </a:cubicBezTo>
                <a:cubicBezTo>
                  <a:pt x="2331" y="694"/>
                  <a:pt x="2341" y="697"/>
                  <a:pt x="2348" y="701"/>
                </a:cubicBezTo>
                <a:cubicBezTo>
                  <a:pt x="2355" y="705"/>
                  <a:pt x="2359" y="711"/>
                  <a:pt x="2359" y="713"/>
                </a:cubicBezTo>
                <a:cubicBezTo>
                  <a:pt x="2359" y="715"/>
                  <a:pt x="2359" y="717"/>
                  <a:pt x="2359" y="719"/>
                </a:cubicBezTo>
                <a:cubicBezTo>
                  <a:pt x="2359" y="729"/>
                  <a:pt x="2356" y="739"/>
                  <a:pt x="2352" y="749"/>
                </a:cubicBezTo>
                <a:cubicBezTo>
                  <a:pt x="2352" y="749"/>
                  <a:pt x="2352" y="749"/>
                  <a:pt x="2352" y="749"/>
                </a:cubicBezTo>
                <a:cubicBezTo>
                  <a:pt x="2352" y="749"/>
                  <a:pt x="2349" y="750"/>
                  <a:pt x="2344" y="750"/>
                </a:cubicBezTo>
                <a:cubicBezTo>
                  <a:pt x="2336" y="750"/>
                  <a:pt x="2325" y="748"/>
                  <a:pt x="2316" y="748"/>
                </a:cubicBezTo>
                <a:cubicBezTo>
                  <a:pt x="2308" y="748"/>
                  <a:pt x="2293" y="746"/>
                  <a:pt x="2279" y="746"/>
                </a:cubicBezTo>
                <a:cubicBezTo>
                  <a:pt x="2273" y="746"/>
                  <a:pt x="2267" y="746"/>
                  <a:pt x="2261" y="749"/>
                </a:cubicBezTo>
                <a:cubicBezTo>
                  <a:pt x="2250" y="754"/>
                  <a:pt x="2249" y="767"/>
                  <a:pt x="2249" y="778"/>
                </a:cubicBezTo>
                <a:cubicBezTo>
                  <a:pt x="2249" y="786"/>
                  <a:pt x="2250" y="795"/>
                  <a:pt x="2252" y="801"/>
                </a:cubicBezTo>
                <a:cubicBezTo>
                  <a:pt x="2253" y="804"/>
                  <a:pt x="2253" y="806"/>
                  <a:pt x="2253" y="808"/>
                </a:cubicBezTo>
                <a:cubicBezTo>
                  <a:pt x="2253" y="813"/>
                  <a:pt x="2251" y="816"/>
                  <a:pt x="2248" y="818"/>
                </a:cubicBezTo>
                <a:cubicBezTo>
                  <a:pt x="2244" y="823"/>
                  <a:pt x="2242" y="828"/>
                  <a:pt x="2242" y="834"/>
                </a:cubicBezTo>
                <a:cubicBezTo>
                  <a:pt x="2242" y="839"/>
                  <a:pt x="2244" y="845"/>
                  <a:pt x="2248" y="849"/>
                </a:cubicBezTo>
                <a:cubicBezTo>
                  <a:pt x="2250" y="851"/>
                  <a:pt x="2253" y="855"/>
                  <a:pt x="2255" y="859"/>
                </a:cubicBezTo>
                <a:cubicBezTo>
                  <a:pt x="2258" y="863"/>
                  <a:pt x="2259" y="868"/>
                  <a:pt x="2265" y="870"/>
                </a:cubicBezTo>
                <a:cubicBezTo>
                  <a:pt x="2267" y="871"/>
                  <a:pt x="2268" y="871"/>
                  <a:pt x="2269" y="871"/>
                </a:cubicBezTo>
                <a:cubicBezTo>
                  <a:pt x="2274" y="871"/>
                  <a:pt x="2278" y="869"/>
                  <a:pt x="2282" y="870"/>
                </a:cubicBezTo>
                <a:cubicBezTo>
                  <a:pt x="2286" y="870"/>
                  <a:pt x="2288" y="870"/>
                  <a:pt x="2288" y="871"/>
                </a:cubicBezTo>
                <a:cubicBezTo>
                  <a:pt x="2290" y="873"/>
                  <a:pt x="2292" y="878"/>
                  <a:pt x="2295" y="882"/>
                </a:cubicBezTo>
                <a:cubicBezTo>
                  <a:pt x="2296" y="884"/>
                  <a:pt x="2297" y="887"/>
                  <a:pt x="2299" y="888"/>
                </a:cubicBezTo>
                <a:cubicBezTo>
                  <a:pt x="2299" y="889"/>
                  <a:pt x="2299" y="889"/>
                  <a:pt x="2299" y="889"/>
                </a:cubicBezTo>
                <a:cubicBezTo>
                  <a:pt x="2299" y="889"/>
                  <a:pt x="2299" y="889"/>
                  <a:pt x="2298" y="890"/>
                </a:cubicBezTo>
                <a:cubicBezTo>
                  <a:pt x="2291" y="894"/>
                  <a:pt x="2284" y="901"/>
                  <a:pt x="2279" y="905"/>
                </a:cubicBezTo>
                <a:cubicBezTo>
                  <a:pt x="2276" y="908"/>
                  <a:pt x="2274" y="910"/>
                  <a:pt x="2272" y="911"/>
                </a:cubicBezTo>
                <a:cubicBezTo>
                  <a:pt x="2272" y="911"/>
                  <a:pt x="2271" y="912"/>
                  <a:pt x="2271" y="912"/>
                </a:cubicBezTo>
                <a:cubicBezTo>
                  <a:pt x="2268" y="912"/>
                  <a:pt x="2266" y="914"/>
                  <a:pt x="2264" y="915"/>
                </a:cubicBezTo>
                <a:cubicBezTo>
                  <a:pt x="2258" y="920"/>
                  <a:pt x="2251" y="930"/>
                  <a:pt x="2245" y="946"/>
                </a:cubicBezTo>
                <a:cubicBezTo>
                  <a:pt x="2242" y="958"/>
                  <a:pt x="2242" y="968"/>
                  <a:pt x="2241" y="976"/>
                </a:cubicBezTo>
                <a:cubicBezTo>
                  <a:pt x="2241" y="984"/>
                  <a:pt x="2240" y="987"/>
                  <a:pt x="2237" y="989"/>
                </a:cubicBezTo>
                <a:cubicBezTo>
                  <a:pt x="2224" y="996"/>
                  <a:pt x="2201" y="1011"/>
                  <a:pt x="2190" y="1023"/>
                </a:cubicBezTo>
                <a:cubicBezTo>
                  <a:pt x="2184" y="1030"/>
                  <a:pt x="2179" y="1042"/>
                  <a:pt x="2174" y="1056"/>
                </a:cubicBezTo>
                <a:cubicBezTo>
                  <a:pt x="2168" y="1069"/>
                  <a:pt x="2163" y="1083"/>
                  <a:pt x="2157" y="1091"/>
                </a:cubicBezTo>
                <a:cubicBezTo>
                  <a:pt x="2153" y="1098"/>
                  <a:pt x="2151" y="1105"/>
                  <a:pt x="2151" y="1111"/>
                </a:cubicBezTo>
                <a:cubicBezTo>
                  <a:pt x="2152" y="1125"/>
                  <a:pt x="2158" y="1135"/>
                  <a:pt x="2159" y="1141"/>
                </a:cubicBezTo>
                <a:cubicBezTo>
                  <a:pt x="2160" y="1148"/>
                  <a:pt x="2163" y="1157"/>
                  <a:pt x="2163" y="1167"/>
                </a:cubicBezTo>
                <a:cubicBezTo>
                  <a:pt x="2163" y="1174"/>
                  <a:pt x="2162" y="1181"/>
                  <a:pt x="2157" y="1188"/>
                </a:cubicBezTo>
                <a:cubicBezTo>
                  <a:pt x="2151" y="1198"/>
                  <a:pt x="2148" y="1206"/>
                  <a:pt x="2146" y="1211"/>
                </a:cubicBezTo>
                <a:cubicBezTo>
                  <a:pt x="2145" y="1213"/>
                  <a:pt x="2144" y="1215"/>
                  <a:pt x="2144" y="1215"/>
                </a:cubicBezTo>
                <a:cubicBezTo>
                  <a:pt x="2143" y="1216"/>
                  <a:pt x="2143" y="1216"/>
                  <a:pt x="2143" y="1216"/>
                </a:cubicBezTo>
                <a:cubicBezTo>
                  <a:pt x="2142" y="1216"/>
                  <a:pt x="2141" y="1216"/>
                  <a:pt x="2140" y="1217"/>
                </a:cubicBezTo>
                <a:cubicBezTo>
                  <a:pt x="2139" y="1218"/>
                  <a:pt x="2138" y="1221"/>
                  <a:pt x="2138" y="1223"/>
                </a:cubicBezTo>
                <a:cubicBezTo>
                  <a:pt x="2138" y="1226"/>
                  <a:pt x="2139" y="1227"/>
                  <a:pt x="2140" y="1229"/>
                </a:cubicBezTo>
                <a:cubicBezTo>
                  <a:pt x="2143" y="1232"/>
                  <a:pt x="2146" y="1236"/>
                  <a:pt x="2147" y="1243"/>
                </a:cubicBezTo>
                <a:cubicBezTo>
                  <a:pt x="2148" y="1244"/>
                  <a:pt x="2148" y="1245"/>
                  <a:pt x="2148" y="1246"/>
                </a:cubicBezTo>
                <a:cubicBezTo>
                  <a:pt x="2148" y="1250"/>
                  <a:pt x="2146" y="1256"/>
                  <a:pt x="2146" y="1263"/>
                </a:cubicBezTo>
                <a:cubicBezTo>
                  <a:pt x="2145" y="1271"/>
                  <a:pt x="2150" y="1281"/>
                  <a:pt x="2162" y="1287"/>
                </a:cubicBezTo>
                <a:cubicBezTo>
                  <a:pt x="2183" y="1299"/>
                  <a:pt x="2192" y="1309"/>
                  <a:pt x="2197" y="1324"/>
                </a:cubicBezTo>
                <a:cubicBezTo>
                  <a:pt x="2204" y="1343"/>
                  <a:pt x="2233" y="1370"/>
                  <a:pt x="2233" y="1370"/>
                </a:cubicBezTo>
                <a:cubicBezTo>
                  <a:pt x="2233" y="1371"/>
                  <a:pt x="2254" y="1392"/>
                  <a:pt x="2264" y="1402"/>
                </a:cubicBezTo>
                <a:cubicBezTo>
                  <a:pt x="2269" y="1406"/>
                  <a:pt x="2272" y="1409"/>
                  <a:pt x="2277" y="1409"/>
                </a:cubicBezTo>
                <a:cubicBezTo>
                  <a:pt x="2282" y="1409"/>
                  <a:pt x="2285" y="1406"/>
                  <a:pt x="2287" y="1403"/>
                </a:cubicBezTo>
                <a:cubicBezTo>
                  <a:pt x="2289" y="1400"/>
                  <a:pt x="2290" y="1397"/>
                  <a:pt x="2290" y="1394"/>
                </a:cubicBezTo>
                <a:cubicBezTo>
                  <a:pt x="2291" y="1392"/>
                  <a:pt x="2292" y="1390"/>
                  <a:pt x="2297" y="1389"/>
                </a:cubicBezTo>
                <a:cubicBezTo>
                  <a:pt x="2302" y="1388"/>
                  <a:pt x="2309" y="1387"/>
                  <a:pt x="2317" y="1387"/>
                </a:cubicBezTo>
                <a:cubicBezTo>
                  <a:pt x="2328" y="1387"/>
                  <a:pt x="2337" y="1390"/>
                  <a:pt x="2349" y="1390"/>
                </a:cubicBezTo>
                <a:cubicBezTo>
                  <a:pt x="2353" y="1390"/>
                  <a:pt x="2357" y="1389"/>
                  <a:pt x="2361" y="1389"/>
                </a:cubicBezTo>
                <a:cubicBezTo>
                  <a:pt x="2380" y="1385"/>
                  <a:pt x="2396" y="1372"/>
                  <a:pt x="2401" y="1370"/>
                </a:cubicBezTo>
                <a:cubicBezTo>
                  <a:pt x="2406" y="1367"/>
                  <a:pt x="2417" y="1360"/>
                  <a:pt x="2426" y="1360"/>
                </a:cubicBezTo>
                <a:cubicBezTo>
                  <a:pt x="2430" y="1360"/>
                  <a:pt x="2432" y="1361"/>
                  <a:pt x="2435" y="1363"/>
                </a:cubicBezTo>
                <a:cubicBezTo>
                  <a:pt x="2441" y="1367"/>
                  <a:pt x="2444" y="1372"/>
                  <a:pt x="2446" y="1378"/>
                </a:cubicBezTo>
                <a:cubicBezTo>
                  <a:pt x="2448" y="1384"/>
                  <a:pt x="2450" y="1391"/>
                  <a:pt x="2455" y="1398"/>
                </a:cubicBezTo>
                <a:cubicBezTo>
                  <a:pt x="2459" y="1402"/>
                  <a:pt x="2465" y="1405"/>
                  <a:pt x="2470" y="1405"/>
                </a:cubicBezTo>
                <a:cubicBezTo>
                  <a:pt x="2480" y="1405"/>
                  <a:pt x="2488" y="1399"/>
                  <a:pt x="2496" y="1393"/>
                </a:cubicBezTo>
                <a:cubicBezTo>
                  <a:pt x="2497" y="1391"/>
                  <a:pt x="2498" y="1390"/>
                  <a:pt x="2499" y="1390"/>
                </a:cubicBezTo>
                <a:cubicBezTo>
                  <a:pt x="2500" y="1391"/>
                  <a:pt x="2503" y="1394"/>
                  <a:pt x="2507" y="1396"/>
                </a:cubicBezTo>
                <a:cubicBezTo>
                  <a:pt x="2514" y="1401"/>
                  <a:pt x="2517" y="1405"/>
                  <a:pt x="2517" y="1407"/>
                </a:cubicBezTo>
                <a:cubicBezTo>
                  <a:pt x="2517" y="1409"/>
                  <a:pt x="2516" y="1412"/>
                  <a:pt x="2513" y="1416"/>
                </a:cubicBezTo>
                <a:cubicBezTo>
                  <a:pt x="2505" y="1424"/>
                  <a:pt x="2504" y="1433"/>
                  <a:pt x="2503" y="1442"/>
                </a:cubicBezTo>
                <a:cubicBezTo>
                  <a:pt x="2503" y="1451"/>
                  <a:pt x="2503" y="1460"/>
                  <a:pt x="2500" y="1469"/>
                </a:cubicBezTo>
                <a:cubicBezTo>
                  <a:pt x="2497" y="1477"/>
                  <a:pt x="2495" y="1482"/>
                  <a:pt x="2495" y="1487"/>
                </a:cubicBezTo>
                <a:cubicBezTo>
                  <a:pt x="2495" y="1491"/>
                  <a:pt x="2497" y="1496"/>
                  <a:pt x="2499" y="1499"/>
                </a:cubicBezTo>
                <a:cubicBezTo>
                  <a:pt x="2502" y="1501"/>
                  <a:pt x="2505" y="1504"/>
                  <a:pt x="2509" y="1506"/>
                </a:cubicBezTo>
                <a:cubicBezTo>
                  <a:pt x="2513" y="1508"/>
                  <a:pt x="2523" y="1523"/>
                  <a:pt x="2530" y="1538"/>
                </a:cubicBezTo>
                <a:cubicBezTo>
                  <a:pt x="2539" y="1553"/>
                  <a:pt x="2546" y="1568"/>
                  <a:pt x="2550" y="1574"/>
                </a:cubicBezTo>
                <a:cubicBezTo>
                  <a:pt x="2551" y="1575"/>
                  <a:pt x="2552" y="1579"/>
                  <a:pt x="2552" y="1584"/>
                </a:cubicBezTo>
                <a:cubicBezTo>
                  <a:pt x="2552" y="1590"/>
                  <a:pt x="2551" y="1596"/>
                  <a:pt x="2551" y="1603"/>
                </a:cubicBezTo>
                <a:cubicBezTo>
                  <a:pt x="2551" y="1611"/>
                  <a:pt x="2552" y="1619"/>
                  <a:pt x="2555" y="1627"/>
                </a:cubicBezTo>
                <a:cubicBezTo>
                  <a:pt x="2561" y="1638"/>
                  <a:pt x="2566" y="1647"/>
                  <a:pt x="2566" y="1651"/>
                </a:cubicBezTo>
                <a:cubicBezTo>
                  <a:pt x="2565" y="1653"/>
                  <a:pt x="2565" y="1653"/>
                  <a:pt x="2564" y="1655"/>
                </a:cubicBezTo>
                <a:cubicBezTo>
                  <a:pt x="2554" y="1664"/>
                  <a:pt x="2536" y="1680"/>
                  <a:pt x="2535" y="1710"/>
                </a:cubicBezTo>
                <a:cubicBezTo>
                  <a:pt x="2535" y="1713"/>
                  <a:pt x="2535" y="1716"/>
                  <a:pt x="2535" y="1718"/>
                </a:cubicBezTo>
                <a:cubicBezTo>
                  <a:pt x="2535" y="1743"/>
                  <a:pt x="2540" y="1760"/>
                  <a:pt x="2545" y="1770"/>
                </a:cubicBezTo>
                <a:cubicBezTo>
                  <a:pt x="2549" y="1779"/>
                  <a:pt x="2561" y="1805"/>
                  <a:pt x="2567" y="1816"/>
                </a:cubicBezTo>
                <a:cubicBezTo>
                  <a:pt x="2572" y="1824"/>
                  <a:pt x="2579" y="1848"/>
                  <a:pt x="2580" y="1861"/>
                </a:cubicBezTo>
                <a:cubicBezTo>
                  <a:pt x="2580" y="1864"/>
                  <a:pt x="2580" y="1866"/>
                  <a:pt x="2580" y="1869"/>
                </a:cubicBezTo>
                <a:cubicBezTo>
                  <a:pt x="2580" y="1874"/>
                  <a:pt x="2580" y="1879"/>
                  <a:pt x="2580" y="1884"/>
                </a:cubicBezTo>
                <a:cubicBezTo>
                  <a:pt x="2580" y="1892"/>
                  <a:pt x="2580" y="1899"/>
                  <a:pt x="2584" y="1906"/>
                </a:cubicBezTo>
                <a:cubicBezTo>
                  <a:pt x="2589" y="1913"/>
                  <a:pt x="2593" y="1926"/>
                  <a:pt x="2605" y="1938"/>
                </a:cubicBezTo>
                <a:cubicBezTo>
                  <a:pt x="2609" y="1942"/>
                  <a:pt x="2612" y="1950"/>
                  <a:pt x="2614" y="1957"/>
                </a:cubicBezTo>
                <a:cubicBezTo>
                  <a:pt x="2616" y="1964"/>
                  <a:pt x="2617" y="1969"/>
                  <a:pt x="2617" y="1969"/>
                </a:cubicBezTo>
                <a:cubicBezTo>
                  <a:pt x="2617" y="1971"/>
                  <a:pt x="2617" y="1971"/>
                  <a:pt x="2617" y="1971"/>
                </a:cubicBezTo>
                <a:cubicBezTo>
                  <a:pt x="2617" y="1971"/>
                  <a:pt x="2618" y="1973"/>
                  <a:pt x="2619" y="1977"/>
                </a:cubicBezTo>
                <a:cubicBezTo>
                  <a:pt x="2620" y="1981"/>
                  <a:pt x="2621" y="1987"/>
                  <a:pt x="2621" y="1994"/>
                </a:cubicBezTo>
                <a:cubicBezTo>
                  <a:pt x="2622" y="2001"/>
                  <a:pt x="2622" y="2008"/>
                  <a:pt x="2625" y="2014"/>
                </a:cubicBezTo>
                <a:cubicBezTo>
                  <a:pt x="2627" y="2021"/>
                  <a:pt x="2631" y="2026"/>
                  <a:pt x="2638" y="2030"/>
                </a:cubicBezTo>
                <a:cubicBezTo>
                  <a:pt x="2645" y="2034"/>
                  <a:pt x="2651" y="2036"/>
                  <a:pt x="2657" y="2036"/>
                </a:cubicBezTo>
                <a:cubicBezTo>
                  <a:pt x="2658" y="2036"/>
                  <a:pt x="2658" y="2036"/>
                  <a:pt x="2658" y="2036"/>
                </a:cubicBezTo>
                <a:cubicBezTo>
                  <a:pt x="2663" y="2036"/>
                  <a:pt x="2668" y="2034"/>
                  <a:pt x="2671" y="2030"/>
                </a:cubicBezTo>
                <a:cubicBezTo>
                  <a:pt x="2671" y="2030"/>
                  <a:pt x="2672" y="2029"/>
                  <a:pt x="2674" y="2028"/>
                </a:cubicBezTo>
                <a:cubicBezTo>
                  <a:pt x="2681" y="2026"/>
                  <a:pt x="2693" y="2025"/>
                  <a:pt x="2704" y="2025"/>
                </a:cubicBezTo>
                <a:cubicBezTo>
                  <a:pt x="2708" y="2025"/>
                  <a:pt x="2712" y="2025"/>
                  <a:pt x="2715" y="2026"/>
                </a:cubicBezTo>
                <a:cubicBezTo>
                  <a:pt x="2717" y="2026"/>
                  <a:pt x="2718" y="2026"/>
                  <a:pt x="2719" y="2026"/>
                </a:cubicBezTo>
                <a:cubicBezTo>
                  <a:pt x="2736" y="2026"/>
                  <a:pt x="2752" y="2015"/>
                  <a:pt x="2767" y="2003"/>
                </a:cubicBezTo>
                <a:cubicBezTo>
                  <a:pt x="2783" y="1990"/>
                  <a:pt x="2805" y="1957"/>
                  <a:pt x="2813" y="1948"/>
                </a:cubicBezTo>
                <a:cubicBezTo>
                  <a:pt x="2816" y="1943"/>
                  <a:pt x="2822" y="1937"/>
                  <a:pt x="2828" y="1930"/>
                </a:cubicBezTo>
                <a:cubicBezTo>
                  <a:pt x="2833" y="1923"/>
                  <a:pt x="2838" y="1916"/>
                  <a:pt x="2838" y="1907"/>
                </a:cubicBezTo>
                <a:cubicBezTo>
                  <a:pt x="2838" y="1906"/>
                  <a:pt x="2838" y="1905"/>
                  <a:pt x="2838" y="1904"/>
                </a:cubicBezTo>
                <a:cubicBezTo>
                  <a:pt x="2837" y="1897"/>
                  <a:pt x="2835" y="1892"/>
                  <a:pt x="2835" y="1888"/>
                </a:cubicBezTo>
                <a:cubicBezTo>
                  <a:pt x="2835" y="1885"/>
                  <a:pt x="2835" y="1884"/>
                  <a:pt x="2838" y="1883"/>
                </a:cubicBezTo>
                <a:cubicBezTo>
                  <a:pt x="2842" y="1880"/>
                  <a:pt x="2850" y="1876"/>
                  <a:pt x="2857" y="1871"/>
                </a:cubicBezTo>
                <a:cubicBezTo>
                  <a:pt x="2864" y="1866"/>
                  <a:pt x="2871" y="1862"/>
                  <a:pt x="2873" y="1853"/>
                </a:cubicBezTo>
                <a:cubicBezTo>
                  <a:pt x="2873" y="1853"/>
                  <a:pt x="2873" y="1852"/>
                  <a:pt x="2873" y="1851"/>
                </a:cubicBezTo>
                <a:cubicBezTo>
                  <a:pt x="2873" y="1838"/>
                  <a:pt x="2864" y="1808"/>
                  <a:pt x="2862" y="1801"/>
                </a:cubicBezTo>
                <a:cubicBezTo>
                  <a:pt x="2862" y="1801"/>
                  <a:pt x="2862" y="1801"/>
                  <a:pt x="2862" y="1800"/>
                </a:cubicBezTo>
                <a:cubicBezTo>
                  <a:pt x="2862" y="1797"/>
                  <a:pt x="2868" y="1785"/>
                  <a:pt x="2876" y="1773"/>
                </a:cubicBezTo>
                <a:cubicBezTo>
                  <a:pt x="2880" y="1768"/>
                  <a:pt x="2889" y="1762"/>
                  <a:pt x="2897" y="1758"/>
                </a:cubicBezTo>
                <a:cubicBezTo>
                  <a:pt x="2902" y="1755"/>
                  <a:pt x="2906" y="1753"/>
                  <a:pt x="2910" y="1751"/>
                </a:cubicBezTo>
                <a:cubicBezTo>
                  <a:pt x="2913" y="1749"/>
                  <a:pt x="2916" y="1748"/>
                  <a:pt x="2919" y="1745"/>
                </a:cubicBezTo>
                <a:cubicBezTo>
                  <a:pt x="2924" y="1738"/>
                  <a:pt x="2937" y="1715"/>
                  <a:pt x="2939" y="1695"/>
                </a:cubicBezTo>
                <a:cubicBezTo>
                  <a:pt x="2940" y="1692"/>
                  <a:pt x="2940" y="1689"/>
                  <a:pt x="2940" y="1686"/>
                </a:cubicBezTo>
                <a:cubicBezTo>
                  <a:pt x="2940" y="1674"/>
                  <a:pt x="2938" y="1662"/>
                  <a:pt x="2938" y="1654"/>
                </a:cubicBezTo>
                <a:cubicBezTo>
                  <a:pt x="2938" y="1651"/>
                  <a:pt x="2938" y="1648"/>
                  <a:pt x="2939" y="1647"/>
                </a:cubicBezTo>
                <a:cubicBezTo>
                  <a:pt x="2941" y="1644"/>
                  <a:pt x="2942" y="1640"/>
                  <a:pt x="2942" y="1636"/>
                </a:cubicBezTo>
                <a:cubicBezTo>
                  <a:pt x="2941" y="1627"/>
                  <a:pt x="2936" y="1620"/>
                  <a:pt x="2929" y="1611"/>
                </a:cubicBezTo>
                <a:cubicBezTo>
                  <a:pt x="2925" y="1608"/>
                  <a:pt x="2923" y="1598"/>
                  <a:pt x="2922" y="1588"/>
                </a:cubicBezTo>
                <a:cubicBezTo>
                  <a:pt x="2921" y="1583"/>
                  <a:pt x="2921" y="1578"/>
                  <a:pt x="2921" y="1574"/>
                </a:cubicBezTo>
                <a:cubicBezTo>
                  <a:pt x="2920" y="1570"/>
                  <a:pt x="2920" y="1567"/>
                  <a:pt x="2918" y="1563"/>
                </a:cubicBezTo>
                <a:cubicBezTo>
                  <a:pt x="2918" y="1563"/>
                  <a:pt x="2918" y="1563"/>
                  <a:pt x="2918" y="1563"/>
                </a:cubicBezTo>
                <a:cubicBezTo>
                  <a:pt x="2918" y="1563"/>
                  <a:pt x="2918" y="1563"/>
                  <a:pt x="2918" y="1563"/>
                </a:cubicBezTo>
                <a:cubicBezTo>
                  <a:pt x="2918" y="1563"/>
                  <a:pt x="2918" y="1563"/>
                  <a:pt x="2918" y="1563"/>
                </a:cubicBezTo>
                <a:cubicBezTo>
                  <a:pt x="2918" y="1563"/>
                  <a:pt x="2917" y="1559"/>
                  <a:pt x="2917" y="1556"/>
                </a:cubicBezTo>
                <a:cubicBezTo>
                  <a:pt x="2917" y="1551"/>
                  <a:pt x="2918" y="1545"/>
                  <a:pt x="2919" y="1540"/>
                </a:cubicBezTo>
                <a:cubicBezTo>
                  <a:pt x="2919" y="1538"/>
                  <a:pt x="2920" y="1536"/>
                  <a:pt x="2921" y="1535"/>
                </a:cubicBezTo>
                <a:cubicBezTo>
                  <a:pt x="2921" y="1535"/>
                  <a:pt x="2921" y="1534"/>
                  <a:pt x="2921" y="1534"/>
                </a:cubicBezTo>
                <a:cubicBezTo>
                  <a:pt x="2925" y="1532"/>
                  <a:pt x="2927" y="1530"/>
                  <a:pt x="2930" y="1526"/>
                </a:cubicBezTo>
                <a:cubicBezTo>
                  <a:pt x="2938" y="1516"/>
                  <a:pt x="2948" y="1498"/>
                  <a:pt x="2954" y="1490"/>
                </a:cubicBezTo>
                <a:cubicBezTo>
                  <a:pt x="2959" y="1483"/>
                  <a:pt x="2968" y="1471"/>
                  <a:pt x="2977" y="1459"/>
                </a:cubicBezTo>
                <a:cubicBezTo>
                  <a:pt x="2986" y="1448"/>
                  <a:pt x="2997" y="1438"/>
                  <a:pt x="2999" y="1438"/>
                </a:cubicBezTo>
                <a:cubicBezTo>
                  <a:pt x="3008" y="1436"/>
                  <a:pt x="3016" y="1429"/>
                  <a:pt x="3023" y="1421"/>
                </a:cubicBezTo>
                <a:cubicBezTo>
                  <a:pt x="3031" y="1413"/>
                  <a:pt x="3036" y="1404"/>
                  <a:pt x="3037" y="1396"/>
                </a:cubicBezTo>
                <a:cubicBezTo>
                  <a:pt x="3037" y="1393"/>
                  <a:pt x="3046" y="1377"/>
                  <a:pt x="3054" y="1363"/>
                </a:cubicBezTo>
                <a:cubicBezTo>
                  <a:pt x="3059" y="1355"/>
                  <a:pt x="3063" y="1348"/>
                  <a:pt x="3066" y="1342"/>
                </a:cubicBezTo>
                <a:cubicBezTo>
                  <a:pt x="3070" y="1336"/>
                  <a:pt x="3072" y="1332"/>
                  <a:pt x="3073" y="1327"/>
                </a:cubicBezTo>
                <a:cubicBezTo>
                  <a:pt x="3073" y="1324"/>
                  <a:pt x="3076" y="1315"/>
                  <a:pt x="3078" y="1306"/>
                </a:cubicBezTo>
                <a:cubicBezTo>
                  <a:pt x="3081" y="1297"/>
                  <a:pt x="3084" y="1287"/>
                  <a:pt x="3084" y="1279"/>
                </a:cubicBezTo>
                <a:cubicBezTo>
                  <a:pt x="3084" y="1275"/>
                  <a:pt x="3083" y="1272"/>
                  <a:pt x="3081" y="1269"/>
                </a:cubicBezTo>
                <a:cubicBezTo>
                  <a:pt x="3078" y="1265"/>
                  <a:pt x="3074" y="1264"/>
                  <a:pt x="3071" y="1264"/>
                </a:cubicBezTo>
                <a:cubicBezTo>
                  <a:pt x="3054" y="1265"/>
                  <a:pt x="3023" y="1280"/>
                  <a:pt x="3017" y="1282"/>
                </a:cubicBezTo>
                <a:cubicBezTo>
                  <a:pt x="3011" y="1285"/>
                  <a:pt x="2998" y="1294"/>
                  <a:pt x="2983" y="1294"/>
                </a:cubicBezTo>
                <a:cubicBezTo>
                  <a:pt x="2982" y="1294"/>
                  <a:pt x="2981" y="1294"/>
                  <a:pt x="2980" y="1294"/>
                </a:cubicBezTo>
                <a:cubicBezTo>
                  <a:pt x="2976" y="1293"/>
                  <a:pt x="2975" y="1293"/>
                  <a:pt x="2974" y="1292"/>
                </a:cubicBezTo>
                <a:cubicBezTo>
                  <a:pt x="2974" y="1291"/>
                  <a:pt x="2973" y="1289"/>
                  <a:pt x="2973" y="1287"/>
                </a:cubicBezTo>
                <a:cubicBezTo>
                  <a:pt x="2973" y="1283"/>
                  <a:pt x="2974" y="1279"/>
                  <a:pt x="2974" y="1274"/>
                </a:cubicBezTo>
                <a:cubicBezTo>
                  <a:pt x="2974" y="1273"/>
                  <a:pt x="2974" y="1273"/>
                  <a:pt x="2974" y="1272"/>
                </a:cubicBezTo>
                <a:cubicBezTo>
                  <a:pt x="2974" y="1269"/>
                  <a:pt x="2972" y="1265"/>
                  <a:pt x="2970" y="1261"/>
                </a:cubicBezTo>
                <a:cubicBezTo>
                  <a:pt x="2971" y="1262"/>
                  <a:pt x="2972" y="1262"/>
                  <a:pt x="2972" y="1263"/>
                </a:cubicBezTo>
                <a:cubicBezTo>
                  <a:pt x="2975" y="1264"/>
                  <a:pt x="2978" y="1264"/>
                  <a:pt x="2981" y="1264"/>
                </a:cubicBezTo>
                <a:cubicBezTo>
                  <a:pt x="2988" y="1264"/>
                  <a:pt x="2997" y="1262"/>
                  <a:pt x="3005" y="1259"/>
                </a:cubicBezTo>
                <a:cubicBezTo>
                  <a:pt x="3014" y="1256"/>
                  <a:pt x="3021" y="1254"/>
                  <a:pt x="3024" y="1251"/>
                </a:cubicBezTo>
                <a:cubicBezTo>
                  <a:pt x="3029" y="1248"/>
                  <a:pt x="3069" y="1225"/>
                  <a:pt x="3079" y="1225"/>
                </a:cubicBezTo>
                <a:cubicBezTo>
                  <a:pt x="3088" y="1224"/>
                  <a:pt x="3093" y="1220"/>
                  <a:pt x="3098" y="1216"/>
                </a:cubicBezTo>
                <a:cubicBezTo>
                  <a:pt x="3102" y="1213"/>
                  <a:pt x="3106" y="1210"/>
                  <a:pt x="3113" y="1208"/>
                </a:cubicBezTo>
                <a:cubicBezTo>
                  <a:pt x="3133" y="1203"/>
                  <a:pt x="3146" y="1187"/>
                  <a:pt x="3157" y="1176"/>
                </a:cubicBezTo>
                <a:cubicBezTo>
                  <a:pt x="3170" y="1163"/>
                  <a:pt x="3184" y="1136"/>
                  <a:pt x="3189" y="1126"/>
                </a:cubicBezTo>
                <a:cubicBezTo>
                  <a:pt x="3191" y="1120"/>
                  <a:pt x="3200" y="1114"/>
                  <a:pt x="3201" y="1102"/>
                </a:cubicBezTo>
                <a:cubicBezTo>
                  <a:pt x="3201" y="1099"/>
                  <a:pt x="3200" y="1096"/>
                  <a:pt x="3199" y="1093"/>
                </a:cubicBezTo>
                <a:cubicBezTo>
                  <a:pt x="3195" y="1086"/>
                  <a:pt x="3187" y="1079"/>
                  <a:pt x="3179" y="1073"/>
                </a:cubicBezTo>
                <a:cubicBezTo>
                  <a:pt x="3170" y="1067"/>
                  <a:pt x="3162" y="1062"/>
                  <a:pt x="3155" y="1061"/>
                </a:cubicBezTo>
                <a:cubicBezTo>
                  <a:pt x="3155" y="1061"/>
                  <a:pt x="3155" y="1061"/>
                  <a:pt x="3154" y="1060"/>
                </a:cubicBezTo>
                <a:cubicBezTo>
                  <a:pt x="3153" y="1058"/>
                  <a:pt x="3152" y="1055"/>
                  <a:pt x="3151" y="1051"/>
                </a:cubicBezTo>
                <a:cubicBezTo>
                  <a:pt x="3150" y="1050"/>
                  <a:pt x="3150" y="1048"/>
                  <a:pt x="3148" y="1046"/>
                </a:cubicBezTo>
                <a:cubicBezTo>
                  <a:pt x="3147" y="1044"/>
                  <a:pt x="3144" y="1042"/>
                  <a:pt x="3141" y="1042"/>
                </a:cubicBezTo>
                <a:cubicBezTo>
                  <a:pt x="3137" y="1041"/>
                  <a:pt x="3134" y="1043"/>
                  <a:pt x="3133" y="1045"/>
                </a:cubicBezTo>
                <a:cubicBezTo>
                  <a:pt x="3128" y="1051"/>
                  <a:pt x="3128" y="1055"/>
                  <a:pt x="3121" y="1059"/>
                </a:cubicBezTo>
                <a:cubicBezTo>
                  <a:pt x="3116" y="1063"/>
                  <a:pt x="3110" y="1067"/>
                  <a:pt x="3105" y="1071"/>
                </a:cubicBezTo>
                <a:cubicBezTo>
                  <a:pt x="3101" y="1074"/>
                  <a:pt x="3097" y="1076"/>
                  <a:pt x="3096" y="1076"/>
                </a:cubicBezTo>
                <a:cubicBezTo>
                  <a:pt x="3096" y="1076"/>
                  <a:pt x="3096" y="1075"/>
                  <a:pt x="3096" y="1075"/>
                </a:cubicBezTo>
                <a:cubicBezTo>
                  <a:pt x="3096" y="1070"/>
                  <a:pt x="3095" y="1063"/>
                  <a:pt x="3087" y="1056"/>
                </a:cubicBezTo>
                <a:cubicBezTo>
                  <a:pt x="3081" y="1049"/>
                  <a:pt x="3077" y="1046"/>
                  <a:pt x="3074" y="1043"/>
                </a:cubicBezTo>
                <a:cubicBezTo>
                  <a:pt x="3072" y="1040"/>
                  <a:pt x="3072" y="1039"/>
                  <a:pt x="3072" y="1035"/>
                </a:cubicBezTo>
                <a:cubicBezTo>
                  <a:pt x="3072" y="1030"/>
                  <a:pt x="3069" y="1027"/>
                  <a:pt x="3067" y="1023"/>
                </a:cubicBezTo>
                <a:cubicBezTo>
                  <a:pt x="3059" y="1013"/>
                  <a:pt x="3045" y="999"/>
                  <a:pt x="3044" y="993"/>
                </a:cubicBezTo>
                <a:cubicBezTo>
                  <a:pt x="3044" y="992"/>
                  <a:pt x="3044" y="992"/>
                  <a:pt x="3044" y="992"/>
                </a:cubicBezTo>
                <a:cubicBezTo>
                  <a:pt x="3044" y="988"/>
                  <a:pt x="3046" y="984"/>
                  <a:pt x="3049" y="980"/>
                </a:cubicBezTo>
                <a:cubicBezTo>
                  <a:pt x="3051" y="977"/>
                  <a:pt x="3055" y="975"/>
                  <a:pt x="3055" y="975"/>
                </a:cubicBezTo>
                <a:cubicBezTo>
                  <a:pt x="3056" y="975"/>
                  <a:pt x="3056" y="975"/>
                  <a:pt x="3056" y="976"/>
                </a:cubicBezTo>
                <a:cubicBezTo>
                  <a:pt x="3061" y="987"/>
                  <a:pt x="3066" y="1008"/>
                  <a:pt x="3084" y="1018"/>
                </a:cubicBezTo>
                <a:cubicBezTo>
                  <a:pt x="3091" y="1022"/>
                  <a:pt x="3097" y="1028"/>
                  <a:pt x="3104" y="1032"/>
                </a:cubicBezTo>
                <a:cubicBezTo>
                  <a:pt x="3110" y="1037"/>
                  <a:pt x="3115" y="1041"/>
                  <a:pt x="3120" y="1044"/>
                </a:cubicBezTo>
                <a:cubicBezTo>
                  <a:pt x="3121" y="1044"/>
                  <a:pt x="3123" y="1044"/>
                  <a:pt x="3124" y="1044"/>
                </a:cubicBezTo>
                <a:cubicBezTo>
                  <a:pt x="3131" y="1044"/>
                  <a:pt x="3136" y="1040"/>
                  <a:pt x="3141" y="1037"/>
                </a:cubicBezTo>
                <a:cubicBezTo>
                  <a:pt x="3143" y="1035"/>
                  <a:pt x="3146" y="1034"/>
                  <a:pt x="3148" y="1033"/>
                </a:cubicBezTo>
                <a:cubicBezTo>
                  <a:pt x="3149" y="1032"/>
                  <a:pt x="3149" y="1032"/>
                  <a:pt x="3150" y="1032"/>
                </a:cubicBezTo>
                <a:cubicBezTo>
                  <a:pt x="3152" y="1034"/>
                  <a:pt x="3156" y="1040"/>
                  <a:pt x="3160" y="1046"/>
                </a:cubicBezTo>
                <a:cubicBezTo>
                  <a:pt x="3165" y="1053"/>
                  <a:pt x="3170" y="1060"/>
                  <a:pt x="3178" y="1063"/>
                </a:cubicBezTo>
                <a:cubicBezTo>
                  <a:pt x="3184" y="1066"/>
                  <a:pt x="3195" y="1067"/>
                  <a:pt x="3206" y="1068"/>
                </a:cubicBezTo>
                <a:cubicBezTo>
                  <a:pt x="3217" y="1069"/>
                  <a:pt x="3227" y="1069"/>
                  <a:pt x="3230" y="1069"/>
                </a:cubicBezTo>
                <a:cubicBezTo>
                  <a:pt x="3232" y="1069"/>
                  <a:pt x="3234" y="1069"/>
                  <a:pt x="3238" y="1069"/>
                </a:cubicBezTo>
                <a:cubicBezTo>
                  <a:pt x="3242" y="1069"/>
                  <a:pt x="3249" y="1069"/>
                  <a:pt x="3255" y="1068"/>
                </a:cubicBezTo>
                <a:cubicBezTo>
                  <a:pt x="3260" y="1066"/>
                  <a:pt x="3266" y="1065"/>
                  <a:pt x="3270" y="1059"/>
                </a:cubicBezTo>
                <a:cubicBezTo>
                  <a:pt x="3272" y="1055"/>
                  <a:pt x="3273" y="1054"/>
                  <a:pt x="3274" y="1054"/>
                </a:cubicBezTo>
                <a:cubicBezTo>
                  <a:pt x="3274" y="1054"/>
                  <a:pt x="3275" y="1054"/>
                  <a:pt x="3278" y="1054"/>
                </a:cubicBezTo>
                <a:cubicBezTo>
                  <a:pt x="3279" y="1055"/>
                  <a:pt x="3283" y="1061"/>
                  <a:pt x="3286" y="1066"/>
                </a:cubicBezTo>
                <a:cubicBezTo>
                  <a:pt x="3291" y="1072"/>
                  <a:pt x="3294" y="1078"/>
                  <a:pt x="3301" y="1081"/>
                </a:cubicBezTo>
                <a:cubicBezTo>
                  <a:pt x="3306" y="1083"/>
                  <a:pt x="3311" y="1083"/>
                  <a:pt x="3314" y="1084"/>
                </a:cubicBezTo>
                <a:cubicBezTo>
                  <a:pt x="3317" y="1086"/>
                  <a:pt x="3318" y="1086"/>
                  <a:pt x="3319" y="1093"/>
                </a:cubicBezTo>
                <a:cubicBezTo>
                  <a:pt x="3319" y="1093"/>
                  <a:pt x="3319" y="1094"/>
                  <a:pt x="3319" y="1094"/>
                </a:cubicBezTo>
                <a:cubicBezTo>
                  <a:pt x="3319" y="1095"/>
                  <a:pt x="3319" y="1097"/>
                  <a:pt x="3319" y="1098"/>
                </a:cubicBezTo>
                <a:cubicBezTo>
                  <a:pt x="3319" y="1107"/>
                  <a:pt x="3321" y="1115"/>
                  <a:pt x="3324" y="1122"/>
                </a:cubicBezTo>
                <a:cubicBezTo>
                  <a:pt x="3327" y="1128"/>
                  <a:pt x="3332" y="1134"/>
                  <a:pt x="3339" y="1135"/>
                </a:cubicBezTo>
                <a:cubicBezTo>
                  <a:pt x="3339" y="1135"/>
                  <a:pt x="3340" y="1135"/>
                  <a:pt x="3340" y="1135"/>
                </a:cubicBezTo>
                <a:cubicBezTo>
                  <a:pt x="3349" y="1134"/>
                  <a:pt x="3354" y="1129"/>
                  <a:pt x="3360" y="1124"/>
                </a:cubicBezTo>
                <a:cubicBezTo>
                  <a:pt x="3360" y="1134"/>
                  <a:pt x="3360" y="1148"/>
                  <a:pt x="3359" y="1155"/>
                </a:cubicBezTo>
                <a:cubicBezTo>
                  <a:pt x="3359" y="1155"/>
                  <a:pt x="3359" y="1156"/>
                  <a:pt x="3359" y="1157"/>
                </a:cubicBezTo>
                <a:cubicBezTo>
                  <a:pt x="3359" y="1173"/>
                  <a:pt x="3372" y="1214"/>
                  <a:pt x="3372" y="1215"/>
                </a:cubicBezTo>
                <a:cubicBezTo>
                  <a:pt x="3372" y="1215"/>
                  <a:pt x="3372" y="1215"/>
                  <a:pt x="3372" y="1215"/>
                </a:cubicBezTo>
                <a:cubicBezTo>
                  <a:pt x="3372" y="1215"/>
                  <a:pt x="3389" y="1258"/>
                  <a:pt x="3394" y="1268"/>
                </a:cubicBezTo>
                <a:cubicBezTo>
                  <a:pt x="3397" y="1274"/>
                  <a:pt x="3403" y="1283"/>
                  <a:pt x="3408" y="1293"/>
                </a:cubicBezTo>
                <a:cubicBezTo>
                  <a:pt x="3413" y="1302"/>
                  <a:pt x="3418" y="1313"/>
                  <a:pt x="3418" y="1316"/>
                </a:cubicBezTo>
                <a:cubicBezTo>
                  <a:pt x="3418" y="1323"/>
                  <a:pt x="3418" y="1331"/>
                  <a:pt x="3420" y="1338"/>
                </a:cubicBezTo>
                <a:cubicBezTo>
                  <a:pt x="3421" y="1342"/>
                  <a:pt x="3422" y="1345"/>
                  <a:pt x="3423" y="1348"/>
                </a:cubicBezTo>
                <a:cubicBezTo>
                  <a:pt x="3425" y="1351"/>
                  <a:pt x="3428" y="1354"/>
                  <a:pt x="3433" y="1354"/>
                </a:cubicBezTo>
                <a:cubicBezTo>
                  <a:pt x="3438" y="1354"/>
                  <a:pt x="3441" y="1351"/>
                  <a:pt x="3443" y="1348"/>
                </a:cubicBezTo>
                <a:cubicBezTo>
                  <a:pt x="3449" y="1340"/>
                  <a:pt x="3454" y="1325"/>
                  <a:pt x="3460" y="1315"/>
                </a:cubicBezTo>
                <a:cubicBezTo>
                  <a:pt x="3461" y="1314"/>
                  <a:pt x="3461" y="1313"/>
                  <a:pt x="3462" y="1311"/>
                </a:cubicBezTo>
                <a:cubicBezTo>
                  <a:pt x="3461" y="1314"/>
                  <a:pt x="3460" y="1317"/>
                  <a:pt x="3459" y="1320"/>
                </a:cubicBezTo>
                <a:cubicBezTo>
                  <a:pt x="3458" y="1327"/>
                  <a:pt x="3457" y="1335"/>
                  <a:pt x="3457" y="1343"/>
                </a:cubicBezTo>
                <a:cubicBezTo>
                  <a:pt x="3457" y="1349"/>
                  <a:pt x="3457" y="1354"/>
                  <a:pt x="3459" y="1359"/>
                </a:cubicBezTo>
                <a:cubicBezTo>
                  <a:pt x="3460" y="1364"/>
                  <a:pt x="3463" y="1369"/>
                  <a:pt x="3469" y="1372"/>
                </a:cubicBezTo>
                <a:cubicBezTo>
                  <a:pt x="3471" y="1373"/>
                  <a:pt x="3472" y="1373"/>
                  <a:pt x="3474" y="1373"/>
                </a:cubicBezTo>
                <a:cubicBezTo>
                  <a:pt x="3483" y="1373"/>
                  <a:pt x="3488" y="1367"/>
                  <a:pt x="3491" y="1361"/>
                </a:cubicBezTo>
                <a:cubicBezTo>
                  <a:pt x="3494" y="1355"/>
                  <a:pt x="3495" y="1349"/>
                  <a:pt x="3495" y="1343"/>
                </a:cubicBezTo>
                <a:cubicBezTo>
                  <a:pt x="3495" y="1340"/>
                  <a:pt x="3495" y="1337"/>
                  <a:pt x="3493" y="1334"/>
                </a:cubicBezTo>
                <a:cubicBezTo>
                  <a:pt x="3492" y="1333"/>
                  <a:pt x="3490" y="1325"/>
                  <a:pt x="3488" y="1319"/>
                </a:cubicBezTo>
                <a:cubicBezTo>
                  <a:pt x="3487" y="1315"/>
                  <a:pt x="3486" y="1312"/>
                  <a:pt x="3484" y="1309"/>
                </a:cubicBezTo>
                <a:cubicBezTo>
                  <a:pt x="3482" y="1306"/>
                  <a:pt x="3479" y="1303"/>
                  <a:pt x="3474" y="1303"/>
                </a:cubicBezTo>
                <a:cubicBezTo>
                  <a:pt x="3472" y="1303"/>
                  <a:pt x="3468" y="1303"/>
                  <a:pt x="3468" y="1304"/>
                </a:cubicBezTo>
                <a:cubicBezTo>
                  <a:pt x="3468" y="1304"/>
                  <a:pt x="3468" y="1304"/>
                  <a:pt x="3468" y="1304"/>
                </a:cubicBezTo>
                <a:cubicBezTo>
                  <a:pt x="3464" y="1306"/>
                  <a:pt x="3464" y="1308"/>
                  <a:pt x="3463" y="1310"/>
                </a:cubicBezTo>
                <a:cubicBezTo>
                  <a:pt x="3469" y="1296"/>
                  <a:pt x="3471" y="1279"/>
                  <a:pt x="3474" y="1267"/>
                </a:cubicBezTo>
                <a:cubicBezTo>
                  <a:pt x="3478" y="1252"/>
                  <a:pt x="3478" y="1227"/>
                  <a:pt x="3478" y="1217"/>
                </a:cubicBezTo>
                <a:cubicBezTo>
                  <a:pt x="3478" y="1211"/>
                  <a:pt x="3482" y="1205"/>
                  <a:pt x="3498" y="1196"/>
                </a:cubicBezTo>
                <a:cubicBezTo>
                  <a:pt x="3517" y="1186"/>
                  <a:pt x="3528" y="1162"/>
                  <a:pt x="3540" y="1151"/>
                </a:cubicBezTo>
                <a:cubicBezTo>
                  <a:pt x="3549" y="1144"/>
                  <a:pt x="3552" y="1135"/>
                  <a:pt x="3556" y="1129"/>
                </a:cubicBezTo>
                <a:cubicBezTo>
                  <a:pt x="3561" y="1124"/>
                  <a:pt x="3564" y="1120"/>
                  <a:pt x="3577" y="1120"/>
                </a:cubicBezTo>
                <a:cubicBezTo>
                  <a:pt x="3591" y="1120"/>
                  <a:pt x="3597" y="1120"/>
                  <a:pt x="3602" y="1119"/>
                </a:cubicBezTo>
                <a:cubicBezTo>
                  <a:pt x="3608" y="1117"/>
                  <a:pt x="3611" y="1113"/>
                  <a:pt x="3614" y="1109"/>
                </a:cubicBezTo>
                <a:cubicBezTo>
                  <a:pt x="3615" y="1107"/>
                  <a:pt x="3617" y="1105"/>
                  <a:pt x="3618" y="1104"/>
                </a:cubicBezTo>
                <a:cubicBezTo>
                  <a:pt x="3619" y="1104"/>
                  <a:pt x="3619" y="1104"/>
                  <a:pt x="3619" y="1104"/>
                </a:cubicBezTo>
                <a:cubicBezTo>
                  <a:pt x="3619" y="1105"/>
                  <a:pt x="3620" y="1106"/>
                  <a:pt x="3620" y="1108"/>
                </a:cubicBezTo>
                <a:cubicBezTo>
                  <a:pt x="3623" y="1118"/>
                  <a:pt x="3629" y="1127"/>
                  <a:pt x="3635" y="1135"/>
                </a:cubicBezTo>
                <a:cubicBezTo>
                  <a:pt x="3640" y="1144"/>
                  <a:pt x="3646" y="1151"/>
                  <a:pt x="3648" y="1153"/>
                </a:cubicBezTo>
                <a:cubicBezTo>
                  <a:pt x="3650" y="1157"/>
                  <a:pt x="3656" y="1170"/>
                  <a:pt x="3656" y="1183"/>
                </a:cubicBezTo>
                <a:cubicBezTo>
                  <a:pt x="3656" y="1184"/>
                  <a:pt x="3656" y="1185"/>
                  <a:pt x="3656" y="1186"/>
                </a:cubicBezTo>
                <a:cubicBezTo>
                  <a:pt x="3656" y="1189"/>
                  <a:pt x="3656" y="1192"/>
                  <a:pt x="3656" y="1195"/>
                </a:cubicBezTo>
                <a:cubicBezTo>
                  <a:pt x="3656" y="1203"/>
                  <a:pt x="3656" y="1210"/>
                  <a:pt x="3658" y="1216"/>
                </a:cubicBezTo>
                <a:cubicBezTo>
                  <a:pt x="3658" y="1219"/>
                  <a:pt x="3659" y="1221"/>
                  <a:pt x="3660" y="1224"/>
                </a:cubicBezTo>
                <a:cubicBezTo>
                  <a:pt x="3662" y="1226"/>
                  <a:pt x="3665" y="1229"/>
                  <a:pt x="3669" y="1229"/>
                </a:cubicBezTo>
                <a:cubicBezTo>
                  <a:pt x="3674" y="1228"/>
                  <a:pt x="3676" y="1225"/>
                  <a:pt x="3679" y="1223"/>
                </a:cubicBezTo>
                <a:cubicBezTo>
                  <a:pt x="3684" y="1217"/>
                  <a:pt x="3689" y="1207"/>
                  <a:pt x="3691" y="1203"/>
                </a:cubicBezTo>
                <a:cubicBezTo>
                  <a:pt x="3692" y="1202"/>
                  <a:pt x="3694" y="1201"/>
                  <a:pt x="3696" y="1200"/>
                </a:cubicBezTo>
                <a:cubicBezTo>
                  <a:pt x="3699" y="1198"/>
                  <a:pt x="3703" y="1196"/>
                  <a:pt x="3704" y="1197"/>
                </a:cubicBezTo>
                <a:cubicBezTo>
                  <a:pt x="3704" y="1197"/>
                  <a:pt x="3704" y="1198"/>
                  <a:pt x="3704" y="1199"/>
                </a:cubicBezTo>
                <a:cubicBezTo>
                  <a:pt x="3704" y="1200"/>
                  <a:pt x="3704" y="1200"/>
                  <a:pt x="3704" y="1200"/>
                </a:cubicBezTo>
                <a:cubicBezTo>
                  <a:pt x="3704" y="1204"/>
                  <a:pt x="3704" y="1207"/>
                  <a:pt x="3704" y="1210"/>
                </a:cubicBezTo>
                <a:cubicBezTo>
                  <a:pt x="3704" y="1230"/>
                  <a:pt x="3706" y="1249"/>
                  <a:pt x="3706" y="1260"/>
                </a:cubicBezTo>
                <a:cubicBezTo>
                  <a:pt x="3707" y="1268"/>
                  <a:pt x="3711" y="1278"/>
                  <a:pt x="3716" y="1287"/>
                </a:cubicBezTo>
                <a:cubicBezTo>
                  <a:pt x="3717" y="1290"/>
                  <a:pt x="3719" y="1293"/>
                  <a:pt x="3720" y="1295"/>
                </a:cubicBezTo>
                <a:cubicBezTo>
                  <a:pt x="3720" y="1295"/>
                  <a:pt x="3720" y="1295"/>
                  <a:pt x="3720" y="1295"/>
                </a:cubicBezTo>
                <a:cubicBezTo>
                  <a:pt x="3714" y="1296"/>
                  <a:pt x="3711" y="1300"/>
                  <a:pt x="3709" y="1304"/>
                </a:cubicBezTo>
                <a:cubicBezTo>
                  <a:pt x="3707" y="1308"/>
                  <a:pt x="3707" y="1313"/>
                  <a:pt x="3707" y="1317"/>
                </a:cubicBezTo>
                <a:cubicBezTo>
                  <a:pt x="3707" y="1323"/>
                  <a:pt x="3708" y="1329"/>
                  <a:pt x="3711" y="1334"/>
                </a:cubicBezTo>
                <a:cubicBezTo>
                  <a:pt x="3715" y="1339"/>
                  <a:pt x="3719" y="1340"/>
                  <a:pt x="3722" y="1342"/>
                </a:cubicBezTo>
                <a:cubicBezTo>
                  <a:pt x="3724" y="1344"/>
                  <a:pt x="3727" y="1347"/>
                  <a:pt x="3730" y="1359"/>
                </a:cubicBezTo>
                <a:cubicBezTo>
                  <a:pt x="3736" y="1385"/>
                  <a:pt x="3747" y="1410"/>
                  <a:pt x="3752" y="1420"/>
                </a:cubicBezTo>
                <a:cubicBezTo>
                  <a:pt x="3755" y="1426"/>
                  <a:pt x="3762" y="1432"/>
                  <a:pt x="3768" y="1438"/>
                </a:cubicBezTo>
                <a:cubicBezTo>
                  <a:pt x="3775" y="1443"/>
                  <a:pt x="3781" y="1449"/>
                  <a:pt x="3784" y="1452"/>
                </a:cubicBezTo>
                <a:cubicBezTo>
                  <a:pt x="3787" y="1454"/>
                  <a:pt x="3790" y="1456"/>
                  <a:pt x="3794" y="1456"/>
                </a:cubicBezTo>
                <a:cubicBezTo>
                  <a:pt x="3802" y="1456"/>
                  <a:pt x="3808" y="1449"/>
                  <a:pt x="3808" y="1441"/>
                </a:cubicBezTo>
                <a:cubicBezTo>
                  <a:pt x="3808" y="1438"/>
                  <a:pt x="3808" y="1436"/>
                  <a:pt x="3806" y="1433"/>
                </a:cubicBezTo>
                <a:cubicBezTo>
                  <a:pt x="3801" y="1425"/>
                  <a:pt x="3793" y="1412"/>
                  <a:pt x="3792" y="1405"/>
                </a:cubicBezTo>
                <a:cubicBezTo>
                  <a:pt x="3791" y="1394"/>
                  <a:pt x="3785" y="1379"/>
                  <a:pt x="3775" y="1362"/>
                </a:cubicBezTo>
                <a:cubicBezTo>
                  <a:pt x="3765" y="1344"/>
                  <a:pt x="3757" y="1339"/>
                  <a:pt x="3752" y="1330"/>
                </a:cubicBezTo>
                <a:cubicBezTo>
                  <a:pt x="3748" y="1323"/>
                  <a:pt x="3740" y="1313"/>
                  <a:pt x="3733" y="1306"/>
                </a:cubicBezTo>
                <a:cubicBezTo>
                  <a:pt x="3735" y="1306"/>
                  <a:pt x="3738" y="1304"/>
                  <a:pt x="3738" y="1302"/>
                </a:cubicBezTo>
                <a:cubicBezTo>
                  <a:pt x="3739" y="1301"/>
                  <a:pt x="3739" y="1300"/>
                  <a:pt x="3739" y="1299"/>
                </a:cubicBezTo>
                <a:cubicBezTo>
                  <a:pt x="3739" y="1296"/>
                  <a:pt x="3741" y="1288"/>
                  <a:pt x="3744" y="1280"/>
                </a:cubicBezTo>
                <a:cubicBezTo>
                  <a:pt x="3746" y="1272"/>
                  <a:pt x="3748" y="1263"/>
                  <a:pt x="3749" y="1256"/>
                </a:cubicBezTo>
                <a:cubicBezTo>
                  <a:pt x="3751" y="1258"/>
                  <a:pt x="3755" y="1261"/>
                  <a:pt x="3759" y="1265"/>
                </a:cubicBezTo>
                <a:cubicBezTo>
                  <a:pt x="3766" y="1270"/>
                  <a:pt x="3772" y="1279"/>
                  <a:pt x="3776" y="1286"/>
                </a:cubicBezTo>
                <a:cubicBezTo>
                  <a:pt x="3780" y="1294"/>
                  <a:pt x="3783" y="1299"/>
                  <a:pt x="3783" y="1299"/>
                </a:cubicBezTo>
                <a:cubicBezTo>
                  <a:pt x="3784" y="1301"/>
                  <a:pt x="3784" y="1301"/>
                  <a:pt x="3784" y="1301"/>
                </a:cubicBezTo>
                <a:cubicBezTo>
                  <a:pt x="3784" y="1301"/>
                  <a:pt x="3788" y="1305"/>
                  <a:pt x="3792" y="1310"/>
                </a:cubicBezTo>
                <a:cubicBezTo>
                  <a:pt x="3795" y="1315"/>
                  <a:pt x="3800" y="1321"/>
                  <a:pt x="3800" y="1322"/>
                </a:cubicBezTo>
                <a:cubicBezTo>
                  <a:pt x="3801" y="1327"/>
                  <a:pt x="3806" y="1329"/>
                  <a:pt x="3809" y="1329"/>
                </a:cubicBezTo>
                <a:cubicBezTo>
                  <a:pt x="3815" y="1329"/>
                  <a:pt x="3819" y="1326"/>
                  <a:pt x="3823" y="1323"/>
                </a:cubicBezTo>
                <a:cubicBezTo>
                  <a:pt x="3827" y="1320"/>
                  <a:pt x="3831" y="1317"/>
                  <a:pt x="3833" y="1312"/>
                </a:cubicBezTo>
                <a:cubicBezTo>
                  <a:pt x="3837" y="1304"/>
                  <a:pt x="3837" y="1303"/>
                  <a:pt x="3844" y="1300"/>
                </a:cubicBezTo>
                <a:cubicBezTo>
                  <a:pt x="3848" y="1299"/>
                  <a:pt x="3854" y="1298"/>
                  <a:pt x="3860" y="1296"/>
                </a:cubicBezTo>
                <a:cubicBezTo>
                  <a:pt x="3865" y="1293"/>
                  <a:pt x="3871" y="1287"/>
                  <a:pt x="3873" y="1278"/>
                </a:cubicBezTo>
                <a:cubicBezTo>
                  <a:pt x="3874" y="1269"/>
                  <a:pt x="3880" y="1258"/>
                  <a:pt x="3880" y="1245"/>
                </a:cubicBezTo>
                <a:cubicBezTo>
                  <a:pt x="3880" y="1237"/>
                  <a:pt x="3878" y="1228"/>
                  <a:pt x="3872" y="1219"/>
                </a:cubicBezTo>
                <a:cubicBezTo>
                  <a:pt x="3858" y="1199"/>
                  <a:pt x="3851" y="1185"/>
                  <a:pt x="3840" y="1174"/>
                </a:cubicBezTo>
                <a:cubicBezTo>
                  <a:pt x="3836" y="1171"/>
                  <a:pt x="3831" y="1162"/>
                  <a:pt x="3828" y="1155"/>
                </a:cubicBezTo>
                <a:cubicBezTo>
                  <a:pt x="3826" y="1151"/>
                  <a:pt x="3825" y="1148"/>
                  <a:pt x="3824" y="1146"/>
                </a:cubicBezTo>
                <a:cubicBezTo>
                  <a:pt x="3830" y="1139"/>
                  <a:pt x="3845" y="1123"/>
                  <a:pt x="3851" y="1116"/>
                </a:cubicBezTo>
                <a:cubicBezTo>
                  <a:pt x="3852" y="1115"/>
                  <a:pt x="3853" y="1114"/>
                  <a:pt x="3854" y="1114"/>
                </a:cubicBezTo>
                <a:cubicBezTo>
                  <a:pt x="3855" y="1114"/>
                  <a:pt x="3858" y="1116"/>
                  <a:pt x="3858" y="1120"/>
                </a:cubicBezTo>
                <a:cubicBezTo>
                  <a:pt x="3858" y="1120"/>
                  <a:pt x="3858" y="1120"/>
                  <a:pt x="3858" y="1121"/>
                </a:cubicBezTo>
                <a:cubicBezTo>
                  <a:pt x="3859" y="1123"/>
                  <a:pt x="3857" y="1127"/>
                  <a:pt x="3854" y="1133"/>
                </a:cubicBezTo>
                <a:cubicBezTo>
                  <a:pt x="3851" y="1138"/>
                  <a:pt x="3847" y="1146"/>
                  <a:pt x="3846" y="1157"/>
                </a:cubicBezTo>
                <a:cubicBezTo>
                  <a:pt x="3846" y="1159"/>
                  <a:pt x="3846" y="1160"/>
                  <a:pt x="3846" y="1162"/>
                </a:cubicBezTo>
                <a:cubicBezTo>
                  <a:pt x="3846" y="1177"/>
                  <a:pt x="3855" y="1187"/>
                  <a:pt x="3865" y="1187"/>
                </a:cubicBezTo>
                <a:cubicBezTo>
                  <a:pt x="3869" y="1187"/>
                  <a:pt x="3873" y="1186"/>
                  <a:pt x="3875" y="1182"/>
                </a:cubicBezTo>
                <a:cubicBezTo>
                  <a:pt x="3877" y="1179"/>
                  <a:pt x="3882" y="1173"/>
                  <a:pt x="3885" y="1167"/>
                </a:cubicBezTo>
                <a:cubicBezTo>
                  <a:pt x="3887" y="1164"/>
                  <a:pt x="3889" y="1161"/>
                  <a:pt x="3890" y="1159"/>
                </a:cubicBezTo>
                <a:cubicBezTo>
                  <a:pt x="3891" y="1156"/>
                  <a:pt x="3892" y="1155"/>
                  <a:pt x="3892" y="1151"/>
                </a:cubicBezTo>
                <a:cubicBezTo>
                  <a:pt x="3892" y="1148"/>
                  <a:pt x="3891" y="1145"/>
                  <a:pt x="3889" y="1144"/>
                </a:cubicBezTo>
                <a:cubicBezTo>
                  <a:pt x="3886" y="1141"/>
                  <a:pt x="3884" y="1143"/>
                  <a:pt x="3884" y="1133"/>
                </a:cubicBezTo>
                <a:cubicBezTo>
                  <a:pt x="3884" y="1132"/>
                  <a:pt x="3884" y="1132"/>
                  <a:pt x="3884" y="1132"/>
                </a:cubicBezTo>
                <a:cubicBezTo>
                  <a:pt x="3884" y="1127"/>
                  <a:pt x="3885" y="1123"/>
                  <a:pt x="3888" y="1120"/>
                </a:cubicBezTo>
                <a:cubicBezTo>
                  <a:pt x="3891" y="1118"/>
                  <a:pt x="3894" y="1116"/>
                  <a:pt x="3895" y="1116"/>
                </a:cubicBezTo>
                <a:cubicBezTo>
                  <a:pt x="3898" y="1118"/>
                  <a:pt x="3900" y="1118"/>
                  <a:pt x="3903" y="1118"/>
                </a:cubicBezTo>
                <a:cubicBezTo>
                  <a:pt x="3917" y="1118"/>
                  <a:pt x="3945" y="1110"/>
                  <a:pt x="3961" y="1100"/>
                </a:cubicBezTo>
                <a:cubicBezTo>
                  <a:pt x="3980" y="1087"/>
                  <a:pt x="3991" y="1063"/>
                  <a:pt x="4000" y="1055"/>
                </a:cubicBezTo>
                <a:cubicBezTo>
                  <a:pt x="4005" y="1050"/>
                  <a:pt x="4016" y="1040"/>
                  <a:pt x="4026" y="1029"/>
                </a:cubicBezTo>
                <a:cubicBezTo>
                  <a:pt x="4036" y="1018"/>
                  <a:pt x="4045" y="1007"/>
                  <a:pt x="4046" y="995"/>
                </a:cubicBezTo>
                <a:cubicBezTo>
                  <a:pt x="4046" y="995"/>
                  <a:pt x="4045" y="994"/>
                  <a:pt x="4045" y="993"/>
                </a:cubicBezTo>
                <a:cubicBezTo>
                  <a:pt x="4043" y="979"/>
                  <a:pt x="4047" y="958"/>
                  <a:pt x="4037" y="936"/>
                </a:cubicBezTo>
                <a:cubicBezTo>
                  <a:pt x="4028" y="918"/>
                  <a:pt x="4017" y="905"/>
                  <a:pt x="4012" y="898"/>
                </a:cubicBezTo>
                <a:cubicBezTo>
                  <a:pt x="4014" y="896"/>
                  <a:pt x="4018" y="895"/>
                  <a:pt x="4022" y="893"/>
                </a:cubicBezTo>
                <a:cubicBezTo>
                  <a:pt x="4028" y="890"/>
                  <a:pt x="4036" y="887"/>
                  <a:pt x="4041" y="881"/>
                </a:cubicBezTo>
                <a:cubicBezTo>
                  <a:pt x="4046" y="876"/>
                  <a:pt x="4048" y="871"/>
                  <a:pt x="4048" y="866"/>
                </a:cubicBezTo>
                <a:cubicBezTo>
                  <a:pt x="4048" y="856"/>
                  <a:pt x="4041" y="849"/>
                  <a:pt x="4032" y="848"/>
                </a:cubicBezTo>
                <a:cubicBezTo>
                  <a:pt x="4032" y="848"/>
                  <a:pt x="4031" y="849"/>
                  <a:pt x="4030" y="849"/>
                </a:cubicBezTo>
                <a:cubicBezTo>
                  <a:pt x="4025" y="850"/>
                  <a:pt x="4013" y="853"/>
                  <a:pt x="4008" y="853"/>
                </a:cubicBezTo>
                <a:cubicBezTo>
                  <a:pt x="4007" y="853"/>
                  <a:pt x="4006" y="853"/>
                  <a:pt x="4006" y="853"/>
                </a:cubicBezTo>
                <a:cubicBezTo>
                  <a:pt x="4005" y="853"/>
                  <a:pt x="4000" y="847"/>
                  <a:pt x="3990" y="838"/>
                </a:cubicBezTo>
                <a:cubicBezTo>
                  <a:pt x="3989" y="836"/>
                  <a:pt x="3989" y="836"/>
                  <a:pt x="3989" y="835"/>
                </a:cubicBezTo>
                <a:cubicBezTo>
                  <a:pt x="3989" y="834"/>
                  <a:pt x="3990" y="832"/>
                  <a:pt x="3991" y="831"/>
                </a:cubicBezTo>
                <a:cubicBezTo>
                  <a:pt x="3992" y="830"/>
                  <a:pt x="3992" y="829"/>
                  <a:pt x="3993" y="829"/>
                </a:cubicBezTo>
                <a:cubicBezTo>
                  <a:pt x="3993" y="829"/>
                  <a:pt x="3993" y="829"/>
                  <a:pt x="3993" y="829"/>
                </a:cubicBezTo>
                <a:cubicBezTo>
                  <a:pt x="3994" y="829"/>
                  <a:pt x="3995" y="829"/>
                  <a:pt x="3995" y="829"/>
                </a:cubicBezTo>
                <a:cubicBezTo>
                  <a:pt x="4002" y="829"/>
                  <a:pt x="4007" y="824"/>
                  <a:pt x="4012" y="820"/>
                </a:cubicBezTo>
                <a:cubicBezTo>
                  <a:pt x="4017" y="815"/>
                  <a:pt x="4022" y="811"/>
                  <a:pt x="4026" y="807"/>
                </a:cubicBezTo>
                <a:cubicBezTo>
                  <a:pt x="4024" y="812"/>
                  <a:pt x="4023" y="817"/>
                  <a:pt x="4023" y="822"/>
                </a:cubicBezTo>
                <a:cubicBezTo>
                  <a:pt x="4023" y="825"/>
                  <a:pt x="4024" y="827"/>
                  <a:pt x="4025" y="830"/>
                </a:cubicBezTo>
                <a:cubicBezTo>
                  <a:pt x="4026" y="833"/>
                  <a:pt x="4029" y="835"/>
                  <a:pt x="4033" y="836"/>
                </a:cubicBezTo>
                <a:cubicBezTo>
                  <a:pt x="4033" y="836"/>
                  <a:pt x="4034" y="836"/>
                  <a:pt x="4034" y="836"/>
                </a:cubicBezTo>
                <a:cubicBezTo>
                  <a:pt x="4043" y="836"/>
                  <a:pt x="4050" y="830"/>
                  <a:pt x="4057" y="825"/>
                </a:cubicBezTo>
                <a:cubicBezTo>
                  <a:pt x="4060" y="823"/>
                  <a:pt x="4063" y="820"/>
                  <a:pt x="4066" y="818"/>
                </a:cubicBezTo>
                <a:cubicBezTo>
                  <a:pt x="4066" y="818"/>
                  <a:pt x="4066" y="818"/>
                  <a:pt x="4066" y="818"/>
                </a:cubicBezTo>
                <a:cubicBezTo>
                  <a:pt x="4067" y="822"/>
                  <a:pt x="4069" y="827"/>
                  <a:pt x="4069" y="832"/>
                </a:cubicBezTo>
                <a:cubicBezTo>
                  <a:pt x="4069" y="834"/>
                  <a:pt x="4069" y="835"/>
                  <a:pt x="4068" y="836"/>
                </a:cubicBezTo>
                <a:cubicBezTo>
                  <a:pt x="4066" y="841"/>
                  <a:pt x="4065" y="846"/>
                  <a:pt x="4065" y="851"/>
                </a:cubicBezTo>
                <a:cubicBezTo>
                  <a:pt x="4065" y="854"/>
                  <a:pt x="4066" y="856"/>
                  <a:pt x="4066" y="859"/>
                </a:cubicBezTo>
                <a:cubicBezTo>
                  <a:pt x="4067" y="861"/>
                  <a:pt x="4069" y="865"/>
                  <a:pt x="4074" y="865"/>
                </a:cubicBezTo>
                <a:cubicBezTo>
                  <a:pt x="4075" y="865"/>
                  <a:pt x="4076" y="865"/>
                  <a:pt x="4077" y="865"/>
                </a:cubicBezTo>
                <a:cubicBezTo>
                  <a:pt x="4081" y="863"/>
                  <a:pt x="4084" y="860"/>
                  <a:pt x="4087" y="858"/>
                </a:cubicBezTo>
                <a:cubicBezTo>
                  <a:pt x="4087" y="857"/>
                  <a:pt x="4088" y="856"/>
                  <a:pt x="4089" y="856"/>
                </a:cubicBezTo>
                <a:cubicBezTo>
                  <a:pt x="4092" y="860"/>
                  <a:pt x="4095" y="863"/>
                  <a:pt x="4095" y="869"/>
                </a:cubicBezTo>
                <a:cubicBezTo>
                  <a:pt x="4095" y="870"/>
                  <a:pt x="4094" y="872"/>
                  <a:pt x="4094" y="875"/>
                </a:cubicBezTo>
                <a:cubicBezTo>
                  <a:pt x="4091" y="883"/>
                  <a:pt x="4084" y="888"/>
                  <a:pt x="4083" y="898"/>
                </a:cubicBezTo>
                <a:cubicBezTo>
                  <a:pt x="4083" y="904"/>
                  <a:pt x="4087" y="908"/>
                  <a:pt x="4092" y="912"/>
                </a:cubicBezTo>
                <a:cubicBezTo>
                  <a:pt x="4097" y="916"/>
                  <a:pt x="4102" y="917"/>
                  <a:pt x="4107" y="917"/>
                </a:cubicBezTo>
                <a:cubicBezTo>
                  <a:pt x="4117" y="917"/>
                  <a:pt x="4122" y="910"/>
                  <a:pt x="4128" y="907"/>
                </a:cubicBezTo>
                <a:cubicBezTo>
                  <a:pt x="4139" y="898"/>
                  <a:pt x="4144" y="880"/>
                  <a:pt x="4144" y="865"/>
                </a:cubicBezTo>
                <a:cubicBezTo>
                  <a:pt x="4144" y="860"/>
                  <a:pt x="4144" y="856"/>
                  <a:pt x="4141" y="852"/>
                </a:cubicBezTo>
                <a:cubicBezTo>
                  <a:pt x="4138" y="846"/>
                  <a:pt x="4133" y="839"/>
                  <a:pt x="4129" y="833"/>
                </a:cubicBezTo>
                <a:cubicBezTo>
                  <a:pt x="4126" y="828"/>
                  <a:pt x="4124" y="822"/>
                  <a:pt x="4123" y="820"/>
                </a:cubicBezTo>
                <a:cubicBezTo>
                  <a:pt x="4125" y="819"/>
                  <a:pt x="4130" y="817"/>
                  <a:pt x="4135" y="815"/>
                </a:cubicBezTo>
                <a:cubicBezTo>
                  <a:pt x="4139" y="813"/>
                  <a:pt x="4145" y="809"/>
                  <a:pt x="4145" y="801"/>
                </a:cubicBezTo>
                <a:cubicBezTo>
                  <a:pt x="4145" y="793"/>
                  <a:pt x="4152" y="786"/>
                  <a:pt x="4158" y="783"/>
                </a:cubicBezTo>
                <a:cubicBezTo>
                  <a:pt x="4164" y="780"/>
                  <a:pt x="4167" y="775"/>
                  <a:pt x="4171" y="771"/>
                </a:cubicBezTo>
                <a:cubicBezTo>
                  <a:pt x="4173" y="770"/>
                  <a:pt x="4174" y="768"/>
                  <a:pt x="4175" y="767"/>
                </a:cubicBezTo>
                <a:cubicBezTo>
                  <a:pt x="4177" y="769"/>
                  <a:pt x="4180" y="771"/>
                  <a:pt x="4183" y="772"/>
                </a:cubicBezTo>
                <a:cubicBezTo>
                  <a:pt x="4188" y="774"/>
                  <a:pt x="4193" y="775"/>
                  <a:pt x="4198" y="775"/>
                </a:cubicBezTo>
                <a:cubicBezTo>
                  <a:pt x="4203" y="775"/>
                  <a:pt x="4209" y="774"/>
                  <a:pt x="4212" y="769"/>
                </a:cubicBezTo>
                <a:cubicBezTo>
                  <a:pt x="4217" y="761"/>
                  <a:pt x="4247" y="731"/>
                  <a:pt x="4265" y="714"/>
                </a:cubicBezTo>
                <a:cubicBezTo>
                  <a:pt x="4285" y="697"/>
                  <a:pt x="4293" y="676"/>
                  <a:pt x="4297" y="656"/>
                </a:cubicBezTo>
                <a:cubicBezTo>
                  <a:pt x="4299" y="651"/>
                  <a:pt x="4300" y="646"/>
                  <a:pt x="4302" y="641"/>
                </a:cubicBezTo>
                <a:cubicBezTo>
                  <a:pt x="4302" y="643"/>
                  <a:pt x="4302" y="645"/>
                  <a:pt x="4302" y="646"/>
                </a:cubicBezTo>
                <a:cubicBezTo>
                  <a:pt x="4302" y="649"/>
                  <a:pt x="4302" y="653"/>
                  <a:pt x="4301" y="656"/>
                </a:cubicBezTo>
                <a:cubicBezTo>
                  <a:pt x="4301" y="660"/>
                  <a:pt x="4301" y="665"/>
                  <a:pt x="4301" y="671"/>
                </a:cubicBezTo>
                <a:cubicBezTo>
                  <a:pt x="4301" y="679"/>
                  <a:pt x="4301" y="687"/>
                  <a:pt x="4302" y="694"/>
                </a:cubicBezTo>
                <a:cubicBezTo>
                  <a:pt x="4302" y="698"/>
                  <a:pt x="4302" y="701"/>
                  <a:pt x="4303" y="703"/>
                </a:cubicBezTo>
                <a:cubicBezTo>
                  <a:pt x="4303" y="706"/>
                  <a:pt x="4303" y="708"/>
                  <a:pt x="4305" y="710"/>
                </a:cubicBezTo>
                <a:cubicBezTo>
                  <a:pt x="4306" y="713"/>
                  <a:pt x="4309" y="716"/>
                  <a:pt x="4312" y="719"/>
                </a:cubicBezTo>
                <a:cubicBezTo>
                  <a:pt x="4315" y="722"/>
                  <a:pt x="4319" y="725"/>
                  <a:pt x="4325" y="725"/>
                </a:cubicBezTo>
                <a:cubicBezTo>
                  <a:pt x="4326" y="725"/>
                  <a:pt x="4328" y="724"/>
                  <a:pt x="4330" y="724"/>
                </a:cubicBezTo>
                <a:cubicBezTo>
                  <a:pt x="4336" y="720"/>
                  <a:pt x="4335" y="715"/>
                  <a:pt x="4335" y="712"/>
                </a:cubicBezTo>
                <a:cubicBezTo>
                  <a:pt x="4335" y="706"/>
                  <a:pt x="4334" y="700"/>
                  <a:pt x="4333" y="694"/>
                </a:cubicBezTo>
                <a:cubicBezTo>
                  <a:pt x="4332" y="688"/>
                  <a:pt x="4331" y="683"/>
                  <a:pt x="4331" y="682"/>
                </a:cubicBezTo>
                <a:cubicBezTo>
                  <a:pt x="4331" y="682"/>
                  <a:pt x="4331" y="682"/>
                  <a:pt x="4331" y="681"/>
                </a:cubicBezTo>
                <a:cubicBezTo>
                  <a:pt x="4333" y="677"/>
                  <a:pt x="4338" y="673"/>
                  <a:pt x="4339" y="673"/>
                </a:cubicBezTo>
                <a:cubicBezTo>
                  <a:pt x="4343" y="672"/>
                  <a:pt x="4344" y="669"/>
                  <a:pt x="4345" y="667"/>
                </a:cubicBezTo>
                <a:cubicBezTo>
                  <a:pt x="4345" y="665"/>
                  <a:pt x="4345" y="663"/>
                  <a:pt x="4345" y="661"/>
                </a:cubicBezTo>
                <a:cubicBezTo>
                  <a:pt x="4345" y="652"/>
                  <a:pt x="4342" y="638"/>
                  <a:pt x="4337" y="630"/>
                </a:cubicBezTo>
                <a:cubicBezTo>
                  <a:pt x="4334" y="625"/>
                  <a:pt x="4331" y="622"/>
                  <a:pt x="4329" y="619"/>
                </a:cubicBezTo>
                <a:cubicBezTo>
                  <a:pt x="4329" y="619"/>
                  <a:pt x="4329" y="619"/>
                  <a:pt x="4329" y="619"/>
                </a:cubicBezTo>
                <a:cubicBezTo>
                  <a:pt x="4331" y="618"/>
                  <a:pt x="4332" y="616"/>
                  <a:pt x="4333" y="614"/>
                </a:cubicBezTo>
                <a:cubicBezTo>
                  <a:pt x="4335" y="611"/>
                  <a:pt x="4336" y="608"/>
                  <a:pt x="4336" y="604"/>
                </a:cubicBezTo>
                <a:cubicBezTo>
                  <a:pt x="4336" y="602"/>
                  <a:pt x="4336" y="599"/>
                  <a:pt x="4333" y="597"/>
                </a:cubicBezTo>
                <a:cubicBezTo>
                  <a:pt x="4333" y="596"/>
                  <a:pt x="4333" y="594"/>
                  <a:pt x="4332" y="592"/>
                </a:cubicBezTo>
                <a:cubicBezTo>
                  <a:pt x="4332" y="590"/>
                  <a:pt x="4328" y="585"/>
                  <a:pt x="4323" y="585"/>
                </a:cubicBezTo>
                <a:cubicBezTo>
                  <a:pt x="4321" y="585"/>
                  <a:pt x="4320" y="585"/>
                  <a:pt x="4318" y="586"/>
                </a:cubicBezTo>
                <a:cubicBezTo>
                  <a:pt x="4318" y="586"/>
                  <a:pt x="4312" y="586"/>
                  <a:pt x="4306" y="587"/>
                </a:cubicBezTo>
                <a:cubicBezTo>
                  <a:pt x="4304" y="587"/>
                  <a:pt x="4302" y="588"/>
                  <a:pt x="4300" y="589"/>
                </a:cubicBezTo>
                <a:cubicBezTo>
                  <a:pt x="4296" y="582"/>
                  <a:pt x="4290" y="577"/>
                  <a:pt x="4282" y="577"/>
                </a:cubicBezTo>
                <a:cubicBezTo>
                  <a:pt x="4281" y="577"/>
                  <a:pt x="4280" y="577"/>
                  <a:pt x="4279" y="577"/>
                </a:cubicBezTo>
                <a:cubicBezTo>
                  <a:pt x="4266" y="579"/>
                  <a:pt x="4261" y="585"/>
                  <a:pt x="4254" y="585"/>
                </a:cubicBezTo>
                <a:cubicBezTo>
                  <a:pt x="4254" y="585"/>
                  <a:pt x="4254" y="584"/>
                  <a:pt x="4254" y="583"/>
                </a:cubicBezTo>
                <a:cubicBezTo>
                  <a:pt x="4254" y="581"/>
                  <a:pt x="4254" y="578"/>
                  <a:pt x="4254" y="576"/>
                </a:cubicBezTo>
                <a:cubicBezTo>
                  <a:pt x="4254" y="574"/>
                  <a:pt x="4254" y="573"/>
                  <a:pt x="4253" y="571"/>
                </a:cubicBezTo>
                <a:cubicBezTo>
                  <a:pt x="4253" y="569"/>
                  <a:pt x="4250" y="566"/>
                  <a:pt x="4246" y="566"/>
                </a:cubicBezTo>
                <a:cubicBezTo>
                  <a:pt x="4242" y="566"/>
                  <a:pt x="4241" y="568"/>
                  <a:pt x="4239" y="569"/>
                </a:cubicBezTo>
                <a:cubicBezTo>
                  <a:pt x="4237" y="571"/>
                  <a:pt x="4235" y="573"/>
                  <a:pt x="4233" y="575"/>
                </a:cubicBezTo>
                <a:cubicBezTo>
                  <a:pt x="4232" y="576"/>
                  <a:pt x="4232" y="576"/>
                  <a:pt x="4231" y="576"/>
                </a:cubicBezTo>
                <a:cubicBezTo>
                  <a:pt x="4231" y="576"/>
                  <a:pt x="4232" y="575"/>
                  <a:pt x="4233" y="574"/>
                </a:cubicBezTo>
                <a:cubicBezTo>
                  <a:pt x="4237" y="569"/>
                  <a:pt x="4250" y="561"/>
                  <a:pt x="4261" y="557"/>
                </a:cubicBezTo>
                <a:cubicBezTo>
                  <a:pt x="4272" y="552"/>
                  <a:pt x="4283" y="540"/>
                  <a:pt x="4294" y="529"/>
                </a:cubicBezTo>
                <a:cubicBezTo>
                  <a:pt x="4300" y="524"/>
                  <a:pt x="4305" y="519"/>
                  <a:pt x="4309" y="515"/>
                </a:cubicBezTo>
                <a:cubicBezTo>
                  <a:pt x="4313" y="511"/>
                  <a:pt x="4317" y="509"/>
                  <a:pt x="4317" y="509"/>
                </a:cubicBezTo>
                <a:cubicBezTo>
                  <a:pt x="4319" y="509"/>
                  <a:pt x="4321" y="509"/>
                  <a:pt x="4323" y="509"/>
                </a:cubicBezTo>
                <a:cubicBezTo>
                  <a:pt x="4334" y="509"/>
                  <a:pt x="4352" y="511"/>
                  <a:pt x="4371" y="511"/>
                </a:cubicBezTo>
                <a:cubicBezTo>
                  <a:pt x="4375" y="511"/>
                  <a:pt x="4379" y="511"/>
                  <a:pt x="4383" y="511"/>
                </a:cubicBezTo>
                <a:cubicBezTo>
                  <a:pt x="4404" y="509"/>
                  <a:pt x="4416" y="501"/>
                  <a:pt x="4418" y="502"/>
                </a:cubicBezTo>
                <a:cubicBezTo>
                  <a:pt x="4419" y="502"/>
                  <a:pt x="4419" y="502"/>
                  <a:pt x="4420" y="502"/>
                </a:cubicBezTo>
                <a:cubicBezTo>
                  <a:pt x="4429" y="510"/>
                  <a:pt x="4444" y="517"/>
                  <a:pt x="4457" y="518"/>
                </a:cubicBezTo>
                <a:cubicBezTo>
                  <a:pt x="4458" y="518"/>
                  <a:pt x="4459" y="518"/>
                  <a:pt x="4460" y="517"/>
                </a:cubicBezTo>
                <a:cubicBezTo>
                  <a:pt x="4465" y="517"/>
                  <a:pt x="4468" y="517"/>
                  <a:pt x="4472" y="514"/>
                </a:cubicBezTo>
                <a:cubicBezTo>
                  <a:pt x="4475" y="512"/>
                  <a:pt x="4477" y="509"/>
                  <a:pt x="4485" y="502"/>
                </a:cubicBezTo>
                <a:cubicBezTo>
                  <a:pt x="4501" y="489"/>
                  <a:pt x="4516" y="482"/>
                  <a:pt x="4525" y="469"/>
                </a:cubicBezTo>
                <a:cubicBezTo>
                  <a:pt x="4529" y="464"/>
                  <a:pt x="4540" y="458"/>
                  <a:pt x="4545" y="459"/>
                </a:cubicBezTo>
                <a:cubicBezTo>
                  <a:pt x="4545" y="459"/>
                  <a:pt x="4544" y="459"/>
                  <a:pt x="4545" y="459"/>
                </a:cubicBezTo>
                <a:cubicBezTo>
                  <a:pt x="4545" y="460"/>
                  <a:pt x="4544" y="462"/>
                  <a:pt x="4544" y="464"/>
                </a:cubicBezTo>
                <a:cubicBezTo>
                  <a:pt x="4544" y="465"/>
                  <a:pt x="4544" y="467"/>
                  <a:pt x="4544" y="468"/>
                </a:cubicBezTo>
                <a:cubicBezTo>
                  <a:pt x="4544" y="472"/>
                  <a:pt x="4545" y="475"/>
                  <a:pt x="4546" y="479"/>
                </a:cubicBezTo>
                <a:cubicBezTo>
                  <a:pt x="4548" y="483"/>
                  <a:pt x="4553" y="486"/>
                  <a:pt x="4558" y="486"/>
                </a:cubicBezTo>
                <a:cubicBezTo>
                  <a:pt x="4559" y="486"/>
                  <a:pt x="4560" y="486"/>
                  <a:pt x="4560" y="486"/>
                </a:cubicBezTo>
                <a:cubicBezTo>
                  <a:pt x="4556" y="489"/>
                  <a:pt x="4553" y="491"/>
                  <a:pt x="4551" y="493"/>
                </a:cubicBezTo>
                <a:cubicBezTo>
                  <a:pt x="4547" y="496"/>
                  <a:pt x="4537" y="500"/>
                  <a:pt x="4527" y="504"/>
                </a:cubicBezTo>
                <a:cubicBezTo>
                  <a:pt x="4517" y="509"/>
                  <a:pt x="4506" y="515"/>
                  <a:pt x="4499" y="525"/>
                </a:cubicBezTo>
                <a:cubicBezTo>
                  <a:pt x="4489" y="539"/>
                  <a:pt x="4481" y="547"/>
                  <a:pt x="4481" y="564"/>
                </a:cubicBezTo>
                <a:cubicBezTo>
                  <a:pt x="4481" y="566"/>
                  <a:pt x="4481" y="567"/>
                  <a:pt x="4481" y="568"/>
                </a:cubicBezTo>
                <a:cubicBezTo>
                  <a:pt x="4482" y="586"/>
                  <a:pt x="4495" y="604"/>
                  <a:pt x="4495" y="616"/>
                </a:cubicBezTo>
                <a:cubicBezTo>
                  <a:pt x="4495" y="619"/>
                  <a:pt x="4494" y="621"/>
                  <a:pt x="4493" y="623"/>
                </a:cubicBezTo>
                <a:cubicBezTo>
                  <a:pt x="4483" y="641"/>
                  <a:pt x="4480" y="665"/>
                  <a:pt x="4480" y="665"/>
                </a:cubicBezTo>
                <a:cubicBezTo>
                  <a:pt x="4479" y="668"/>
                  <a:pt x="4481" y="671"/>
                  <a:pt x="4484" y="671"/>
                </a:cubicBezTo>
                <a:cubicBezTo>
                  <a:pt x="4487" y="673"/>
                  <a:pt x="4490" y="671"/>
                  <a:pt x="4491" y="669"/>
                </a:cubicBezTo>
                <a:cubicBezTo>
                  <a:pt x="4491" y="669"/>
                  <a:pt x="4494" y="663"/>
                  <a:pt x="4500" y="656"/>
                </a:cubicBezTo>
                <a:cubicBezTo>
                  <a:pt x="4506" y="648"/>
                  <a:pt x="4514" y="639"/>
                  <a:pt x="4523" y="632"/>
                </a:cubicBezTo>
                <a:cubicBezTo>
                  <a:pt x="4544" y="616"/>
                  <a:pt x="4556" y="594"/>
                  <a:pt x="4562" y="587"/>
                </a:cubicBezTo>
                <a:cubicBezTo>
                  <a:pt x="4563" y="585"/>
                  <a:pt x="4570" y="582"/>
                  <a:pt x="4576" y="579"/>
                </a:cubicBezTo>
                <a:cubicBezTo>
                  <a:pt x="4579" y="578"/>
                  <a:pt x="4582" y="577"/>
                  <a:pt x="4585" y="575"/>
                </a:cubicBezTo>
                <a:cubicBezTo>
                  <a:pt x="4588" y="572"/>
                  <a:pt x="4591" y="569"/>
                  <a:pt x="4591" y="564"/>
                </a:cubicBezTo>
                <a:cubicBezTo>
                  <a:pt x="4591" y="556"/>
                  <a:pt x="4596" y="544"/>
                  <a:pt x="4600" y="532"/>
                </a:cubicBezTo>
                <a:cubicBezTo>
                  <a:pt x="4600" y="530"/>
                  <a:pt x="4601" y="528"/>
                  <a:pt x="4601" y="527"/>
                </a:cubicBezTo>
                <a:cubicBezTo>
                  <a:pt x="4601" y="523"/>
                  <a:pt x="4599" y="520"/>
                  <a:pt x="4598" y="518"/>
                </a:cubicBezTo>
                <a:cubicBezTo>
                  <a:pt x="4598" y="517"/>
                  <a:pt x="4598" y="517"/>
                  <a:pt x="4598" y="517"/>
                </a:cubicBezTo>
                <a:close/>
                <a:moveTo>
                  <a:pt x="2891" y="398"/>
                </a:moveTo>
                <a:cubicBezTo>
                  <a:pt x="2900" y="398"/>
                  <a:pt x="2910" y="397"/>
                  <a:pt x="2921" y="393"/>
                </a:cubicBezTo>
                <a:cubicBezTo>
                  <a:pt x="2919" y="397"/>
                  <a:pt x="2919" y="401"/>
                  <a:pt x="2919" y="405"/>
                </a:cubicBezTo>
                <a:cubicBezTo>
                  <a:pt x="2919" y="406"/>
                  <a:pt x="2919" y="407"/>
                  <a:pt x="2919" y="408"/>
                </a:cubicBezTo>
                <a:cubicBezTo>
                  <a:pt x="2919" y="410"/>
                  <a:pt x="2919" y="411"/>
                  <a:pt x="2919" y="412"/>
                </a:cubicBezTo>
                <a:cubicBezTo>
                  <a:pt x="2915" y="413"/>
                  <a:pt x="2914" y="415"/>
                  <a:pt x="2912" y="414"/>
                </a:cubicBezTo>
                <a:cubicBezTo>
                  <a:pt x="2910" y="414"/>
                  <a:pt x="2908" y="414"/>
                  <a:pt x="2903" y="410"/>
                </a:cubicBezTo>
                <a:cubicBezTo>
                  <a:pt x="2897" y="406"/>
                  <a:pt x="2893" y="404"/>
                  <a:pt x="2888" y="403"/>
                </a:cubicBezTo>
                <a:cubicBezTo>
                  <a:pt x="2885" y="403"/>
                  <a:pt x="2882" y="405"/>
                  <a:pt x="2881" y="407"/>
                </a:cubicBezTo>
                <a:cubicBezTo>
                  <a:pt x="2880" y="408"/>
                  <a:pt x="2879" y="409"/>
                  <a:pt x="2879" y="409"/>
                </a:cubicBezTo>
                <a:cubicBezTo>
                  <a:pt x="2878" y="410"/>
                  <a:pt x="2871" y="414"/>
                  <a:pt x="2868" y="415"/>
                </a:cubicBezTo>
                <a:cubicBezTo>
                  <a:pt x="2868" y="415"/>
                  <a:pt x="2868" y="414"/>
                  <a:pt x="2868" y="414"/>
                </a:cubicBezTo>
                <a:cubicBezTo>
                  <a:pt x="2868" y="412"/>
                  <a:pt x="2868" y="410"/>
                  <a:pt x="2868" y="408"/>
                </a:cubicBezTo>
                <a:cubicBezTo>
                  <a:pt x="2868" y="406"/>
                  <a:pt x="2868" y="406"/>
                  <a:pt x="2868" y="406"/>
                </a:cubicBezTo>
                <a:cubicBezTo>
                  <a:pt x="2868" y="403"/>
                  <a:pt x="2868" y="398"/>
                  <a:pt x="2865" y="394"/>
                </a:cubicBezTo>
                <a:cubicBezTo>
                  <a:pt x="2873" y="396"/>
                  <a:pt x="2881" y="398"/>
                  <a:pt x="2891" y="398"/>
                </a:cubicBezTo>
                <a:close/>
                <a:moveTo>
                  <a:pt x="2805" y="472"/>
                </a:moveTo>
                <a:cubicBezTo>
                  <a:pt x="2806" y="469"/>
                  <a:pt x="2806" y="469"/>
                  <a:pt x="2808" y="469"/>
                </a:cubicBezTo>
                <a:cubicBezTo>
                  <a:pt x="2811" y="469"/>
                  <a:pt x="2816" y="471"/>
                  <a:pt x="2820" y="474"/>
                </a:cubicBezTo>
                <a:cubicBezTo>
                  <a:pt x="2822" y="475"/>
                  <a:pt x="2823" y="477"/>
                  <a:pt x="2824" y="479"/>
                </a:cubicBezTo>
                <a:cubicBezTo>
                  <a:pt x="2825" y="480"/>
                  <a:pt x="2825" y="480"/>
                  <a:pt x="2826" y="481"/>
                </a:cubicBezTo>
                <a:cubicBezTo>
                  <a:pt x="2826" y="481"/>
                  <a:pt x="2825" y="481"/>
                  <a:pt x="2825" y="481"/>
                </a:cubicBezTo>
                <a:cubicBezTo>
                  <a:pt x="2825" y="481"/>
                  <a:pt x="2824" y="482"/>
                  <a:pt x="2822" y="482"/>
                </a:cubicBezTo>
                <a:cubicBezTo>
                  <a:pt x="2819" y="482"/>
                  <a:pt x="2813" y="480"/>
                  <a:pt x="2809" y="478"/>
                </a:cubicBezTo>
                <a:cubicBezTo>
                  <a:pt x="2806" y="476"/>
                  <a:pt x="2804" y="473"/>
                  <a:pt x="2804" y="472"/>
                </a:cubicBezTo>
                <a:cubicBezTo>
                  <a:pt x="2804" y="472"/>
                  <a:pt x="2804" y="472"/>
                  <a:pt x="2804" y="472"/>
                </a:cubicBezTo>
                <a:cubicBezTo>
                  <a:pt x="2799" y="470"/>
                  <a:pt x="2799" y="470"/>
                  <a:pt x="2799" y="470"/>
                </a:cubicBezTo>
                <a:lnTo>
                  <a:pt x="2805" y="472"/>
                </a:lnTo>
                <a:close/>
                <a:moveTo>
                  <a:pt x="2773" y="756"/>
                </a:moveTo>
                <a:cubicBezTo>
                  <a:pt x="2781" y="749"/>
                  <a:pt x="2789" y="735"/>
                  <a:pt x="2796" y="721"/>
                </a:cubicBezTo>
                <a:cubicBezTo>
                  <a:pt x="2801" y="711"/>
                  <a:pt x="2806" y="710"/>
                  <a:pt x="2809" y="710"/>
                </a:cubicBezTo>
                <a:cubicBezTo>
                  <a:pt x="2810" y="710"/>
                  <a:pt x="2810" y="710"/>
                  <a:pt x="2811" y="710"/>
                </a:cubicBezTo>
                <a:cubicBezTo>
                  <a:pt x="2812" y="711"/>
                  <a:pt x="2817" y="717"/>
                  <a:pt x="2820" y="723"/>
                </a:cubicBezTo>
                <a:cubicBezTo>
                  <a:pt x="2824" y="730"/>
                  <a:pt x="2828" y="738"/>
                  <a:pt x="2829" y="741"/>
                </a:cubicBezTo>
                <a:cubicBezTo>
                  <a:pt x="2830" y="745"/>
                  <a:pt x="2835" y="748"/>
                  <a:pt x="2839" y="748"/>
                </a:cubicBezTo>
                <a:cubicBezTo>
                  <a:pt x="2844" y="748"/>
                  <a:pt x="2847" y="745"/>
                  <a:pt x="2850" y="743"/>
                </a:cubicBezTo>
                <a:cubicBezTo>
                  <a:pt x="2853" y="741"/>
                  <a:pt x="2856" y="739"/>
                  <a:pt x="2857" y="739"/>
                </a:cubicBezTo>
                <a:cubicBezTo>
                  <a:pt x="2864" y="734"/>
                  <a:pt x="2871" y="726"/>
                  <a:pt x="2873" y="716"/>
                </a:cubicBezTo>
                <a:cubicBezTo>
                  <a:pt x="2873" y="716"/>
                  <a:pt x="2874" y="714"/>
                  <a:pt x="2877" y="713"/>
                </a:cubicBezTo>
                <a:cubicBezTo>
                  <a:pt x="2879" y="712"/>
                  <a:pt x="2881" y="711"/>
                  <a:pt x="2884" y="711"/>
                </a:cubicBezTo>
                <a:cubicBezTo>
                  <a:pt x="2883" y="712"/>
                  <a:pt x="2882" y="712"/>
                  <a:pt x="2881" y="712"/>
                </a:cubicBezTo>
                <a:cubicBezTo>
                  <a:pt x="2879" y="713"/>
                  <a:pt x="2877" y="714"/>
                  <a:pt x="2876" y="715"/>
                </a:cubicBezTo>
                <a:cubicBezTo>
                  <a:pt x="2874" y="717"/>
                  <a:pt x="2873" y="719"/>
                  <a:pt x="2873" y="722"/>
                </a:cubicBezTo>
                <a:cubicBezTo>
                  <a:pt x="2873" y="727"/>
                  <a:pt x="2876" y="729"/>
                  <a:pt x="2879" y="731"/>
                </a:cubicBezTo>
                <a:cubicBezTo>
                  <a:pt x="2882" y="734"/>
                  <a:pt x="2886" y="736"/>
                  <a:pt x="2891" y="738"/>
                </a:cubicBezTo>
                <a:cubicBezTo>
                  <a:pt x="2903" y="742"/>
                  <a:pt x="2915" y="757"/>
                  <a:pt x="2931" y="767"/>
                </a:cubicBezTo>
                <a:cubicBezTo>
                  <a:pt x="2939" y="772"/>
                  <a:pt x="2942" y="780"/>
                  <a:pt x="2942" y="785"/>
                </a:cubicBezTo>
                <a:cubicBezTo>
                  <a:pt x="2942" y="788"/>
                  <a:pt x="2941" y="788"/>
                  <a:pt x="2941" y="788"/>
                </a:cubicBezTo>
                <a:cubicBezTo>
                  <a:pt x="2941" y="788"/>
                  <a:pt x="2941" y="788"/>
                  <a:pt x="2941" y="788"/>
                </a:cubicBezTo>
                <a:cubicBezTo>
                  <a:pt x="2935" y="790"/>
                  <a:pt x="2915" y="793"/>
                  <a:pt x="2903" y="792"/>
                </a:cubicBezTo>
                <a:cubicBezTo>
                  <a:pt x="2900" y="792"/>
                  <a:pt x="2898" y="792"/>
                  <a:pt x="2896" y="792"/>
                </a:cubicBezTo>
                <a:cubicBezTo>
                  <a:pt x="2889" y="792"/>
                  <a:pt x="2876" y="779"/>
                  <a:pt x="2859" y="776"/>
                </a:cubicBezTo>
                <a:cubicBezTo>
                  <a:pt x="2854" y="775"/>
                  <a:pt x="2849" y="774"/>
                  <a:pt x="2844" y="774"/>
                </a:cubicBezTo>
                <a:cubicBezTo>
                  <a:pt x="2832" y="774"/>
                  <a:pt x="2820" y="777"/>
                  <a:pt x="2813" y="787"/>
                </a:cubicBezTo>
                <a:cubicBezTo>
                  <a:pt x="2813" y="788"/>
                  <a:pt x="2808" y="790"/>
                  <a:pt x="2800" y="790"/>
                </a:cubicBezTo>
                <a:cubicBezTo>
                  <a:pt x="2794" y="790"/>
                  <a:pt x="2788" y="789"/>
                  <a:pt x="2783" y="789"/>
                </a:cubicBezTo>
                <a:cubicBezTo>
                  <a:pt x="2776" y="789"/>
                  <a:pt x="2772" y="793"/>
                  <a:pt x="2768" y="795"/>
                </a:cubicBezTo>
                <a:cubicBezTo>
                  <a:pt x="2768" y="792"/>
                  <a:pt x="2769" y="788"/>
                  <a:pt x="2769" y="785"/>
                </a:cubicBezTo>
                <a:cubicBezTo>
                  <a:pt x="2769" y="780"/>
                  <a:pt x="2769" y="775"/>
                  <a:pt x="2763" y="771"/>
                </a:cubicBezTo>
                <a:cubicBezTo>
                  <a:pt x="2764" y="768"/>
                  <a:pt x="2769" y="758"/>
                  <a:pt x="2773" y="756"/>
                </a:cubicBezTo>
                <a:close/>
                <a:moveTo>
                  <a:pt x="2673" y="431"/>
                </a:moveTo>
                <a:cubicBezTo>
                  <a:pt x="2681" y="422"/>
                  <a:pt x="2684" y="414"/>
                  <a:pt x="2684" y="407"/>
                </a:cubicBezTo>
                <a:cubicBezTo>
                  <a:pt x="2684" y="405"/>
                  <a:pt x="2683" y="402"/>
                  <a:pt x="2683" y="401"/>
                </a:cubicBezTo>
                <a:cubicBezTo>
                  <a:pt x="2684" y="400"/>
                  <a:pt x="2685" y="400"/>
                  <a:pt x="2686" y="400"/>
                </a:cubicBezTo>
                <a:cubicBezTo>
                  <a:pt x="2695" y="400"/>
                  <a:pt x="2703" y="399"/>
                  <a:pt x="2710" y="399"/>
                </a:cubicBezTo>
                <a:cubicBezTo>
                  <a:pt x="2713" y="399"/>
                  <a:pt x="2716" y="399"/>
                  <a:pt x="2719" y="400"/>
                </a:cubicBezTo>
                <a:cubicBezTo>
                  <a:pt x="2716" y="403"/>
                  <a:pt x="2710" y="408"/>
                  <a:pt x="2704" y="412"/>
                </a:cubicBezTo>
                <a:cubicBezTo>
                  <a:pt x="2695" y="418"/>
                  <a:pt x="2685" y="425"/>
                  <a:pt x="2677" y="429"/>
                </a:cubicBezTo>
                <a:cubicBezTo>
                  <a:pt x="2676" y="430"/>
                  <a:pt x="2674" y="431"/>
                  <a:pt x="2673" y="432"/>
                </a:cubicBezTo>
                <a:cubicBezTo>
                  <a:pt x="2673" y="432"/>
                  <a:pt x="2673" y="431"/>
                  <a:pt x="2673" y="431"/>
                </a:cubicBezTo>
                <a:close/>
                <a:moveTo>
                  <a:pt x="2518" y="522"/>
                </a:moveTo>
                <a:cubicBezTo>
                  <a:pt x="2518" y="521"/>
                  <a:pt x="2520" y="517"/>
                  <a:pt x="2523" y="514"/>
                </a:cubicBezTo>
                <a:cubicBezTo>
                  <a:pt x="2524" y="513"/>
                  <a:pt x="2525" y="512"/>
                  <a:pt x="2526" y="511"/>
                </a:cubicBezTo>
                <a:cubicBezTo>
                  <a:pt x="2527" y="517"/>
                  <a:pt x="2530" y="523"/>
                  <a:pt x="2532" y="529"/>
                </a:cubicBezTo>
                <a:cubicBezTo>
                  <a:pt x="2534" y="536"/>
                  <a:pt x="2537" y="542"/>
                  <a:pt x="2536" y="545"/>
                </a:cubicBezTo>
                <a:cubicBezTo>
                  <a:pt x="2536" y="545"/>
                  <a:pt x="2536" y="546"/>
                  <a:pt x="2536" y="546"/>
                </a:cubicBezTo>
                <a:cubicBezTo>
                  <a:pt x="2536" y="548"/>
                  <a:pt x="2535" y="551"/>
                  <a:pt x="2535" y="553"/>
                </a:cubicBezTo>
                <a:cubicBezTo>
                  <a:pt x="2535" y="557"/>
                  <a:pt x="2536" y="560"/>
                  <a:pt x="2538" y="563"/>
                </a:cubicBezTo>
                <a:cubicBezTo>
                  <a:pt x="2540" y="566"/>
                  <a:pt x="2544" y="569"/>
                  <a:pt x="2549" y="569"/>
                </a:cubicBezTo>
                <a:cubicBezTo>
                  <a:pt x="2549" y="569"/>
                  <a:pt x="2550" y="569"/>
                  <a:pt x="2551" y="568"/>
                </a:cubicBezTo>
                <a:cubicBezTo>
                  <a:pt x="2560" y="567"/>
                  <a:pt x="2602" y="556"/>
                  <a:pt x="2602" y="556"/>
                </a:cubicBezTo>
                <a:cubicBezTo>
                  <a:pt x="2604" y="555"/>
                  <a:pt x="2604" y="555"/>
                  <a:pt x="2604" y="555"/>
                </a:cubicBezTo>
                <a:cubicBezTo>
                  <a:pt x="2604" y="555"/>
                  <a:pt x="2618" y="549"/>
                  <a:pt x="2619" y="534"/>
                </a:cubicBezTo>
                <a:cubicBezTo>
                  <a:pt x="2619" y="533"/>
                  <a:pt x="2619" y="532"/>
                  <a:pt x="2618" y="531"/>
                </a:cubicBezTo>
                <a:cubicBezTo>
                  <a:pt x="2618" y="531"/>
                  <a:pt x="2618" y="530"/>
                  <a:pt x="2618" y="530"/>
                </a:cubicBezTo>
                <a:cubicBezTo>
                  <a:pt x="2618" y="527"/>
                  <a:pt x="2621" y="522"/>
                  <a:pt x="2625" y="517"/>
                </a:cubicBezTo>
                <a:cubicBezTo>
                  <a:pt x="2629" y="512"/>
                  <a:pt x="2633" y="508"/>
                  <a:pt x="2635" y="506"/>
                </a:cubicBezTo>
                <a:cubicBezTo>
                  <a:pt x="2638" y="502"/>
                  <a:pt x="2645" y="495"/>
                  <a:pt x="2645" y="485"/>
                </a:cubicBezTo>
                <a:cubicBezTo>
                  <a:pt x="2645" y="479"/>
                  <a:pt x="2641" y="472"/>
                  <a:pt x="2634" y="470"/>
                </a:cubicBezTo>
                <a:cubicBezTo>
                  <a:pt x="2629" y="468"/>
                  <a:pt x="2624" y="467"/>
                  <a:pt x="2622" y="465"/>
                </a:cubicBezTo>
                <a:cubicBezTo>
                  <a:pt x="2621" y="465"/>
                  <a:pt x="2620" y="464"/>
                  <a:pt x="2620" y="464"/>
                </a:cubicBezTo>
                <a:cubicBezTo>
                  <a:pt x="2620" y="464"/>
                  <a:pt x="2620" y="463"/>
                  <a:pt x="2621" y="463"/>
                </a:cubicBezTo>
                <a:cubicBezTo>
                  <a:pt x="2622" y="461"/>
                  <a:pt x="2623" y="459"/>
                  <a:pt x="2626" y="456"/>
                </a:cubicBezTo>
                <a:cubicBezTo>
                  <a:pt x="2633" y="449"/>
                  <a:pt x="2636" y="450"/>
                  <a:pt x="2644" y="449"/>
                </a:cubicBezTo>
                <a:cubicBezTo>
                  <a:pt x="2651" y="448"/>
                  <a:pt x="2659" y="446"/>
                  <a:pt x="2667" y="438"/>
                </a:cubicBezTo>
                <a:cubicBezTo>
                  <a:pt x="2664" y="442"/>
                  <a:pt x="2663" y="447"/>
                  <a:pt x="2663" y="452"/>
                </a:cubicBezTo>
                <a:cubicBezTo>
                  <a:pt x="2663" y="459"/>
                  <a:pt x="2665" y="465"/>
                  <a:pt x="2669" y="469"/>
                </a:cubicBezTo>
                <a:cubicBezTo>
                  <a:pt x="2670" y="472"/>
                  <a:pt x="2672" y="478"/>
                  <a:pt x="2675" y="484"/>
                </a:cubicBezTo>
                <a:cubicBezTo>
                  <a:pt x="2676" y="487"/>
                  <a:pt x="2678" y="490"/>
                  <a:pt x="2680" y="492"/>
                </a:cubicBezTo>
                <a:cubicBezTo>
                  <a:pt x="2682" y="495"/>
                  <a:pt x="2686" y="497"/>
                  <a:pt x="2690" y="497"/>
                </a:cubicBezTo>
                <a:cubicBezTo>
                  <a:pt x="2691" y="497"/>
                  <a:pt x="2692" y="497"/>
                  <a:pt x="2693" y="497"/>
                </a:cubicBezTo>
                <a:cubicBezTo>
                  <a:pt x="2705" y="493"/>
                  <a:pt x="2716" y="485"/>
                  <a:pt x="2724" y="486"/>
                </a:cubicBezTo>
                <a:cubicBezTo>
                  <a:pt x="2725" y="486"/>
                  <a:pt x="2725" y="486"/>
                  <a:pt x="2726" y="486"/>
                </a:cubicBezTo>
                <a:cubicBezTo>
                  <a:pt x="2728" y="486"/>
                  <a:pt x="2731" y="486"/>
                  <a:pt x="2734" y="486"/>
                </a:cubicBezTo>
                <a:cubicBezTo>
                  <a:pt x="2745" y="486"/>
                  <a:pt x="2759" y="485"/>
                  <a:pt x="2763" y="484"/>
                </a:cubicBezTo>
                <a:cubicBezTo>
                  <a:pt x="2764" y="485"/>
                  <a:pt x="2766" y="488"/>
                  <a:pt x="2768" y="490"/>
                </a:cubicBezTo>
                <a:cubicBezTo>
                  <a:pt x="2769" y="492"/>
                  <a:pt x="2770" y="494"/>
                  <a:pt x="2771" y="495"/>
                </a:cubicBezTo>
                <a:cubicBezTo>
                  <a:pt x="2764" y="497"/>
                  <a:pt x="2752" y="496"/>
                  <a:pt x="2734" y="497"/>
                </a:cubicBezTo>
                <a:cubicBezTo>
                  <a:pt x="2724" y="498"/>
                  <a:pt x="2714" y="498"/>
                  <a:pt x="2706" y="499"/>
                </a:cubicBezTo>
                <a:cubicBezTo>
                  <a:pt x="2702" y="499"/>
                  <a:pt x="2698" y="500"/>
                  <a:pt x="2695" y="500"/>
                </a:cubicBezTo>
                <a:cubicBezTo>
                  <a:pt x="2694" y="501"/>
                  <a:pt x="2692" y="501"/>
                  <a:pt x="2691" y="502"/>
                </a:cubicBezTo>
                <a:cubicBezTo>
                  <a:pt x="2689" y="503"/>
                  <a:pt x="2687" y="505"/>
                  <a:pt x="2687" y="509"/>
                </a:cubicBezTo>
                <a:cubicBezTo>
                  <a:pt x="2687" y="512"/>
                  <a:pt x="2689" y="513"/>
                  <a:pt x="2689" y="514"/>
                </a:cubicBezTo>
                <a:cubicBezTo>
                  <a:pt x="2693" y="518"/>
                  <a:pt x="2697" y="520"/>
                  <a:pt x="2701" y="523"/>
                </a:cubicBezTo>
                <a:cubicBezTo>
                  <a:pt x="2703" y="524"/>
                  <a:pt x="2704" y="525"/>
                  <a:pt x="2705" y="525"/>
                </a:cubicBezTo>
                <a:cubicBezTo>
                  <a:pt x="2704" y="526"/>
                  <a:pt x="2703" y="526"/>
                  <a:pt x="2702" y="526"/>
                </a:cubicBezTo>
                <a:cubicBezTo>
                  <a:pt x="2698" y="526"/>
                  <a:pt x="2691" y="522"/>
                  <a:pt x="2681" y="521"/>
                </a:cubicBezTo>
                <a:cubicBezTo>
                  <a:pt x="2680" y="520"/>
                  <a:pt x="2680" y="520"/>
                  <a:pt x="2679" y="520"/>
                </a:cubicBezTo>
                <a:cubicBezTo>
                  <a:pt x="2670" y="521"/>
                  <a:pt x="2665" y="528"/>
                  <a:pt x="2661" y="534"/>
                </a:cubicBezTo>
                <a:cubicBezTo>
                  <a:pt x="2657" y="541"/>
                  <a:pt x="2654" y="548"/>
                  <a:pt x="2653" y="554"/>
                </a:cubicBezTo>
                <a:cubicBezTo>
                  <a:pt x="2652" y="557"/>
                  <a:pt x="2652" y="560"/>
                  <a:pt x="2652" y="563"/>
                </a:cubicBezTo>
                <a:cubicBezTo>
                  <a:pt x="2652" y="566"/>
                  <a:pt x="2652" y="570"/>
                  <a:pt x="2652" y="572"/>
                </a:cubicBezTo>
                <a:cubicBezTo>
                  <a:pt x="2652" y="573"/>
                  <a:pt x="2652" y="574"/>
                  <a:pt x="2652" y="574"/>
                </a:cubicBezTo>
                <a:cubicBezTo>
                  <a:pt x="2651" y="574"/>
                  <a:pt x="2650" y="574"/>
                  <a:pt x="2649" y="573"/>
                </a:cubicBezTo>
                <a:cubicBezTo>
                  <a:pt x="2638" y="569"/>
                  <a:pt x="2629" y="567"/>
                  <a:pt x="2621" y="567"/>
                </a:cubicBezTo>
                <a:cubicBezTo>
                  <a:pt x="2617" y="567"/>
                  <a:pt x="2613" y="568"/>
                  <a:pt x="2609" y="570"/>
                </a:cubicBezTo>
                <a:cubicBezTo>
                  <a:pt x="2606" y="572"/>
                  <a:pt x="2592" y="577"/>
                  <a:pt x="2580" y="581"/>
                </a:cubicBezTo>
                <a:cubicBezTo>
                  <a:pt x="2579" y="582"/>
                  <a:pt x="2578" y="582"/>
                  <a:pt x="2578" y="582"/>
                </a:cubicBezTo>
                <a:cubicBezTo>
                  <a:pt x="2577" y="581"/>
                  <a:pt x="2572" y="574"/>
                  <a:pt x="2562" y="574"/>
                </a:cubicBezTo>
                <a:cubicBezTo>
                  <a:pt x="2561" y="574"/>
                  <a:pt x="2561" y="574"/>
                  <a:pt x="2561" y="574"/>
                </a:cubicBezTo>
                <a:cubicBezTo>
                  <a:pt x="2546" y="574"/>
                  <a:pt x="2546" y="574"/>
                  <a:pt x="2546" y="574"/>
                </a:cubicBezTo>
                <a:cubicBezTo>
                  <a:pt x="2545" y="574"/>
                  <a:pt x="2545" y="574"/>
                  <a:pt x="2545" y="574"/>
                </a:cubicBezTo>
                <a:cubicBezTo>
                  <a:pt x="2538" y="575"/>
                  <a:pt x="2538" y="575"/>
                  <a:pt x="2538" y="575"/>
                </a:cubicBezTo>
                <a:cubicBezTo>
                  <a:pt x="2536" y="573"/>
                  <a:pt x="2533" y="568"/>
                  <a:pt x="2532" y="563"/>
                </a:cubicBezTo>
                <a:cubicBezTo>
                  <a:pt x="2532" y="562"/>
                  <a:pt x="2532" y="562"/>
                  <a:pt x="2532" y="561"/>
                </a:cubicBezTo>
                <a:cubicBezTo>
                  <a:pt x="2532" y="555"/>
                  <a:pt x="2534" y="549"/>
                  <a:pt x="2534" y="543"/>
                </a:cubicBezTo>
                <a:cubicBezTo>
                  <a:pt x="2534" y="540"/>
                  <a:pt x="2533" y="535"/>
                  <a:pt x="2528" y="532"/>
                </a:cubicBezTo>
                <a:cubicBezTo>
                  <a:pt x="2525" y="531"/>
                  <a:pt x="2522" y="531"/>
                  <a:pt x="2520" y="531"/>
                </a:cubicBezTo>
                <a:cubicBezTo>
                  <a:pt x="2516" y="531"/>
                  <a:pt x="2513" y="531"/>
                  <a:pt x="2510" y="532"/>
                </a:cubicBezTo>
                <a:cubicBezTo>
                  <a:pt x="2513" y="530"/>
                  <a:pt x="2517" y="527"/>
                  <a:pt x="2518" y="522"/>
                </a:cubicBezTo>
                <a:close/>
                <a:moveTo>
                  <a:pt x="2636" y="804"/>
                </a:moveTo>
                <a:cubicBezTo>
                  <a:pt x="2635" y="803"/>
                  <a:pt x="2614" y="787"/>
                  <a:pt x="2605" y="782"/>
                </a:cubicBezTo>
                <a:cubicBezTo>
                  <a:pt x="2597" y="778"/>
                  <a:pt x="2583" y="770"/>
                  <a:pt x="2578" y="758"/>
                </a:cubicBezTo>
                <a:cubicBezTo>
                  <a:pt x="2573" y="750"/>
                  <a:pt x="2567" y="745"/>
                  <a:pt x="2562" y="741"/>
                </a:cubicBezTo>
                <a:cubicBezTo>
                  <a:pt x="2557" y="737"/>
                  <a:pt x="2555" y="735"/>
                  <a:pt x="2555" y="732"/>
                </a:cubicBezTo>
                <a:cubicBezTo>
                  <a:pt x="2555" y="732"/>
                  <a:pt x="2555" y="731"/>
                  <a:pt x="2555" y="731"/>
                </a:cubicBezTo>
                <a:cubicBezTo>
                  <a:pt x="2555" y="730"/>
                  <a:pt x="2555" y="730"/>
                  <a:pt x="2555" y="729"/>
                </a:cubicBezTo>
                <a:cubicBezTo>
                  <a:pt x="2555" y="729"/>
                  <a:pt x="2555" y="729"/>
                  <a:pt x="2555" y="729"/>
                </a:cubicBezTo>
                <a:cubicBezTo>
                  <a:pt x="2556" y="729"/>
                  <a:pt x="2556" y="729"/>
                  <a:pt x="2556" y="729"/>
                </a:cubicBezTo>
                <a:cubicBezTo>
                  <a:pt x="2558" y="729"/>
                  <a:pt x="2566" y="734"/>
                  <a:pt x="2571" y="740"/>
                </a:cubicBezTo>
                <a:cubicBezTo>
                  <a:pt x="2581" y="752"/>
                  <a:pt x="2604" y="767"/>
                  <a:pt x="2611" y="776"/>
                </a:cubicBezTo>
                <a:cubicBezTo>
                  <a:pt x="2621" y="787"/>
                  <a:pt x="2632" y="791"/>
                  <a:pt x="2634" y="800"/>
                </a:cubicBezTo>
                <a:cubicBezTo>
                  <a:pt x="2635" y="801"/>
                  <a:pt x="2635" y="803"/>
                  <a:pt x="2636" y="804"/>
                </a:cubicBezTo>
                <a:close/>
                <a:moveTo>
                  <a:pt x="2400" y="645"/>
                </a:moveTo>
                <a:cubicBezTo>
                  <a:pt x="2399" y="645"/>
                  <a:pt x="2399" y="645"/>
                  <a:pt x="2399" y="645"/>
                </a:cubicBezTo>
                <a:cubicBezTo>
                  <a:pt x="2398" y="648"/>
                  <a:pt x="2398" y="648"/>
                  <a:pt x="2395" y="649"/>
                </a:cubicBezTo>
                <a:cubicBezTo>
                  <a:pt x="2395" y="649"/>
                  <a:pt x="2394" y="649"/>
                  <a:pt x="2393" y="649"/>
                </a:cubicBezTo>
                <a:cubicBezTo>
                  <a:pt x="2395" y="648"/>
                  <a:pt x="2397" y="647"/>
                  <a:pt x="2400" y="645"/>
                </a:cubicBezTo>
                <a:close/>
                <a:moveTo>
                  <a:pt x="2831" y="1487"/>
                </a:moveTo>
                <a:cubicBezTo>
                  <a:pt x="2829" y="1490"/>
                  <a:pt x="2827" y="1494"/>
                  <a:pt x="2825" y="1496"/>
                </a:cubicBezTo>
                <a:cubicBezTo>
                  <a:pt x="2824" y="1497"/>
                  <a:pt x="2823" y="1497"/>
                  <a:pt x="2822" y="1498"/>
                </a:cubicBezTo>
                <a:cubicBezTo>
                  <a:pt x="2822" y="1498"/>
                  <a:pt x="2822" y="1498"/>
                  <a:pt x="2822" y="1498"/>
                </a:cubicBezTo>
                <a:cubicBezTo>
                  <a:pt x="2822" y="1497"/>
                  <a:pt x="2821" y="1496"/>
                  <a:pt x="2821" y="1494"/>
                </a:cubicBezTo>
                <a:cubicBezTo>
                  <a:pt x="2820" y="1492"/>
                  <a:pt x="2820" y="1488"/>
                  <a:pt x="2820" y="1485"/>
                </a:cubicBezTo>
                <a:cubicBezTo>
                  <a:pt x="2820" y="1477"/>
                  <a:pt x="2822" y="1467"/>
                  <a:pt x="2823" y="1465"/>
                </a:cubicBezTo>
                <a:cubicBezTo>
                  <a:pt x="2823" y="1465"/>
                  <a:pt x="2823" y="1466"/>
                  <a:pt x="2823" y="1466"/>
                </a:cubicBezTo>
                <a:cubicBezTo>
                  <a:pt x="2825" y="1464"/>
                  <a:pt x="2829" y="1464"/>
                  <a:pt x="2833" y="1464"/>
                </a:cubicBezTo>
                <a:cubicBezTo>
                  <a:pt x="2833" y="1464"/>
                  <a:pt x="2834" y="1464"/>
                  <a:pt x="2834" y="1464"/>
                </a:cubicBezTo>
                <a:cubicBezTo>
                  <a:pt x="2836" y="1464"/>
                  <a:pt x="2837" y="1463"/>
                  <a:pt x="2838" y="1464"/>
                </a:cubicBezTo>
                <a:cubicBezTo>
                  <a:pt x="2838" y="1464"/>
                  <a:pt x="2838" y="1463"/>
                  <a:pt x="2839" y="1464"/>
                </a:cubicBezTo>
                <a:cubicBezTo>
                  <a:pt x="2839" y="1464"/>
                  <a:pt x="2839" y="1464"/>
                  <a:pt x="2839" y="1465"/>
                </a:cubicBezTo>
                <a:cubicBezTo>
                  <a:pt x="2839" y="1470"/>
                  <a:pt x="2836" y="1480"/>
                  <a:pt x="2831" y="1487"/>
                </a:cubicBezTo>
                <a:close/>
                <a:moveTo>
                  <a:pt x="2836" y="953"/>
                </a:moveTo>
                <a:cubicBezTo>
                  <a:pt x="2835" y="954"/>
                  <a:pt x="2835" y="954"/>
                  <a:pt x="2835" y="954"/>
                </a:cubicBezTo>
                <a:cubicBezTo>
                  <a:pt x="2835" y="954"/>
                  <a:pt x="2835" y="955"/>
                  <a:pt x="2832" y="955"/>
                </a:cubicBezTo>
                <a:cubicBezTo>
                  <a:pt x="2829" y="955"/>
                  <a:pt x="2825" y="955"/>
                  <a:pt x="2821" y="956"/>
                </a:cubicBezTo>
                <a:cubicBezTo>
                  <a:pt x="2817" y="951"/>
                  <a:pt x="2813" y="946"/>
                  <a:pt x="2805" y="946"/>
                </a:cubicBezTo>
                <a:cubicBezTo>
                  <a:pt x="2804" y="946"/>
                  <a:pt x="2802" y="946"/>
                  <a:pt x="2801" y="947"/>
                </a:cubicBezTo>
                <a:cubicBezTo>
                  <a:pt x="2794" y="949"/>
                  <a:pt x="2785" y="950"/>
                  <a:pt x="2776" y="953"/>
                </a:cubicBezTo>
                <a:cubicBezTo>
                  <a:pt x="2776" y="953"/>
                  <a:pt x="2776" y="952"/>
                  <a:pt x="2776" y="951"/>
                </a:cubicBezTo>
                <a:cubicBezTo>
                  <a:pt x="2776" y="950"/>
                  <a:pt x="2776" y="948"/>
                  <a:pt x="2775" y="947"/>
                </a:cubicBezTo>
                <a:cubicBezTo>
                  <a:pt x="2772" y="942"/>
                  <a:pt x="2767" y="941"/>
                  <a:pt x="2763" y="940"/>
                </a:cubicBezTo>
                <a:cubicBezTo>
                  <a:pt x="2758" y="939"/>
                  <a:pt x="2753" y="939"/>
                  <a:pt x="2747" y="939"/>
                </a:cubicBezTo>
                <a:cubicBezTo>
                  <a:pt x="2738" y="939"/>
                  <a:pt x="2729" y="940"/>
                  <a:pt x="2723" y="940"/>
                </a:cubicBezTo>
                <a:cubicBezTo>
                  <a:pt x="2711" y="940"/>
                  <a:pt x="2699" y="930"/>
                  <a:pt x="2685" y="926"/>
                </a:cubicBezTo>
                <a:cubicBezTo>
                  <a:pt x="2684" y="926"/>
                  <a:pt x="2682" y="925"/>
                  <a:pt x="2681" y="925"/>
                </a:cubicBezTo>
                <a:cubicBezTo>
                  <a:pt x="2673" y="926"/>
                  <a:pt x="2666" y="930"/>
                  <a:pt x="2659" y="936"/>
                </a:cubicBezTo>
                <a:cubicBezTo>
                  <a:pt x="2653" y="942"/>
                  <a:pt x="2647" y="949"/>
                  <a:pt x="2641" y="956"/>
                </a:cubicBezTo>
                <a:cubicBezTo>
                  <a:pt x="2637" y="960"/>
                  <a:pt x="2635" y="961"/>
                  <a:pt x="2633" y="961"/>
                </a:cubicBezTo>
                <a:cubicBezTo>
                  <a:pt x="2630" y="961"/>
                  <a:pt x="2624" y="958"/>
                  <a:pt x="2616" y="957"/>
                </a:cubicBezTo>
                <a:cubicBezTo>
                  <a:pt x="2614" y="958"/>
                  <a:pt x="2606" y="954"/>
                  <a:pt x="2601" y="950"/>
                </a:cubicBezTo>
                <a:cubicBezTo>
                  <a:pt x="2595" y="945"/>
                  <a:pt x="2590" y="941"/>
                  <a:pt x="2590" y="941"/>
                </a:cubicBezTo>
                <a:cubicBezTo>
                  <a:pt x="2589" y="940"/>
                  <a:pt x="2589" y="940"/>
                  <a:pt x="2589" y="940"/>
                </a:cubicBezTo>
                <a:cubicBezTo>
                  <a:pt x="2589" y="940"/>
                  <a:pt x="2584" y="938"/>
                  <a:pt x="2577" y="935"/>
                </a:cubicBezTo>
                <a:cubicBezTo>
                  <a:pt x="2571" y="933"/>
                  <a:pt x="2564" y="930"/>
                  <a:pt x="2558" y="930"/>
                </a:cubicBezTo>
                <a:cubicBezTo>
                  <a:pt x="2558" y="930"/>
                  <a:pt x="2557" y="929"/>
                  <a:pt x="2554" y="928"/>
                </a:cubicBezTo>
                <a:cubicBezTo>
                  <a:pt x="2551" y="926"/>
                  <a:pt x="2546" y="922"/>
                  <a:pt x="2542" y="919"/>
                </a:cubicBezTo>
                <a:cubicBezTo>
                  <a:pt x="2540" y="917"/>
                  <a:pt x="2538" y="916"/>
                  <a:pt x="2537" y="915"/>
                </a:cubicBezTo>
                <a:cubicBezTo>
                  <a:pt x="2535" y="914"/>
                  <a:pt x="2533" y="912"/>
                  <a:pt x="2530" y="912"/>
                </a:cubicBezTo>
                <a:cubicBezTo>
                  <a:pt x="2530" y="912"/>
                  <a:pt x="2528" y="910"/>
                  <a:pt x="2526" y="909"/>
                </a:cubicBezTo>
                <a:cubicBezTo>
                  <a:pt x="2525" y="908"/>
                  <a:pt x="2524" y="906"/>
                  <a:pt x="2524" y="906"/>
                </a:cubicBezTo>
                <a:cubicBezTo>
                  <a:pt x="2524" y="906"/>
                  <a:pt x="2524" y="905"/>
                  <a:pt x="2525" y="905"/>
                </a:cubicBezTo>
                <a:cubicBezTo>
                  <a:pt x="2526" y="904"/>
                  <a:pt x="2528" y="904"/>
                  <a:pt x="2531" y="904"/>
                </a:cubicBezTo>
                <a:cubicBezTo>
                  <a:pt x="2533" y="904"/>
                  <a:pt x="2536" y="903"/>
                  <a:pt x="2538" y="901"/>
                </a:cubicBezTo>
                <a:cubicBezTo>
                  <a:pt x="2540" y="898"/>
                  <a:pt x="2541" y="895"/>
                  <a:pt x="2541" y="893"/>
                </a:cubicBezTo>
                <a:cubicBezTo>
                  <a:pt x="2540" y="888"/>
                  <a:pt x="2539" y="883"/>
                  <a:pt x="2537" y="874"/>
                </a:cubicBezTo>
                <a:cubicBezTo>
                  <a:pt x="2531" y="854"/>
                  <a:pt x="2518" y="846"/>
                  <a:pt x="2507" y="846"/>
                </a:cubicBezTo>
                <a:cubicBezTo>
                  <a:pt x="2500" y="846"/>
                  <a:pt x="2494" y="849"/>
                  <a:pt x="2490" y="851"/>
                </a:cubicBezTo>
                <a:cubicBezTo>
                  <a:pt x="2490" y="851"/>
                  <a:pt x="2490" y="851"/>
                  <a:pt x="2489" y="851"/>
                </a:cubicBezTo>
                <a:cubicBezTo>
                  <a:pt x="2482" y="852"/>
                  <a:pt x="2463" y="853"/>
                  <a:pt x="2447" y="853"/>
                </a:cubicBezTo>
                <a:cubicBezTo>
                  <a:pt x="2435" y="853"/>
                  <a:pt x="2425" y="853"/>
                  <a:pt x="2423" y="853"/>
                </a:cubicBezTo>
                <a:cubicBezTo>
                  <a:pt x="2419" y="853"/>
                  <a:pt x="2417" y="854"/>
                  <a:pt x="2413" y="855"/>
                </a:cubicBezTo>
                <a:cubicBezTo>
                  <a:pt x="2400" y="860"/>
                  <a:pt x="2380" y="868"/>
                  <a:pt x="2371" y="873"/>
                </a:cubicBezTo>
                <a:cubicBezTo>
                  <a:pt x="2362" y="878"/>
                  <a:pt x="2345" y="884"/>
                  <a:pt x="2338" y="888"/>
                </a:cubicBezTo>
                <a:cubicBezTo>
                  <a:pt x="2338" y="888"/>
                  <a:pt x="2338" y="888"/>
                  <a:pt x="2337" y="888"/>
                </a:cubicBezTo>
                <a:cubicBezTo>
                  <a:pt x="2334" y="888"/>
                  <a:pt x="2324" y="886"/>
                  <a:pt x="2315" y="886"/>
                </a:cubicBezTo>
                <a:cubicBezTo>
                  <a:pt x="2316" y="883"/>
                  <a:pt x="2317" y="881"/>
                  <a:pt x="2318" y="878"/>
                </a:cubicBezTo>
                <a:cubicBezTo>
                  <a:pt x="2319" y="877"/>
                  <a:pt x="2320" y="876"/>
                  <a:pt x="2320" y="875"/>
                </a:cubicBezTo>
                <a:cubicBezTo>
                  <a:pt x="2323" y="876"/>
                  <a:pt x="2325" y="876"/>
                  <a:pt x="2327" y="876"/>
                </a:cubicBezTo>
                <a:cubicBezTo>
                  <a:pt x="2336" y="876"/>
                  <a:pt x="2345" y="873"/>
                  <a:pt x="2352" y="872"/>
                </a:cubicBezTo>
                <a:cubicBezTo>
                  <a:pt x="2360" y="871"/>
                  <a:pt x="2365" y="865"/>
                  <a:pt x="2369" y="861"/>
                </a:cubicBezTo>
                <a:cubicBezTo>
                  <a:pt x="2373" y="856"/>
                  <a:pt x="2377" y="851"/>
                  <a:pt x="2381" y="849"/>
                </a:cubicBezTo>
                <a:cubicBezTo>
                  <a:pt x="2383" y="847"/>
                  <a:pt x="2385" y="846"/>
                  <a:pt x="2387" y="844"/>
                </a:cubicBezTo>
                <a:cubicBezTo>
                  <a:pt x="2388" y="843"/>
                  <a:pt x="2390" y="840"/>
                  <a:pt x="2390" y="837"/>
                </a:cubicBezTo>
                <a:cubicBezTo>
                  <a:pt x="2390" y="834"/>
                  <a:pt x="2388" y="832"/>
                  <a:pt x="2387" y="831"/>
                </a:cubicBezTo>
                <a:cubicBezTo>
                  <a:pt x="2386" y="829"/>
                  <a:pt x="2385" y="828"/>
                  <a:pt x="2384" y="826"/>
                </a:cubicBezTo>
                <a:cubicBezTo>
                  <a:pt x="2384" y="826"/>
                  <a:pt x="2384" y="826"/>
                  <a:pt x="2384" y="826"/>
                </a:cubicBezTo>
                <a:cubicBezTo>
                  <a:pt x="2384" y="825"/>
                  <a:pt x="2386" y="822"/>
                  <a:pt x="2390" y="818"/>
                </a:cubicBezTo>
                <a:cubicBezTo>
                  <a:pt x="2393" y="814"/>
                  <a:pt x="2398" y="809"/>
                  <a:pt x="2402" y="805"/>
                </a:cubicBezTo>
                <a:cubicBezTo>
                  <a:pt x="2404" y="802"/>
                  <a:pt x="2407" y="802"/>
                  <a:pt x="2413" y="801"/>
                </a:cubicBezTo>
                <a:cubicBezTo>
                  <a:pt x="2416" y="801"/>
                  <a:pt x="2419" y="801"/>
                  <a:pt x="2422" y="799"/>
                </a:cubicBezTo>
                <a:cubicBezTo>
                  <a:pt x="2425" y="798"/>
                  <a:pt x="2428" y="794"/>
                  <a:pt x="2429" y="790"/>
                </a:cubicBezTo>
                <a:cubicBezTo>
                  <a:pt x="2431" y="784"/>
                  <a:pt x="2432" y="777"/>
                  <a:pt x="2434" y="772"/>
                </a:cubicBezTo>
                <a:cubicBezTo>
                  <a:pt x="2435" y="769"/>
                  <a:pt x="2436" y="767"/>
                  <a:pt x="2436" y="766"/>
                </a:cubicBezTo>
                <a:cubicBezTo>
                  <a:pt x="2437" y="766"/>
                  <a:pt x="2437" y="766"/>
                  <a:pt x="2437" y="766"/>
                </a:cubicBezTo>
                <a:cubicBezTo>
                  <a:pt x="2445" y="767"/>
                  <a:pt x="2457" y="774"/>
                  <a:pt x="2467" y="774"/>
                </a:cubicBezTo>
                <a:cubicBezTo>
                  <a:pt x="2475" y="773"/>
                  <a:pt x="2481" y="769"/>
                  <a:pt x="2487" y="765"/>
                </a:cubicBezTo>
                <a:cubicBezTo>
                  <a:pt x="2493" y="761"/>
                  <a:pt x="2500" y="756"/>
                  <a:pt x="2500" y="755"/>
                </a:cubicBezTo>
                <a:cubicBezTo>
                  <a:pt x="2500" y="755"/>
                  <a:pt x="2500" y="755"/>
                  <a:pt x="2500" y="755"/>
                </a:cubicBezTo>
                <a:cubicBezTo>
                  <a:pt x="2500" y="755"/>
                  <a:pt x="2500" y="755"/>
                  <a:pt x="2500" y="755"/>
                </a:cubicBezTo>
                <a:cubicBezTo>
                  <a:pt x="2501" y="755"/>
                  <a:pt x="2502" y="755"/>
                  <a:pt x="2503" y="755"/>
                </a:cubicBezTo>
                <a:cubicBezTo>
                  <a:pt x="2506" y="755"/>
                  <a:pt x="2509" y="755"/>
                  <a:pt x="2511" y="757"/>
                </a:cubicBezTo>
                <a:cubicBezTo>
                  <a:pt x="2514" y="758"/>
                  <a:pt x="2515" y="760"/>
                  <a:pt x="2516" y="762"/>
                </a:cubicBezTo>
                <a:cubicBezTo>
                  <a:pt x="2517" y="771"/>
                  <a:pt x="2524" y="778"/>
                  <a:pt x="2530" y="784"/>
                </a:cubicBezTo>
                <a:cubicBezTo>
                  <a:pt x="2536" y="790"/>
                  <a:pt x="2542" y="795"/>
                  <a:pt x="2545" y="796"/>
                </a:cubicBezTo>
                <a:cubicBezTo>
                  <a:pt x="2548" y="798"/>
                  <a:pt x="2556" y="802"/>
                  <a:pt x="2565" y="805"/>
                </a:cubicBezTo>
                <a:cubicBezTo>
                  <a:pt x="2570" y="807"/>
                  <a:pt x="2574" y="809"/>
                  <a:pt x="2577" y="810"/>
                </a:cubicBezTo>
                <a:cubicBezTo>
                  <a:pt x="2580" y="812"/>
                  <a:pt x="2583" y="814"/>
                  <a:pt x="2583" y="814"/>
                </a:cubicBezTo>
                <a:cubicBezTo>
                  <a:pt x="2586" y="816"/>
                  <a:pt x="2593" y="828"/>
                  <a:pt x="2595" y="838"/>
                </a:cubicBezTo>
                <a:cubicBezTo>
                  <a:pt x="2597" y="845"/>
                  <a:pt x="2600" y="851"/>
                  <a:pt x="2607" y="851"/>
                </a:cubicBezTo>
                <a:cubicBezTo>
                  <a:pt x="2614" y="851"/>
                  <a:pt x="2618" y="845"/>
                  <a:pt x="2618" y="839"/>
                </a:cubicBezTo>
                <a:cubicBezTo>
                  <a:pt x="2619" y="838"/>
                  <a:pt x="2619" y="837"/>
                  <a:pt x="2619" y="836"/>
                </a:cubicBezTo>
                <a:cubicBezTo>
                  <a:pt x="2619" y="829"/>
                  <a:pt x="2617" y="822"/>
                  <a:pt x="2617" y="818"/>
                </a:cubicBezTo>
                <a:cubicBezTo>
                  <a:pt x="2617" y="818"/>
                  <a:pt x="2618" y="818"/>
                  <a:pt x="2618" y="818"/>
                </a:cubicBezTo>
                <a:cubicBezTo>
                  <a:pt x="2627" y="818"/>
                  <a:pt x="2635" y="815"/>
                  <a:pt x="2636" y="815"/>
                </a:cubicBezTo>
                <a:cubicBezTo>
                  <a:pt x="2637" y="814"/>
                  <a:pt x="2636" y="812"/>
                  <a:pt x="2640" y="810"/>
                </a:cubicBezTo>
                <a:cubicBezTo>
                  <a:pt x="2640" y="810"/>
                  <a:pt x="2640" y="810"/>
                  <a:pt x="2640" y="810"/>
                </a:cubicBezTo>
                <a:cubicBezTo>
                  <a:pt x="2644" y="820"/>
                  <a:pt x="2651" y="829"/>
                  <a:pt x="2653" y="833"/>
                </a:cubicBezTo>
                <a:cubicBezTo>
                  <a:pt x="2654" y="835"/>
                  <a:pt x="2658" y="844"/>
                  <a:pt x="2661" y="853"/>
                </a:cubicBezTo>
                <a:cubicBezTo>
                  <a:pt x="2665" y="862"/>
                  <a:pt x="2669" y="871"/>
                  <a:pt x="2671" y="875"/>
                </a:cubicBezTo>
                <a:cubicBezTo>
                  <a:pt x="2672" y="879"/>
                  <a:pt x="2677" y="881"/>
                  <a:pt x="2680" y="881"/>
                </a:cubicBezTo>
                <a:cubicBezTo>
                  <a:pt x="2689" y="881"/>
                  <a:pt x="2696" y="874"/>
                  <a:pt x="2701" y="870"/>
                </a:cubicBezTo>
                <a:cubicBezTo>
                  <a:pt x="2703" y="868"/>
                  <a:pt x="2706" y="866"/>
                  <a:pt x="2711" y="863"/>
                </a:cubicBezTo>
                <a:cubicBezTo>
                  <a:pt x="2715" y="860"/>
                  <a:pt x="2719" y="854"/>
                  <a:pt x="2720" y="847"/>
                </a:cubicBezTo>
                <a:cubicBezTo>
                  <a:pt x="2720" y="846"/>
                  <a:pt x="2720" y="846"/>
                  <a:pt x="2720" y="845"/>
                </a:cubicBezTo>
                <a:cubicBezTo>
                  <a:pt x="2720" y="837"/>
                  <a:pt x="2715" y="831"/>
                  <a:pt x="2710" y="827"/>
                </a:cubicBezTo>
                <a:cubicBezTo>
                  <a:pt x="2708" y="825"/>
                  <a:pt x="2705" y="823"/>
                  <a:pt x="2703" y="822"/>
                </a:cubicBezTo>
                <a:cubicBezTo>
                  <a:pt x="2704" y="821"/>
                  <a:pt x="2705" y="821"/>
                  <a:pt x="2707" y="820"/>
                </a:cubicBezTo>
                <a:cubicBezTo>
                  <a:pt x="2710" y="818"/>
                  <a:pt x="2714" y="816"/>
                  <a:pt x="2717" y="814"/>
                </a:cubicBezTo>
                <a:cubicBezTo>
                  <a:pt x="2720" y="810"/>
                  <a:pt x="2726" y="806"/>
                  <a:pt x="2728" y="805"/>
                </a:cubicBezTo>
                <a:cubicBezTo>
                  <a:pt x="2728" y="805"/>
                  <a:pt x="2728" y="805"/>
                  <a:pt x="2728" y="805"/>
                </a:cubicBezTo>
                <a:cubicBezTo>
                  <a:pt x="2729" y="806"/>
                  <a:pt x="2730" y="817"/>
                  <a:pt x="2730" y="827"/>
                </a:cubicBezTo>
                <a:cubicBezTo>
                  <a:pt x="2731" y="832"/>
                  <a:pt x="2731" y="837"/>
                  <a:pt x="2731" y="841"/>
                </a:cubicBezTo>
                <a:cubicBezTo>
                  <a:pt x="2731" y="845"/>
                  <a:pt x="2731" y="848"/>
                  <a:pt x="2732" y="851"/>
                </a:cubicBezTo>
                <a:cubicBezTo>
                  <a:pt x="2734" y="855"/>
                  <a:pt x="2737" y="857"/>
                  <a:pt x="2740" y="859"/>
                </a:cubicBezTo>
                <a:cubicBezTo>
                  <a:pt x="2744" y="862"/>
                  <a:pt x="2749" y="864"/>
                  <a:pt x="2754" y="867"/>
                </a:cubicBezTo>
                <a:cubicBezTo>
                  <a:pt x="2759" y="869"/>
                  <a:pt x="2763" y="873"/>
                  <a:pt x="2763" y="873"/>
                </a:cubicBezTo>
                <a:cubicBezTo>
                  <a:pt x="2769" y="881"/>
                  <a:pt x="2779" y="883"/>
                  <a:pt x="2788" y="883"/>
                </a:cubicBezTo>
                <a:cubicBezTo>
                  <a:pt x="2792" y="883"/>
                  <a:pt x="2795" y="884"/>
                  <a:pt x="2799" y="880"/>
                </a:cubicBezTo>
                <a:cubicBezTo>
                  <a:pt x="2799" y="880"/>
                  <a:pt x="2799" y="880"/>
                  <a:pt x="2800" y="880"/>
                </a:cubicBezTo>
                <a:cubicBezTo>
                  <a:pt x="2804" y="880"/>
                  <a:pt x="2816" y="884"/>
                  <a:pt x="2820" y="885"/>
                </a:cubicBezTo>
                <a:cubicBezTo>
                  <a:pt x="2822" y="886"/>
                  <a:pt x="2823" y="886"/>
                  <a:pt x="2824" y="886"/>
                </a:cubicBezTo>
                <a:cubicBezTo>
                  <a:pt x="2832" y="886"/>
                  <a:pt x="2843" y="882"/>
                  <a:pt x="2851" y="880"/>
                </a:cubicBezTo>
                <a:cubicBezTo>
                  <a:pt x="2855" y="878"/>
                  <a:pt x="2859" y="877"/>
                  <a:pt x="2861" y="876"/>
                </a:cubicBezTo>
                <a:cubicBezTo>
                  <a:pt x="2861" y="877"/>
                  <a:pt x="2861" y="877"/>
                  <a:pt x="2861" y="878"/>
                </a:cubicBezTo>
                <a:cubicBezTo>
                  <a:pt x="2861" y="879"/>
                  <a:pt x="2861" y="880"/>
                  <a:pt x="2861" y="881"/>
                </a:cubicBezTo>
                <a:cubicBezTo>
                  <a:pt x="2860" y="898"/>
                  <a:pt x="2856" y="925"/>
                  <a:pt x="2846" y="936"/>
                </a:cubicBezTo>
                <a:cubicBezTo>
                  <a:pt x="2840" y="944"/>
                  <a:pt x="2837" y="950"/>
                  <a:pt x="2836" y="953"/>
                </a:cubicBezTo>
                <a:close/>
                <a:moveTo>
                  <a:pt x="2953" y="1233"/>
                </a:moveTo>
                <a:cubicBezTo>
                  <a:pt x="2950" y="1230"/>
                  <a:pt x="2948" y="1227"/>
                  <a:pt x="2944" y="1225"/>
                </a:cubicBezTo>
                <a:cubicBezTo>
                  <a:pt x="2944" y="1225"/>
                  <a:pt x="2944" y="1225"/>
                  <a:pt x="2944" y="1225"/>
                </a:cubicBezTo>
                <a:cubicBezTo>
                  <a:pt x="2944" y="1225"/>
                  <a:pt x="2939" y="1220"/>
                  <a:pt x="2935" y="1215"/>
                </a:cubicBezTo>
                <a:cubicBezTo>
                  <a:pt x="2931" y="1209"/>
                  <a:pt x="2926" y="1202"/>
                  <a:pt x="2924" y="1195"/>
                </a:cubicBezTo>
                <a:cubicBezTo>
                  <a:pt x="2918" y="1178"/>
                  <a:pt x="2910" y="1157"/>
                  <a:pt x="2900" y="1143"/>
                </a:cubicBezTo>
                <a:cubicBezTo>
                  <a:pt x="2892" y="1133"/>
                  <a:pt x="2886" y="1104"/>
                  <a:pt x="2877" y="1084"/>
                </a:cubicBezTo>
                <a:cubicBezTo>
                  <a:pt x="2868" y="1065"/>
                  <a:pt x="2860" y="1040"/>
                  <a:pt x="2852" y="1022"/>
                </a:cubicBezTo>
                <a:cubicBezTo>
                  <a:pt x="2851" y="1019"/>
                  <a:pt x="2850" y="1017"/>
                  <a:pt x="2848" y="1015"/>
                </a:cubicBezTo>
                <a:cubicBezTo>
                  <a:pt x="2853" y="1014"/>
                  <a:pt x="2858" y="1012"/>
                  <a:pt x="2861" y="1013"/>
                </a:cubicBezTo>
                <a:cubicBezTo>
                  <a:pt x="2862" y="1013"/>
                  <a:pt x="2862" y="1013"/>
                  <a:pt x="2862" y="1013"/>
                </a:cubicBezTo>
                <a:cubicBezTo>
                  <a:pt x="2866" y="1024"/>
                  <a:pt x="2877" y="1044"/>
                  <a:pt x="2879" y="1057"/>
                </a:cubicBezTo>
                <a:cubicBezTo>
                  <a:pt x="2880" y="1066"/>
                  <a:pt x="2887" y="1071"/>
                  <a:pt x="2890" y="1073"/>
                </a:cubicBezTo>
                <a:cubicBezTo>
                  <a:pt x="2894" y="1076"/>
                  <a:pt x="2894" y="1075"/>
                  <a:pt x="2895" y="1080"/>
                </a:cubicBezTo>
                <a:cubicBezTo>
                  <a:pt x="2896" y="1088"/>
                  <a:pt x="2899" y="1100"/>
                  <a:pt x="2903" y="1110"/>
                </a:cubicBezTo>
                <a:cubicBezTo>
                  <a:pt x="2905" y="1116"/>
                  <a:pt x="2907" y="1121"/>
                  <a:pt x="2909" y="1125"/>
                </a:cubicBezTo>
                <a:cubicBezTo>
                  <a:pt x="2911" y="1129"/>
                  <a:pt x="2912" y="1132"/>
                  <a:pt x="2915" y="1135"/>
                </a:cubicBezTo>
                <a:cubicBezTo>
                  <a:pt x="2916" y="1137"/>
                  <a:pt x="2923" y="1143"/>
                  <a:pt x="2929" y="1150"/>
                </a:cubicBezTo>
                <a:cubicBezTo>
                  <a:pt x="2935" y="1157"/>
                  <a:pt x="2941" y="1165"/>
                  <a:pt x="2942" y="1167"/>
                </a:cubicBezTo>
                <a:cubicBezTo>
                  <a:pt x="2945" y="1175"/>
                  <a:pt x="2949" y="1186"/>
                  <a:pt x="2953" y="1206"/>
                </a:cubicBezTo>
                <a:cubicBezTo>
                  <a:pt x="2955" y="1216"/>
                  <a:pt x="2956" y="1228"/>
                  <a:pt x="2959" y="1239"/>
                </a:cubicBezTo>
                <a:cubicBezTo>
                  <a:pt x="2959" y="1240"/>
                  <a:pt x="2959" y="1242"/>
                  <a:pt x="2960" y="1243"/>
                </a:cubicBezTo>
                <a:cubicBezTo>
                  <a:pt x="2958" y="1239"/>
                  <a:pt x="2955" y="1236"/>
                  <a:pt x="2953" y="1233"/>
                </a:cubicBezTo>
                <a:close/>
                <a:moveTo>
                  <a:pt x="3061" y="753"/>
                </a:moveTo>
                <a:cubicBezTo>
                  <a:pt x="3062" y="756"/>
                  <a:pt x="3066" y="758"/>
                  <a:pt x="3068" y="758"/>
                </a:cubicBezTo>
                <a:cubicBezTo>
                  <a:pt x="3071" y="757"/>
                  <a:pt x="3072" y="757"/>
                  <a:pt x="3073" y="757"/>
                </a:cubicBezTo>
                <a:cubicBezTo>
                  <a:pt x="3073" y="757"/>
                  <a:pt x="3073" y="757"/>
                  <a:pt x="3074" y="757"/>
                </a:cubicBezTo>
                <a:cubicBezTo>
                  <a:pt x="3079" y="761"/>
                  <a:pt x="3081" y="768"/>
                  <a:pt x="3086" y="778"/>
                </a:cubicBezTo>
                <a:cubicBezTo>
                  <a:pt x="3089" y="784"/>
                  <a:pt x="3094" y="786"/>
                  <a:pt x="3098" y="787"/>
                </a:cubicBezTo>
                <a:cubicBezTo>
                  <a:pt x="3101" y="788"/>
                  <a:pt x="3103" y="789"/>
                  <a:pt x="3104" y="790"/>
                </a:cubicBezTo>
                <a:cubicBezTo>
                  <a:pt x="3103" y="791"/>
                  <a:pt x="3102" y="793"/>
                  <a:pt x="3100" y="795"/>
                </a:cubicBezTo>
                <a:cubicBezTo>
                  <a:pt x="3098" y="797"/>
                  <a:pt x="3095" y="800"/>
                  <a:pt x="3094" y="806"/>
                </a:cubicBezTo>
                <a:cubicBezTo>
                  <a:pt x="3094" y="809"/>
                  <a:pt x="3096" y="813"/>
                  <a:pt x="3099" y="815"/>
                </a:cubicBezTo>
                <a:cubicBezTo>
                  <a:pt x="3101" y="817"/>
                  <a:pt x="3105" y="827"/>
                  <a:pt x="3107" y="837"/>
                </a:cubicBezTo>
                <a:cubicBezTo>
                  <a:pt x="3109" y="846"/>
                  <a:pt x="3111" y="855"/>
                  <a:pt x="3111" y="860"/>
                </a:cubicBezTo>
                <a:cubicBezTo>
                  <a:pt x="3110" y="861"/>
                  <a:pt x="3107" y="863"/>
                  <a:pt x="3103" y="863"/>
                </a:cubicBezTo>
                <a:cubicBezTo>
                  <a:pt x="3098" y="865"/>
                  <a:pt x="3092" y="865"/>
                  <a:pt x="3088" y="865"/>
                </a:cubicBezTo>
                <a:cubicBezTo>
                  <a:pt x="3087" y="865"/>
                  <a:pt x="3086" y="865"/>
                  <a:pt x="3085" y="865"/>
                </a:cubicBezTo>
                <a:cubicBezTo>
                  <a:pt x="3079" y="864"/>
                  <a:pt x="3055" y="855"/>
                  <a:pt x="3046" y="852"/>
                </a:cubicBezTo>
                <a:cubicBezTo>
                  <a:pt x="3045" y="851"/>
                  <a:pt x="3041" y="840"/>
                  <a:pt x="3042" y="833"/>
                </a:cubicBezTo>
                <a:cubicBezTo>
                  <a:pt x="3042" y="831"/>
                  <a:pt x="3042" y="829"/>
                  <a:pt x="3042" y="828"/>
                </a:cubicBezTo>
                <a:cubicBezTo>
                  <a:pt x="3043" y="828"/>
                  <a:pt x="3044" y="828"/>
                  <a:pt x="3045" y="828"/>
                </a:cubicBezTo>
                <a:cubicBezTo>
                  <a:pt x="3050" y="828"/>
                  <a:pt x="3055" y="826"/>
                  <a:pt x="3058" y="823"/>
                </a:cubicBezTo>
                <a:cubicBezTo>
                  <a:pt x="3062" y="820"/>
                  <a:pt x="3065" y="816"/>
                  <a:pt x="3070" y="811"/>
                </a:cubicBezTo>
                <a:cubicBezTo>
                  <a:pt x="3073" y="808"/>
                  <a:pt x="3075" y="805"/>
                  <a:pt x="3075" y="801"/>
                </a:cubicBezTo>
                <a:cubicBezTo>
                  <a:pt x="3074" y="796"/>
                  <a:pt x="3072" y="793"/>
                  <a:pt x="3069" y="790"/>
                </a:cubicBezTo>
                <a:cubicBezTo>
                  <a:pt x="3060" y="784"/>
                  <a:pt x="3047" y="782"/>
                  <a:pt x="3042" y="780"/>
                </a:cubicBezTo>
                <a:cubicBezTo>
                  <a:pt x="3042" y="780"/>
                  <a:pt x="3042" y="780"/>
                  <a:pt x="3042" y="780"/>
                </a:cubicBezTo>
                <a:cubicBezTo>
                  <a:pt x="3040" y="779"/>
                  <a:pt x="3034" y="770"/>
                  <a:pt x="3029" y="762"/>
                </a:cubicBezTo>
                <a:cubicBezTo>
                  <a:pt x="3023" y="754"/>
                  <a:pt x="3019" y="745"/>
                  <a:pt x="3016" y="740"/>
                </a:cubicBezTo>
                <a:cubicBezTo>
                  <a:pt x="3015" y="738"/>
                  <a:pt x="3014" y="736"/>
                  <a:pt x="3014" y="734"/>
                </a:cubicBezTo>
                <a:cubicBezTo>
                  <a:pt x="3014" y="728"/>
                  <a:pt x="3018" y="719"/>
                  <a:pt x="3027" y="712"/>
                </a:cubicBezTo>
                <a:cubicBezTo>
                  <a:pt x="3027" y="712"/>
                  <a:pt x="3027" y="712"/>
                  <a:pt x="3027" y="712"/>
                </a:cubicBezTo>
                <a:cubicBezTo>
                  <a:pt x="3027" y="712"/>
                  <a:pt x="3028" y="712"/>
                  <a:pt x="3028" y="712"/>
                </a:cubicBezTo>
                <a:cubicBezTo>
                  <a:pt x="3032" y="712"/>
                  <a:pt x="3041" y="715"/>
                  <a:pt x="3050" y="715"/>
                </a:cubicBezTo>
                <a:cubicBezTo>
                  <a:pt x="3054" y="715"/>
                  <a:pt x="3058" y="715"/>
                  <a:pt x="3061" y="712"/>
                </a:cubicBezTo>
                <a:cubicBezTo>
                  <a:pt x="3070" y="705"/>
                  <a:pt x="3079" y="698"/>
                  <a:pt x="3083" y="695"/>
                </a:cubicBezTo>
                <a:cubicBezTo>
                  <a:pt x="3085" y="695"/>
                  <a:pt x="3090" y="696"/>
                  <a:pt x="3095" y="698"/>
                </a:cubicBezTo>
                <a:cubicBezTo>
                  <a:pt x="3100" y="700"/>
                  <a:pt x="3104" y="703"/>
                  <a:pt x="3104" y="704"/>
                </a:cubicBezTo>
                <a:cubicBezTo>
                  <a:pt x="3106" y="709"/>
                  <a:pt x="3110" y="713"/>
                  <a:pt x="3113" y="717"/>
                </a:cubicBezTo>
                <a:cubicBezTo>
                  <a:pt x="3114" y="719"/>
                  <a:pt x="3115" y="721"/>
                  <a:pt x="3116" y="722"/>
                </a:cubicBezTo>
                <a:cubicBezTo>
                  <a:pt x="3116" y="723"/>
                  <a:pt x="3116" y="723"/>
                  <a:pt x="3116" y="723"/>
                </a:cubicBezTo>
                <a:cubicBezTo>
                  <a:pt x="3114" y="724"/>
                  <a:pt x="3108" y="725"/>
                  <a:pt x="3104" y="725"/>
                </a:cubicBezTo>
                <a:cubicBezTo>
                  <a:pt x="3099" y="725"/>
                  <a:pt x="3095" y="724"/>
                  <a:pt x="3095" y="723"/>
                </a:cubicBezTo>
                <a:cubicBezTo>
                  <a:pt x="3092" y="719"/>
                  <a:pt x="3087" y="717"/>
                  <a:pt x="3083" y="717"/>
                </a:cubicBezTo>
                <a:cubicBezTo>
                  <a:pt x="3072" y="718"/>
                  <a:pt x="3061" y="728"/>
                  <a:pt x="3060" y="743"/>
                </a:cubicBezTo>
                <a:cubicBezTo>
                  <a:pt x="3060" y="744"/>
                  <a:pt x="3060" y="745"/>
                  <a:pt x="3060" y="746"/>
                </a:cubicBezTo>
                <a:cubicBezTo>
                  <a:pt x="3060" y="749"/>
                  <a:pt x="3060" y="751"/>
                  <a:pt x="3061" y="753"/>
                </a:cubicBezTo>
                <a:close/>
                <a:moveTo>
                  <a:pt x="3441" y="353"/>
                </a:moveTo>
                <a:cubicBezTo>
                  <a:pt x="3437" y="354"/>
                  <a:pt x="3434" y="355"/>
                  <a:pt x="3431" y="355"/>
                </a:cubicBezTo>
                <a:cubicBezTo>
                  <a:pt x="3426" y="355"/>
                  <a:pt x="3423" y="353"/>
                  <a:pt x="3423" y="351"/>
                </a:cubicBezTo>
                <a:cubicBezTo>
                  <a:pt x="3421" y="346"/>
                  <a:pt x="3416" y="341"/>
                  <a:pt x="3411" y="340"/>
                </a:cubicBezTo>
                <a:cubicBezTo>
                  <a:pt x="3412" y="340"/>
                  <a:pt x="3413" y="340"/>
                  <a:pt x="3414" y="339"/>
                </a:cubicBezTo>
                <a:cubicBezTo>
                  <a:pt x="3420" y="338"/>
                  <a:pt x="3428" y="335"/>
                  <a:pt x="3433" y="335"/>
                </a:cubicBezTo>
                <a:cubicBezTo>
                  <a:pt x="3435" y="335"/>
                  <a:pt x="3436" y="336"/>
                  <a:pt x="3436" y="336"/>
                </a:cubicBezTo>
                <a:cubicBezTo>
                  <a:pt x="3436" y="336"/>
                  <a:pt x="3436" y="335"/>
                  <a:pt x="3436" y="337"/>
                </a:cubicBezTo>
                <a:cubicBezTo>
                  <a:pt x="3437" y="342"/>
                  <a:pt x="3439" y="346"/>
                  <a:pt x="3440" y="349"/>
                </a:cubicBezTo>
                <a:cubicBezTo>
                  <a:pt x="3441" y="350"/>
                  <a:pt x="3441" y="352"/>
                  <a:pt x="3442" y="352"/>
                </a:cubicBezTo>
                <a:cubicBezTo>
                  <a:pt x="3441" y="353"/>
                  <a:pt x="3441" y="353"/>
                  <a:pt x="3441" y="353"/>
                </a:cubicBezTo>
                <a:close/>
                <a:moveTo>
                  <a:pt x="3513" y="323"/>
                </a:moveTo>
                <a:cubicBezTo>
                  <a:pt x="3513" y="323"/>
                  <a:pt x="3513" y="323"/>
                  <a:pt x="3513" y="323"/>
                </a:cubicBezTo>
                <a:cubicBezTo>
                  <a:pt x="3512" y="324"/>
                  <a:pt x="3511" y="324"/>
                  <a:pt x="3511" y="324"/>
                </a:cubicBezTo>
                <a:cubicBezTo>
                  <a:pt x="3509" y="324"/>
                  <a:pt x="3508" y="324"/>
                  <a:pt x="3507" y="318"/>
                </a:cubicBezTo>
                <a:cubicBezTo>
                  <a:pt x="3506" y="312"/>
                  <a:pt x="3506" y="307"/>
                  <a:pt x="3502" y="302"/>
                </a:cubicBezTo>
                <a:cubicBezTo>
                  <a:pt x="3500" y="300"/>
                  <a:pt x="3498" y="299"/>
                  <a:pt x="3496" y="297"/>
                </a:cubicBezTo>
                <a:cubicBezTo>
                  <a:pt x="3499" y="299"/>
                  <a:pt x="3503" y="301"/>
                  <a:pt x="3505" y="302"/>
                </a:cubicBezTo>
                <a:cubicBezTo>
                  <a:pt x="3507" y="303"/>
                  <a:pt x="3507" y="304"/>
                  <a:pt x="3508" y="305"/>
                </a:cubicBezTo>
                <a:cubicBezTo>
                  <a:pt x="3508" y="305"/>
                  <a:pt x="3508" y="305"/>
                  <a:pt x="3508" y="305"/>
                </a:cubicBezTo>
                <a:cubicBezTo>
                  <a:pt x="3508" y="305"/>
                  <a:pt x="3508" y="305"/>
                  <a:pt x="3508" y="305"/>
                </a:cubicBezTo>
                <a:cubicBezTo>
                  <a:pt x="3512" y="307"/>
                  <a:pt x="3513" y="316"/>
                  <a:pt x="3513" y="320"/>
                </a:cubicBezTo>
                <a:cubicBezTo>
                  <a:pt x="3513" y="322"/>
                  <a:pt x="3513" y="323"/>
                  <a:pt x="3513" y="323"/>
                </a:cubicBezTo>
                <a:close/>
                <a:moveTo>
                  <a:pt x="2502" y="789"/>
                </a:moveTo>
                <a:cubicBezTo>
                  <a:pt x="2495" y="789"/>
                  <a:pt x="2491" y="794"/>
                  <a:pt x="2488" y="798"/>
                </a:cubicBezTo>
                <a:cubicBezTo>
                  <a:pt x="2485" y="803"/>
                  <a:pt x="2484" y="808"/>
                  <a:pt x="2484" y="814"/>
                </a:cubicBezTo>
                <a:cubicBezTo>
                  <a:pt x="2484" y="818"/>
                  <a:pt x="2485" y="823"/>
                  <a:pt x="2488" y="827"/>
                </a:cubicBezTo>
                <a:cubicBezTo>
                  <a:pt x="2492" y="831"/>
                  <a:pt x="2496" y="833"/>
                  <a:pt x="2501" y="833"/>
                </a:cubicBezTo>
                <a:cubicBezTo>
                  <a:pt x="2508" y="833"/>
                  <a:pt x="2514" y="828"/>
                  <a:pt x="2517" y="822"/>
                </a:cubicBezTo>
                <a:cubicBezTo>
                  <a:pt x="2512" y="819"/>
                  <a:pt x="2512" y="819"/>
                  <a:pt x="2512" y="819"/>
                </a:cubicBezTo>
                <a:cubicBezTo>
                  <a:pt x="2517" y="822"/>
                  <a:pt x="2517" y="822"/>
                  <a:pt x="2517" y="822"/>
                </a:cubicBezTo>
                <a:cubicBezTo>
                  <a:pt x="2519" y="819"/>
                  <a:pt x="2520" y="816"/>
                  <a:pt x="2520" y="812"/>
                </a:cubicBezTo>
                <a:cubicBezTo>
                  <a:pt x="2520" y="806"/>
                  <a:pt x="2518" y="801"/>
                  <a:pt x="2515" y="797"/>
                </a:cubicBezTo>
                <a:cubicBezTo>
                  <a:pt x="2511" y="793"/>
                  <a:pt x="2508" y="790"/>
                  <a:pt x="2502" y="789"/>
                </a:cubicBezTo>
                <a:close/>
                <a:moveTo>
                  <a:pt x="2028" y="279"/>
                </a:moveTo>
                <a:cubicBezTo>
                  <a:pt x="2029" y="279"/>
                  <a:pt x="2030" y="279"/>
                  <a:pt x="2031" y="279"/>
                </a:cubicBezTo>
                <a:cubicBezTo>
                  <a:pt x="2037" y="279"/>
                  <a:pt x="2045" y="280"/>
                  <a:pt x="2051" y="280"/>
                </a:cubicBezTo>
                <a:cubicBezTo>
                  <a:pt x="2055" y="280"/>
                  <a:pt x="2058" y="280"/>
                  <a:pt x="2062" y="278"/>
                </a:cubicBezTo>
                <a:cubicBezTo>
                  <a:pt x="2065" y="275"/>
                  <a:pt x="2067" y="271"/>
                  <a:pt x="2067" y="266"/>
                </a:cubicBezTo>
                <a:cubicBezTo>
                  <a:pt x="2067" y="266"/>
                  <a:pt x="2067" y="266"/>
                  <a:pt x="2067" y="265"/>
                </a:cubicBezTo>
                <a:cubicBezTo>
                  <a:pt x="2061" y="266"/>
                  <a:pt x="2061" y="266"/>
                  <a:pt x="2061" y="266"/>
                </a:cubicBezTo>
                <a:cubicBezTo>
                  <a:pt x="2067" y="265"/>
                  <a:pt x="2067" y="265"/>
                  <a:pt x="2067" y="265"/>
                </a:cubicBezTo>
                <a:cubicBezTo>
                  <a:pt x="2067" y="262"/>
                  <a:pt x="2067" y="259"/>
                  <a:pt x="2067" y="256"/>
                </a:cubicBezTo>
                <a:cubicBezTo>
                  <a:pt x="2067" y="245"/>
                  <a:pt x="2068" y="234"/>
                  <a:pt x="2071" y="230"/>
                </a:cubicBezTo>
                <a:cubicBezTo>
                  <a:pt x="2072" y="227"/>
                  <a:pt x="2074" y="225"/>
                  <a:pt x="2076" y="222"/>
                </a:cubicBezTo>
                <a:cubicBezTo>
                  <a:pt x="2078" y="220"/>
                  <a:pt x="2081" y="218"/>
                  <a:pt x="2081" y="212"/>
                </a:cubicBezTo>
                <a:cubicBezTo>
                  <a:pt x="2082" y="209"/>
                  <a:pt x="2079" y="206"/>
                  <a:pt x="2077" y="205"/>
                </a:cubicBezTo>
                <a:cubicBezTo>
                  <a:pt x="2074" y="204"/>
                  <a:pt x="2072" y="204"/>
                  <a:pt x="2070" y="204"/>
                </a:cubicBezTo>
                <a:cubicBezTo>
                  <a:pt x="2069" y="204"/>
                  <a:pt x="2068" y="204"/>
                  <a:pt x="2068" y="204"/>
                </a:cubicBezTo>
                <a:cubicBezTo>
                  <a:pt x="2066" y="204"/>
                  <a:pt x="2067" y="204"/>
                  <a:pt x="2066" y="204"/>
                </a:cubicBezTo>
                <a:cubicBezTo>
                  <a:pt x="2066" y="203"/>
                  <a:pt x="2065" y="202"/>
                  <a:pt x="2063" y="198"/>
                </a:cubicBezTo>
                <a:cubicBezTo>
                  <a:pt x="2063" y="196"/>
                  <a:pt x="2062" y="194"/>
                  <a:pt x="2062" y="193"/>
                </a:cubicBezTo>
                <a:cubicBezTo>
                  <a:pt x="2062" y="186"/>
                  <a:pt x="2067" y="179"/>
                  <a:pt x="2072" y="175"/>
                </a:cubicBezTo>
                <a:cubicBezTo>
                  <a:pt x="2075" y="172"/>
                  <a:pt x="2084" y="162"/>
                  <a:pt x="2094" y="152"/>
                </a:cubicBezTo>
                <a:cubicBezTo>
                  <a:pt x="2103" y="142"/>
                  <a:pt x="2115" y="132"/>
                  <a:pt x="2121" y="130"/>
                </a:cubicBezTo>
                <a:cubicBezTo>
                  <a:pt x="2135" y="125"/>
                  <a:pt x="2145" y="112"/>
                  <a:pt x="2146" y="100"/>
                </a:cubicBezTo>
                <a:cubicBezTo>
                  <a:pt x="2146" y="95"/>
                  <a:pt x="2143" y="89"/>
                  <a:pt x="2137" y="87"/>
                </a:cubicBezTo>
                <a:cubicBezTo>
                  <a:pt x="2131" y="84"/>
                  <a:pt x="2120" y="80"/>
                  <a:pt x="2108" y="80"/>
                </a:cubicBezTo>
                <a:cubicBezTo>
                  <a:pt x="2099" y="80"/>
                  <a:pt x="2090" y="83"/>
                  <a:pt x="2082" y="90"/>
                </a:cubicBezTo>
                <a:cubicBezTo>
                  <a:pt x="2076" y="97"/>
                  <a:pt x="2070" y="103"/>
                  <a:pt x="2066" y="107"/>
                </a:cubicBezTo>
                <a:cubicBezTo>
                  <a:pt x="2061" y="111"/>
                  <a:pt x="2057" y="113"/>
                  <a:pt x="2053" y="113"/>
                </a:cubicBezTo>
                <a:cubicBezTo>
                  <a:pt x="2051" y="113"/>
                  <a:pt x="2050" y="113"/>
                  <a:pt x="2048" y="113"/>
                </a:cubicBezTo>
                <a:cubicBezTo>
                  <a:pt x="2042" y="111"/>
                  <a:pt x="2039" y="106"/>
                  <a:pt x="2035" y="98"/>
                </a:cubicBezTo>
                <a:cubicBezTo>
                  <a:pt x="2031" y="90"/>
                  <a:pt x="2028" y="81"/>
                  <a:pt x="2022" y="73"/>
                </a:cubicBezTo>
                <a:cubicBezTo>
                  <a:pt x="2017" y="67"/>
                  <a:pt x="2015" y="55"/>
                  <a:pt x="2014" y="44"/>
                </a:cubicBezTo>
                <a:cubicBezTo>
                  <a:pt x="2013" y="39"/>
                  <a:pt x="2013" y="33"/>
                  <a:pt x="2011" y="29"/>
                </a:cubicBezTo>
                <a:cubicBezTo>
                  <a:pt x="2010" y="25"/>
                  <a:pt x="2005" y="19"/>
                  <a:pt x="1999" y="19"/>
                </a:cubicBezTo>
                <a:cubicBezTo>
                  <a:pt x="1998" y="19"/>
                  <a:pt x="1997" y="20"/>
                  <a:pt x="1996" y="20"/>
                </a:cubicBezTo>
                <a:cubicBezTo>
                  <a:pt x="1988" y="21"/>
                  <a:pt x="1984" y="22"/>
                  <a:pt x="1983" y="22"/>
                </a:cubicBezTo>
                <a:cubicBezTo>
                  <a:pt x="1980" y="22"/>
                  <a:pt x="1972" y="20"/>
                  <a:pt x="1964" y="20"/>
                </a:cubicBezTo>
                <a:cubicBezTo>
                  <a:pt x="1961" y="20"/>
                  <a:pt x="1957" y="21"/>
                  <a:pt x="1953" y="22"/>
                </a:cubicBezTo>
                <a:cubicBezTo>
                  <a:pt x="1948" y="23"/>
                  <a:pt x="1943" y="25"/>
                  <a:pt x="1940" y="27"/>
                </a:cubicBezTo>
                <a:cubicBezTo>
                  <a:pt x="1940" y="26"/>
                  <a:pt x="1940" y="26"/>
                  <a:pt x="1940" y="25"/>
                </a:cubicBezTo>
                <a:cubicBezTo>
                  <a:pt x="1939" y="19"/>
                  <a:pt x="1936" y="18"/>
                  <a:pt x="1934" y="16"/>
                </a:cubicBezTo>
                <a:cubicBezTo>
                  <a:pt x="1931" y="14"/>
                  <a:pt x="1928" y="13"/>
                  <a:pt x="1926" y="13"/>
                </a:cubicBezTo>
                <a:cubicBezTo>
                  <a:pt x="1909" y="11"/>
                  <a:pt x="1882" y="2"/>
                  <a:pt x="1859" y="1"/>
                </a:cubicBezTo>
                <a:cubicBezTo>
                  <a:pt x="1858" y="0"/>
                  <a:pt x="1857" y="0"/>
                  <a:pt x="1855" y="0"/>
                </a:cubicBezTo>
                <a:cubicBezTo>
                  <a:pt x="1839" y="1"/>
                  <a:pt x="1829" y="6"/>
                  <a:pt x="1815" y="6"/>
                </a:cubicBezTo>
                <a:cubicBezTo>
                  <a:pt x="1794" y="7"/>
                  <a:pt x="1767" y="5"/>
                  <a:pt x="1748" y="19"/>
                </a:cubicBezTo>
                <a:cubicBezTo>
                  <a:pt x="1741" y="24"/>
                  <a:pt x="1734" y="26"/>
                  <a:pt x="1727" y="28"/>
                </a:cubicBezTo>
                <a:cubicBezTo>
                  <a:pt x="1724" y="29"/>
                  <a:pt x="1721" y="30"/>
                  <a:pt x="1719" y="30"/>
                </a:cubicBezTo>
                <a:cubicBezTo>
                  <a:pt x="1718" y="31"/>
                  <a:pt x="1717" y="31"/>
                  <a:pt x="1715" y="31"/>
                </a:cubicBezTo>
                <a:cubicBezTo>
                  <a:pt x="1714" y="32"/>
                  <a:pt x="1713" y="32"/>
                  <a:pt x="1711" y="34"/>
                </a:cubicBezTo>
                <a:cubicBezTo>
                  <a:pt x="1707" y="40"/>
                  <a:pt x="1703" y="48"/>
                  <a:pt x="1700" y="55"/>
                </a:cubicBezTo>
                <a:cubicBezTo>
                  <a:pt x="1698" y="58"/>
                  <a:pt x="1697" y="61"/>
                  <a:pt x="1695" y="63"/>
                </a:cubicBezTo>
                <a:cubicBezTo>
                  <a:pt x="1695" y="63"/>
                  <a:pt x="1695" y="63"/>
                  <a:pt x="1695" y="63"/>
                </a:cubicBezTo>
                <a:cubicBezTo>
                  <a:pt x="1694" y="61"/>
                  <a:pt x="1692" y="57"/>
                  <a:pt x="1690" y="54"/>
                </a:cubicBezTo>
                <a:cubicBezTo>
                  <a:pt x="1689" y="52"/>
                  <a:pt x="1688" y="49"/>
                  <a:pt x="1686" y="47"/>
                </a:cubicBezTo>
                <a:cubicBezTo>
                  <a:pt x="1685" y="45"/>
                  <a:pt x="1682" y="43"/>
                  <a:pt x="1678" y="43"/>
                </a:cubicBezTo>
                <a:cubicBezTo>
                  <a:pt x="1675" y="43"/>
                  <a:pt x="1673" y="44"/>
                  <a:pt x="1671" y="46"/>
                </a:cubicBezTo>
                <a:cubicBezTo>
                  <a:pt x="1663" y="52"/>
                  <a:pt x="1664" y="61"/>
                  <a:pt x="1664" y="68"/>
                </a:cubicBezTo>
                <a:cubicBezTo>
                  <a:pt x="1664" y="69"/>
                  <a:pt x="1664" y="69"/>
                  <a:pt x="1664" y="69"/>
                </a:cubicBezTo>
                <a:cubicBezTo>
                  <a:pt x="1664" y="76"/>
                  <a:pt x="1663" y="82"/>
                  <a:pt x="1660" y="86"/>
                </a:cubicBezTo>
                <a:cubicBezTo>
                  <a:pt x="1657" y="90"/>
                  <a:pt x="1649" y="93"/>
                  <a:pt x="1641" y="93"/>
                </a:cubicBezTo>
                <a:cubicBezTo>
                  <a:pt x="1635" y="93"/>
                  <a:pt x="1630" y="91"/>
                  <a:pt x="1629" y="90"/>
                </a:cubicBezTo>
                <a:cubicBezTo>
                  <a:pt x="1622" y="86"/>
                  <a:pt x="1614" y="82"/>
                  <a:pt x="1596" y="83"/>
                </a:cubicBezTo>
                <a:cubicBezTo>
                  <a:pt x="1592" y="83"/>
                  <a:pt x="1588" y="83"/>
                  <a:pt x="1583" y="83"/>
                </a:cubicBezTo>
                <a:cubicBezTo>
                  <a:pt x="1569" y="84"/>
                  <a:pt x="1555" y="87"/>
                  <a:pt x="1545" y="91"/>
                </a:cubicBezTo>
                <a:cubicBezTo>
                  <a:pt x="1539" y="93"/>
                  <a:pt x="1534" y="95"/>
                  <a:pt x="1531" y="98"/>
                </a:cubicBezTo>
                <a:cubicBezTo>
                  <a:pt x="1527" y="101"/>
                  <a:pt x="1523" y="105"/>
                  <a:pt x="1523" y="110"/>
                </a:cubicBezTo>
                <a:cubicBezTo>
                  <a:pt x="1523" y="112"/>
                  <a:pt x="1524" y="114"/>
                  <a:pt x="1525" y="116"/>
                </a:cubicBezTo>
                <a:cubicBezTo>
                  <a:pt x="1525" y="117"/>
                  <a:pt x="1525" y="117"/>
                  <a:pt x="1525" y="117"/>
                </a:cubicBezTo>
                <a:cubicBezTo>
                  <a:pt x="1525" y="118"/>
                  <a:pt x="1525" y="118"/>
                  <a:pt x="1524" y="119"/>
                </a:cubicBezTo>
                <a:cubicBezTo>
                  <a:pt x="1522" y="120"/>
                  <a:pt x="1520" y="121"/>
                  <a:pt x="1518" y="121"/>
                </a:cubicBezTo>
                <a:cubicBezTo>
                  <a:pt x="1518" y="121"/>
                  <a:pt x="1517" y="121"/>
                  <a:pt x="1517" y="121"/>
                </a:cubicBezTo>
                <a:cubicBezTo>
                  <a:pt x="1517" y="121"/>
                  <a:pt x="1517" y="121"/>
                  <a:pt x="1517" y="121"/>
                </a:cubicBezTo>
                <a:cubicBezTo>
                  <a:pt x="1515" y="118"/>
                  <a:pt x="1511" y="118"/>
                  <a:pt x="1509" y="118"/>
                </a:cubicBezTo>
                <a:cubicBezTo>
                  <a:pt x="1503" y="118"/>
                  <a:pt x="1497" y="120"/>
                  <a:pt x="1491" y="124"/>
                </a:cubicBezTo>
                <a:cubicBezTo>
                  <a:pt x="1486" y="128"/>
                  <a:pt x="1481" y="134"/>
                  <a:pt x="1481" y="141"/>
                </a:cubicBezTo>
                <a:cubicBezTo>
                  <a:pt x="1481" y="142"/>
                  <a:pt x="1481" y="143"/>
                  <a:pt x="1481" y="143"/>
                </a:cubicBezTo>
                <a:cubicBezTo>
                  <a:pt x="1481" y="144"/>
                  <a:pt x="1481" y="145"/>
                  <a:pt x="1481" y="146"/>
                </a:cubicBezTo>
                <a:cubicBezTo>
                  <a:pt x="1481" y="150"/>
                  <a:pt x="1480" y="153"/>
                  <a:pt x="1479" y="155"/>
                </a:cubicBezTo>
                <a:cubicBezTo>
                  <a:pt x="1477" y="157"/>
                  <a:pt x="1476" y="158"/>
                  <a:pt x="1475" y="158"/>
                </a:cubicBezTo>
                <a:cubicBezTo>
                  <a:pt x="1474" y="158"/>
                  <a:pt x="1473" y="158"/>
                  <a:pt x="1473" y="158"/>
                </a:cubicBezTo>
                <a:cubicBezTo>
                  <a:pt x="1471" y="157"/>
                  <a:pt x="1469" y="157"/>
                  <a:pt x="1467" y="157"/>
                </a:cubicBezTo>
                <a:cubicBezTo>
                  <a:pt x="1454" y="157"/>
                  <a:pt x="1445" y="168"/>
                  <a:pt x="1444" y="179"/>
                </a:cubicBezTo>
                <a:cubicBezTo>
                  <a:pt x="1444" y="180"/>
                  <a:pt x="1438" y="183"/>
                  <a:pt x="1433" y="185"/>
                </a:cubicBezTo>
                <a:cubicBezTo>
                  <a:pt x="1430" y="186"/>
                  <a:pt x="1427" y="187"/>
                  <a:pt x="1424" y="188"/>
                </a:cubicBezTo>
                <a:cubicBezTo>
                  <a:pt x="1423" y="188"/>
                  <a:pt x="1422" y="188"/>
                  <a:pt x="1421" y="188"/>
                </a:cubicBezTo>
                <a:cubicBezTo>
                  <a:pt x="1421" y="188"/>
                  <a:pt x="1421" y="188"/>
                  <a:pt x="1421" y="188"/>
                </a:cubicBezTo>
                <a:cubicBezTo>
                  <a:pt x="1421" y="188"/>
                  <a:pt x="1421" y="188"/>
                  <a:pt x="1421" y="188"/>
                </a:cubicBezTo>
                <a:cubicBezTo>
                  <a:pt x="1421" y="188"/>
                  <a:pt x="1421" y="188"/>
                  <a:pt x="1421" y="188"/>
                </a:cubicBezTo>
                <a:cubicBezTo>
                  <a:pt x="1420" y="188"/>
                  <a:pt x="1419" y="188"/>
                  <a:pt x="1418" y="188"/>
                </a:cubicBezTo>
                <a:cubicBezTo>
                  <a:pt x="1415" y="188"/>
                  <a:pt x="1409" y="188"/>
                  <a:pt x="1403" y="189"/>
                </a:cubicBezTo>
                <a:cubicBezTo>
                  <a:pt x="1400" y="190"/>
                  <a:pt x="1397" y="191"/>
                  <a:pt x="1394" y="192"/>
                </a:cubicBezTo>
                <a:cubicBezTo>
                  <a:pt x="1392" y="193"/>
                  <a:pt x="1388" y="195"/>
                  <a:pt x="1388" y="201"/>
                </a:cubicBezTo>
                <a:cubicBezTo>
                  <a:pt x="1388" y="205"/>
                  <a:pt x="1391" y="207"/>
                  <a:pt x="1393" y="209"/>
                </a:cubicBezTo>
                <a:cubicBezTo>
                  <a:pt x="1399" y="215"/>
                  <a:pt x="1405" y="216"/>
                  <a:pt x="1410" y="215"/>
                </a:cubicBezTo>
                <a:cubicBezTo>
                  <a:pt x="1411" y="215"/>
                  <a:pt x="1411" y="215"/>
                  <a:pt x="1412" y="215"/>
                </a:cubicBezTo>
                <a:cubicBezTo>
                  <a:pt x="1414" y="215"/>
                  <a:pt x="1416" y="216"/>
                  <a:pt x="1419" y="216"/>
                </a:cubicBezTo>
                <a:cubicBezTo>
                  <a:pt x="1421" y="217"/>
                  <a:pt x="1426" y="221"/>
                  <a:pt x="1430" y="227"/>
                </a:cubicBezTo>
                <a:cubicBezTo>
                  <a:pt x="1434" y="232"/>
                  <a:pt x="1437" y="238"/>
                  <a:pt x="1443" y="242"/>
                </a:cubicBezTo>
                <a:cubicBezTo>
                  <a:pt x="1445" y="243"/>
                  <a:pt x="1448" y="243"/>
                  <a:pt x="1450" y="243"/>
                </a:cubicBezTo>
                <a:cubicBezTo>
                  <a:pt x="1457" y="243"/>
                  <a:pt x="1464" y="240"/>
                  <a:pt x="1467" y="234"/>
                </a:cubicBezTo>
                <a:cubicBezTo>
                  <a:pt x="1468" y="232"/>
                  <a:pt x="1469" y="230"/>
                  <a:pt x="1470" y="228"/>
                </a:cubicBezTo>
                <a:cubicBezTo>
                  <a:pt x="1472" y="230"/>
                  <a:pt x="1474" y="232"/>
                  <a:pt x="1477" y="233"/>
                </a:cubicBezTo>
                <a:cubicBezTo>
                  <a:pt x="1480" y="235"/>
                  <a:pt x="1483" y="235"/>
                  <a:pt x="1486" y="235"/>
                </a:cubicBezTo>
                <a:cubicBezTo>
                  <a:pt x="1496" y="235"/>
                  <a:pt x="1509" y="232"/>
                  <a:pt x="1513" y="232"/>
                </a:cubicBezTo>
                <a:cubicBezTo>
                  <a:pt x="1513" y="232"/>
                  <a:pt x="1513" y="232"/>
                  <a:pt x="1513" y="232"/>
                </a:cubicBezTo>
                <a:cubicBezTo>
                  <a:pt x="1516" y="232"/>
                  <a:pt x="1525" y="234"/>
                  <a:pt x="1535" y="236"/>
                </a:cubicBezTo>
                <a:cubicBezTo>
                  <a:pt x="1545" y="238"/>
                  <a:pt x="1556" y="241"/>
                  <a:pt x="1559" y="243"/>
                </a:cubicBezTo>
                <a:cubicBezTo>
                  <a:pt x="1565" y="247"/>
                  <a:pt x="1572" y="249"/>
                  <a:pt x="1580" y="252"/>
                </a:cubicBezTo>
                <a:cubicBezTo>
                  <a:pt x="1587" y="255"/>
                  <a:pt x="1593" y="258"/>
                  <a:pt x="1594" y="262"/>
                </a:cubicBezTo>
                <a:cubicBezTo>
                  <a:pt x="1597" y="266"/>
                  <a:pt x="1599" y="279"/>
                  <a:pt x="1600" y="292"/>
                </a:cubicBezTo>
                <a:cubicBezTo>
                  <a:pt x="1601" y="298"/>
                  <a:pt x="1601" y="304"/>
                  <a:pt x="1602" y="309"/>
                </a:cubicBezTo>
                <a:cubicBezTo>
                  <a:pt x="1603" y="314"/>
                  <a:pt x="1603" y="317"/>
                  <a:pt x="1605" y="321"/>
                </a:cubicBezTo>
                <a:cubicBezTo>
                  <a:pt x="1607" y="322"/>
                  <a:pt x="1609" y="324"/>
                  <a:pt x="1612" y="324"/>
                </a:cubicBezTo>
                <a:cubicBezTo>
                  <a:pt x="1612" y="324"/>
                  <a:pt x="1613" y="324"/>
                  <a:pt x="1614" y="323"/>
                </a:cubicBezTo>
                <a:cubicBezTo>
                  <a:pt x="1613" y="327"/>
                  <a:pt x="1612" y="331"/>
                  <a:pt x="1612" y="334"/>
                </a:cubicBezTo>
                <a:cubicBezTo>
                  <a:pt x="1612" y="339"/>
                  <a:pt x="1613" y="343"/>
                  <a:pt x="1615" y="347"/>
                </a:cubicBezTo>
                <a:cubicBezTo>
                  <a:pt x="1617" y="350"/>
                  <a:pt x="1619" y="354"/>
                  <a:pt x="1625" y="354"/>
                </a:cubicBezTo>
                <a:cubicBezTo>
                  <a:pt x="1627" y="354"/>
                  <a:pt x="1630" y="354"/>
                  <a:pt x="1633" y="355"/>
                </a:cubicBezTo>
                <a:cubicBezTo>
                  <a:pt x="1632" y="356"/>
                  <a:pt x="1630" y="358"/>
                  <a:pt x="1629" y="360"/>
                </a:cubicBezTo>
                <a:cubicBezTo>
                  <a:pt x="1627" y="364"/>
                  <a:pt x="1624" y="367"/>
                  <a:pt x="1624" y="373"/>
                </a:cubicBezTo>
                <a:cubicBezTo>
                  <a:pt x="1624" y="373"/>
                  <a:pt x="1624" y="373"/>
                  <a:pt x="1624" y="374"/>
                </a:cubicBezTo>
                <a:cubicBezTo>
                  <a:pt x="1625" y="383"/>
                  <a:pt x="1634" y="403"/>
                  <a:pt x="1637" y="409"/>
                </a:cubicBezTo>
                <a:cubicBezTo>
                  <a:pt x="1641" y="414"/>
                  <a:pt x="1646" y="416"/>
                  <a:pt x="1651" y="418"/>
                </a:cubicBezTo>
                <a:cubicBezTo>
                  <a:pt x="1651" y="418"/>
                  <a:pt x="1652" y="419"/>
                  <a:pt x="1652" y="419"/>
                </a:cubicBezTo>
                <a:cubicBezTo>
                  <a:pt x="1652" y="420"/>
                  <a:pt x="1651" y="421"/>
                  <a:pt x="1651" y="423"/>
                </a:cubicBezTo>
                <a:cubicBezTo>
                  <a:pt x="1651" y="424"/>
                  <a:pt x="1652" y="426"/>
                  <a:pt x="1653" y="427"/>
                </a:cubicBezTo>
                <a:cubicBezTo>
                  <a:pt x="1654" y="430"/>
                  <a:pt x="1657" y="436"/>
                  <a:pt x="1659" y="441"/>
                </a:cubicBezTo>
                <a:cubicBezTo>
                  <a:pt x="1663" y="447"/>
                  <a:pt x="1666" y="453"/>
                  <a:pt x="1672" y="456"/>
                </a:cubicBezTo>
                <a:cubicBezTo>
                  <a:pt x="1675" y="457"/>
                  <a:pt x="1682" y="462"/>
                  <a:pt x="1689" y="467"/>
                </a:cubicBezTo>
                <a:cubicBezTo>
                  <a:pt x="1695" y="472"/>
                  <a:pt x="1701" y="479"/>
                  <a:pt x="1701" y="480"/>
                </a:cubicBezTo>
                <a:cubicBezTo>
                  <a:pt x="1703" y="484"/>
                  <a:pt x="1708" y="486"/>
                  <a:pt x="1711" y="486"/>
                </a:cubicBezTo>
                <a:cubicBezTo>
                  <a:pt x="1716" y="486"/>
                  <a:pt x="1720" y="483"/>
                  <a:pt x="1724" y="481"/>
                </a:cubicBezTo>
                <a:cubicBezTo>
                  <a:pt x="1726" y="481"/>
                  <a:pt x="1727" y="480"/>
                  <a:pt x="1727" y="480"/>
                </a:cubicBezTo>
                <a:cubicBezTo>
                  <a:pt x="1728" y="482"/>
                  <a:pt x="1729" y="484"/>
                  <a:pt x="1729" y="486"/>
                </a:cubicBezTo>
                <a:cubicBezTo>
                  <a:pt x="1731" y="490"/>
                  <a:pt x="1734" y="496"/>
                  <a:pt x="1742" y="497"/>
                </a:cubicBezTo>
                <a:cubicBezTo>
                  <a:pt x="1744" y="497"/>
                  <a:pt x="1745" y="496"/>
                  <a:pt x="1746" y="496"/>
                </a:cubicBezTo>
                <a:cubicBezTo>
                  <a:pt x="1746" y="496"/>
                  <a:pt x="1746" y="496"/>
                  <a:pt x="1747" y="496"/>
                </a:cubicBezTo>
                <a:cubicBezTo>
                  <a:pt x="1756" y="496"/>
                  <a:pt x="1762" y="492"/>
                  <a:pt x="1769" y="485"/>
                </a:cubicBezTo>
                <a:cubicBezTo>
                  <a:pt x="1780" y="474"/>
                  <a:pt x="1777" y="461"/>
                  <a:pt x="1778" y="454"/>
                </a:cubicBezTo>
                <a:cubicBezTo>
                  <a:pt x="1778" y="451"/>
                  <a:pt x="1778" y="449"/>
                  <a:pt x="1778" y="447"/>
                </a:cubicBezTo>
                <a:cubicBezTo>
                  <a:pt x="1778" y="447"/>
                  <a:pt x="1779" y="448"/>
                  <a:pt x="1779" y="448"/>
                </a:cubicBezTo>
                <a:cubicBezTo>
                  <a:pt x="1781" y="448"/>
                  <a:pt x="1783" y="449"/>
                  <a:pt x="1786" y="449"/>
                </a:cubicBezTo>
                <a:cubicBezTo>
                  <a:pt x="1790" y="449"/>
                  <a:pt x="1794" y="447"/>
                  <a:pt x="1797" y="444"/>
                </a:cubicBezTo>
                <a:cubicBezTo>
                  <a:pt x="1799" y="441"/>
                  <a:pt x="1800" y="437"/>
                  <a:pt x="1800" y="433"/>
                </a:cubicBezTo>
                <a:cubicBezTo>
                  <a:pt x="1800" y="432"/>
                  <a:pt x="1800" y="431"/>
                  <a:pt x="1800" y="431"/>
                </a:cubicBezTo>
                <a:cubicBezTo>
                  <a:pt x="1799" y="424"/>
                  <a:pt x="1797" y="419"/>
                  <a:pt x="1797" y="416"/>
                </a:cubicBezTo>
                <a:cubicBezTo>
                  <a:pt x="1797" y="415"/>
                  <a:pt x="1798" y="415"/>
                  <a:pt x="1798" y="415"/>
                </a:cubicBezTo>
                <a:cubicBezTo>
                  <a:pt x="1798" y="415"/>
                  <a:pt x="1799" y="414"/>
                  <a:pt x="1801" y="414"/>
                </a:cubicBezTo>
                <a:cubicBezTo>
                  <a:pt x="1810" y="412"/>
                  <a:pt x="1817" y="408"/>
                  <a:pt x="1822" y="405"/>
                </a:cubicBezTo>
                <a:cubicBezTo>
                  <a:pt x="1827" y="401"/>
                  <a:pt x="1830" y="399"/>
                  <a:pt x="1832" y="399"/>
                </a:cubicBezTo>
                <a:cubicBezTo>
                  <a:pt x="1837" y="399"/>
                  <a:pt x="1850" y="401"/>
                  <a:pt x="1860" y="401"/>
                </a:cubicBezTo>
                <a:cubicBezTo>
                  <a:pt x="1863" y="401"/>
                  <a:pt x="1865" y="401"/>
                  <a:pt x="1867" y="401"/>
                </a:cubicBezTo>
                <a:cubicBezTo>
                  <a:pt x="1869" y="400"/>
                  <a:pt x="1872" y="400"/>
                  <a:pt x="1874" y="397"/>
                </a:cubicBezTo>
                <a:cubicBezTo>
                  <a:pt x="1876" y="394"/>
                  <a:pt x="1879" y="388"/>
                  <a:pt x="1883" y="382"/>
                </a:cubicBezTo>
                <a:cubicBezTo>
                  <a:pt x="1885" y="379"/>
                  <a:pt x="1888" y="377"/>
                  <a:pt x="1889" y="375"/>
                </a:cubicBezTo>
                <a:cubicBezTo>
                  <a:pt x="1890" y="374"/>
                  <a:pt x="1891" y="373"/>
                  <a:pt x="1892" y="373"/>
                </a:cubicBezTo>
                <a:cubicBezTo>
                  <a:pt x="1892" y="373"/>
                  <a:pt x="1892" y="373"/>
                  <a:pt x="1892" y="373"/>
                </a:cubicBezTo>
                <a:cubicBezTo>
                  <a:pt x="1892" y="373"/>
                  <a:pt x="1892" y="373"/>
                  <a:pt x="1892" y="373"/>
                </a:cubicBezTo>
                <a:cubicBezTo>
                  <a:pt x="1900" y="372"/>
                  <a:pt x="1920" y="370"/>
                  <a:pt x="1939" y="366"/>
                </a:cubicBezTo>
                <a:cubicBezTo>
                  <a:pt x="1949" y="364"/>
                  <a:pt x="1958" y="359"/>
                  <a:pt x="1966" y="355"/>
                </a:cubicBezTo>
                <a:cubicBezTo>
                  <a:pt x="1973" y="352"/>
                  <a:pt x="1980" y="348"/>
                  <a:pt x="1981" y="348"/>
                </a:cubicBezTo>
                <a:cubicBezTo>
                  <a:pt x="1981" y="348"/>
                  <a:pt x="1981" y="348"/>
                  <a:pt x="1981" y="348"/>
                </a:cubicBezTo>
                <a:cubicBezTo>
                  <a:pt x="1984" y="348"/>
                  <a:pt x="1986" y="349"/>
                  <a:pt x="1989" y="349"/>
                </a:cubicBezTo>
                <a:cubicBezTo>
                  <a:pt x="1992" y="349"/>
                  <a:pt x="1995" y="350"/>
                  <a:pt x="1998" y="349"/>
                </a:cubicBezTo>
                <a:cubicBezTo>
                  <a:pt x="1999" y="349"/>
                  <a:pt x="2001" y="348"/>
                  <a:pt x="2002" y="347"/>
                </a:cubicBezTo>
                <a:cubicBezTo>
                  <a:pt x="2004" y="346"/>
                  <a:pt x="2006" y="344"/>
                  <a:pt x="2006" y="341"/>
                </a:cubicBezTo>
                <a:cubicBezTo>
                  <a:pt x="2006" y="339"/>
                  <a:pt x="2005" y="337"/>
                  <a:pt x="2004" y="336"/>
                </a:cubicBezTo>
                <a:cubicBezTo>
                  <a:pt x="2006" y="336"/>
                  <a:pt x="2007" y="337"/>
                  <a:pt x="2008" y="337"/>
                </a:cubicBezTo>
                <a:cubicBezTo>
                  <a:pt x="2010" y="337"/>
                  <a:pt x="2012" y="336"/>
                  <a:pt x="2014" y="336"/>
                </a:cubicBezTo>
                <a:cubicBezTo>
                  <a:pt x="2026" y="333"/>
                  <a:pt x="2030" y="323"/>
                  <a:pt x="2030" y="316"/>
                </a:cubicBezTo>
                <a:cubicBezTo>
                  <a:pt x="2030" y="312"/>
                  <a:pt x="2029" y="308"/>
                  <a:pt x="2027" y="305"/>
                </a:cubicBezTo>
                <a:cubicBezTo>
                  <a:pt x="2025" y="304"/>
                  <a:pt x="2023" y="294"/>
                  <a:pt x="2020" y="287"/>
                </a:cubicBezTo>
                <a:cubicBezTo>
                  <a:pt x="2019" y="286"/>
                  <a:pt x="2019" y="285"/>
                  <a:pt x="2019" y="284"/>
                </a:cubicBezTo>
                <a:cubicBezTo>
                  <a:pt x="2019" y="283"/>
                  <a:pt x="2019" y="282"/>
                  <a:pt x="2020" y="281"/>
                </a:cubicBezTo>
                <a:cubicBezTo>
                  <a:pt x="2021" y="281"/>
                  <a:pt x="2023" y="279"/>
                  <a:pt x="2028" y="279"/>
                </a:cubicBezTo>
                <a:close/>
                <a:moveTo>
                  <a:pt x="1640" y="304"/>
                </a:moveTo>
                <a:cubicBezTo>
                  <a:pt x="1639" y="304"/>
                  <a:pt x="1637" y="304"/>
                  <a:pt x="1636" y="304"/>
                </a:cubicBezTo>
                <a:cubicBezTo>
                  <a:pt x="1634" y="304"/>
                  <a:pt x="1633" y="304"/>
                  <a:pt x="1631" y="304"/>
                </a:cubicBezTo>
                <a:cubicBezTo>
                  <a:pt x="1632" y="303"/>
                  <a:pt x="1633" y="302"/>
                  <a:pt x="1633" y="302"/>
                </a:cubicBezTo>
                <a:cubicBezTo>
                  <a:pt x="1633" y="301"/>
                  <a:pt x="1634" y="301"/>
                  <a:pt x="1635" y="301"/>
                </a:cubicBezTo>
                <a:cubicBezTo>
                  <a:pt x="1637" y="301"/>
                  <a:pt x="1642" y="304"/>
                  <a:pt x="1645" y="304"/>
                </a:cubicBezTo>
                <a:cubicBezTo>
                  <a:pt x="1642" y="304"/>
                  <a:pt x="1641" y="304"/>
                  <a:pt x="1640" y="304"/>
                </a:cubicBezTo>
                <a:close/>
                <a:moveTo>
                  <a:pt x="1660" y="330"/>
                </a:moveTo>
                <a:cubicBezTo>
                  <a:pt x="1660" y="332"/>
                  <a:pt x="1660" y="335"/>
                  <a:pt x="1659" y="336"/>
                </a:cubicBezTo>
                <a:cubicBezTo>
                  <a:pt x="1658" y="336"/>
                  <a:pt x="1657" y="336"/>
                  <a:pt x="1657" y="335"/>
                </a:cubicBezTo>
                <a:cubicBezTo>
                  <a:pt x="1658" y="333"/>
                  <a:pt x="1658" y="329"/>
                  <a:pt x="1659" y="326"/>
                </a:cubicBezTo>
                <a:cubicBezTo>
                  <a:pt x="1660" y="328"/>
                  <a:pt x="1660" y="330"/>
                  <a:pt x="1660" y="330"/>
                </a:cubicBezTo>
                <a:close/>
                <a:moveTo>
                  <a:pt x="1978" y="315"/>
                </a:moveTo>
                <a:cubicBezTo>
                  <a:pt x="1978" y="313"/>
                  <a:pt x="1979" y="310"/>
                  <a:pt x="1980" y="308"/>
                </a:cubicBezTo>
                <a:cubicBezTo>
                  <a:pt x="1980" y="308"/>
                  <a:pt x="1980" y="307"/>
                  <a:pt x="1981" y="307"/>
                </a:cubicBezTo>
                <a:cubicBezTo>
                  <a:pt x="1982" y="307"/>
                  <a:pt x="1984" y="308"/>
                  <a:pt x="1985" y="308"/>
                </a:cubicBezTo>
                <a:cubicBezTo>
                  <a:pt x="1988" y="310"/>
                  <a:pt x="1989" y="311"/>
                  <a:pt x="1989" y="312"/>
                </a:cubicBezTo>
                <a:cubicBezTo>
                  <a:pt x="1989" y="312"/>
                  <a:pt x="1989" y="312"/>
                  <a:pt x="1989" y="312"/>
                </a:cubicBezTo>
                <a:cubicBezTo>
                  <a:pt x="1989" y="313"/>
                  <a:pt x="1989" y="313"/>
                  <a:pt x="1989" y="314"/>
                </a:cubicBezTo>
                <a:cubicBezTo>
                  <a:pt x="1989" y="316"/>
                  <a:pt x="1989" y="317"/>
                  <a:pt x="1989" y="319"/>
                </a:cubicBezTo>
                <a:cubicBezTo>
                  <a:pt x="1986" y="317"/>
                  <a:pt x="1982" y="315"/>
                  <a:pt x="1978" y="315"/>
                </a:cubicBezTo>
                <a:close/>
                <a:moveTo>
                  <a:pt x="2143" y="431"/>
                </a:moveTo>
                <a:cubicBezTo>
                  <a:pt x="2144" y="430"/>
                  <a:pt x="2149" y="428"/>
                  <a:pt x="2153" y="428"/>
                </a:cubicBezTo>
                <a:cubicBezTo>
                  <a:pt x="2158" y="427"/>
                  <a:pt x="2162" y="427"/>
                  <a:pt x="2162" y="427"/>
                </a:cubicBezTo>
                <a:cubicBezTo>
                  <a:pt x="2164" y="427"/>
                  <a:pt x="2165" y="426"/>
                  <a:pt x="2166" y="425"/>
                </a:cubicBezTo>
                <a:cubicBezTo>
                  <a:pt x="2166" y="425"/>
                  <a:pt x="2169" y="422"/>
                  <a:pt x="2173" y="418"/>
                </a:cubicBezTo>
                <a:cubicBezTo>
                  <a:pt x="2176" y="414"/>
                  <a:pt x="2180" y="409"/>
                  <a:pt x="2180" y="402"/>
                </a:cubicBezTo>
                <a:cubicBezTo>
                  <a:pt x="2180" y="400"/>
                  <a:pt x="2179" y="397"/>
                  <a:pt x="2177" y="395"/>
                </a:cubicBezTo>
                <a:cubicBezTo>
                  <a:pt x="2177" y="395"/>
                  <a:pt x="2177" y="395"/>
                  <a:pt x="2177" y="395"/>
                </a:cubicBezTo>
                <a:cubicBezTo>
                  <a:pt x="2177" y="395"/>
                  <a:pt x="2177" y="395"/>
                  <a:pt x="2177" y="395"/>
                </a:cubicBezTo>
                <a:cubicBezTo>
                  <a:pt x="2169" y="386"/>
                  <a:pt x="2154" y="382"/>
                  <a:pt x="2146" y="381"/>
                </a:cubicBezTo>
                <a:cubicBezTo>
                  <a:pt x="2145" y="381"/>
                  <a:pt x="2144" y="381"/>
                  <a:pt x="2144" y="381"/>
                </a:cubicBezTo>
                <a:cubicBezTo>
                  <a:pt x="2133" y="381"/>
                  <a:pt x="2129" y="387"/>
                  <a:pt x="2116" y="387"/>
                </a:cubicBezTo>
                <a:cubicBezTo>
                  <a:pt x="2104" y="387"/>
                  <a:pt x="2096" y="391"/>
                  <a:pt x="2092" y="391"/>
                </a:cubicBezTo>
                <a:cubicBezTo>
                  <a:pt x="2090" y="390"/>
                  <a:pt x="2090" y="390"/>
                  <a:pt x="2089" y="389"/>
                </a:cubicBezTo>
                <a:cubicBezTo>
                  <a:pt x="2082" y="381"/>
                  <a:pt x="2068" y="379"/>
                  <a:pt x="2058" y="379"/>
                </a:cubicBezTo>
                <a:cubicBezTo>
                  <a:pt x="2056" y="379"/>
                  <a:pt x="2054" y="379"/>
                  <a:pt x="2052" y="379"/>
                </a:cubicBezTo>
                <a:cubicBezTo>
                  <a:pt x="2050" y="380"/>
                  <a:pt x="2047" y="381"/>
                  <a:pt x="2045" y="384"/>
                </a:cubicBezTo>
                <a:cubicBezTo>
                  <a:pt x="2045" y="385"/>
                  <a:pt x="2044" y="386"/>
                  <a:pt x="2042" y="388"/>
                </a:cubicBezTo>
                <a:cubicBezTo>
                  <a:pt x="2041" y="390"/>
                  <a:pt x="2039" y="393"/>
                  <a:pt x="2039" y="397"/>
                </a:cubicBezTo>
                <a:cubicBezTo>
                  <a:pt x="2039" y="401"/>
                  <a:pt x="2040" y="404"/>
                  <a:pt x="2042" y="409"/>
                </a:cubicBezTo>
                <a:cubicBezTo>
                  <a:pt x="2045" y="415"/>
                  <a:pt x="2048" y="420"/>
                  <a:pt x="2051" y="424"/>
                </a:cubicBezTo>
                <a:cubicBezTo>
                  <a:pt x="2054" y="428"/>
                  <a:pt x="2057" y="431"/>
                  <a:pt x="2063" y="432"/>
                </a:cubicBezTo>
                <a:cubicBezTo>
                  <a:pt x="2063" y="432"/>
                  <a:pt x="2064" y="432"/>
                  <a:pt x="2065" y="431"/>
                </a:cubicBezTo>
                <a:cubicBezTo>
                  <a:pt x="2066" y="431"/>
                  <a:pt x="2069" y="431"/>
                  <a:pt x="2072" y="431"/>
                </a:cubicBezTo>
                <a:cubicBezTo>
                  <a:pt x="2076" y="431"/>
                  <a:pt x="2079" y="431"/>
                  <a:pt x="2082" y="432"/>
                </a:cubicBezTo>
                <a:cubicBezTo>
                  <a:pt x="2083" y="432"/>
                  <a:pt x="2084" y="433"/>
                  <a:pt x="2084" y="433"/>
                </a:cubicBezTo>
                <a:cubicBezTo>
                  <a:pt x="2084" y="433"/>
                  <a:pt x="2084" y="433"/>
                  <a:pt x="2084" y="433"/>
                </a:cubicBezTo>
                <a:cubicBezTo>
                  <a:pt x="2086" y="440"/>
                  <a:pt x="2092" y="448"/>
                  <a:pt x="2103" y="448"/>
                </a:cubicBezTo>
                <a:cubicBezTo>
                  <a:pt x="2103" y="448"/>
                  <a:pt x="2103" y="448"/>
                  <a:pt x="2103" y="448"/>
                </a:cubicBezTo>
                <a:cubicBezTo>
                  <a:pt x="2106" y="448"/>
                  <a:pt x="2110" y="447"/>
                  <a:pt x="2113" y="446"/>
                </a:cubicBezTo>
                <a:cubicBezTo>
                  <a:pt x="2120" y="444"/>
                  <a:pt x="2126" y="442"/>
                  <a:pt x="2131" y="440"/>
                </a:cubicBezTo>
                <a:cubicBezTo>
                  <a:pt x="2136" y="438"/>
                  <a:pt x="2140" y="435"/>
                  <a:pt x="2143" y="431"/>
                </a:cubicBezTo>
                <a:close/>
                <a:moveTo>
                  <a:pt x="3068" y="1676"/>
                </a:moveTo>
                <a:cubicBezTo>
                  <a:pt x="3066" y="1668"/>
                  <a:pt x="3063" y="1661"/>
                  <a:pt x="3055" y="1658"/>
                </a:cubicBezTo>
                <a:cubicBezTo>
                  <a:pt x="3053" y="1664"/>
                  <a:pt x="3053" y="1664"/>
                  <a:pt x="3053" y="1664"/>
                </a:cubicBezTo>
                <a:cubicBezTo>
                  <a:pt x="3055" y="1658"/>
                  <a:pt x="3055" y="1658"/>
                  <a:pt x="3055" y="1658"/>
                </a:cubicBezTo>
                <a:cubicBezTo>
                  <a:pt x="3053" y="1657"/>
                  <a:pt x="3051" y="1657"/>
                  <a:pt x="3049" y="1657"/>
                </a:cubicBezTo>
                <a:cubicBezTo>
                  <a:pt x="3045" y="1657"/>
                  <a:pt x="3041" y="1659"/>
                  <a:pt x="3038" y="1662"/>
                </a:cubicBezTo>
                <a:cubicBezTo>
                  <a:pt x="3031" y="1671"/>
                  <a:pt x="3028" y="1684"/>
                  <a:pt x="3021" y="1693"/>
                </a:cubicBezTo>
                <a:cubicBezTo>
                  <a:pt x="3015" y="1700"/>
                  <a:pt x="3010" y="1707"/>
                  <a:pt x="3005" y="1711"/>
                </a:cubicBezTo>
                <a:cubicBezTo>
                  <a:pt x="3003" y="1713"/>
                  <a:pt x="3001" y="1715"/>
                  <a:pt x="2999" y="1716"/>
                </a:cubicBezTo>
                <a:cubicBezTo>
                  <a:pt x="2998" y="1717"/>
                  <a:pt x="2998" y="1717"/>
                  <a:pt x="2997" y="1717"/>
                </a:cubicBezTo>
                <a:cubicBezTo>
                  <a:pt x="2997" y="1717"/>
                  <a:pt x="2996" y="1717"/>
                  <a:pt x="2996" y="1717"/>
                </a:cubicBezTo>
                <a:cubicBezTo>
                  <a:pt x="2991" y="1717"/>
                  <a:pt x="2985" y="1720"/>
                  <a:pt x="2979" y="1724"/>
                </a:cubicBezTo>
                <a:cubicBezTo>
                  <a:pt x="2973" y="1728"/>
                  <a:pt x="2967" y="1736"/>
                  <a:pt x="2967" y="1746"/>
                </a:cubicBezTo>
                <a:cubicBezTo>
                  <a:pt x="2967" y="1749"/>
                  <a:pt x="2968" y="1752"/>
                  <a:pt x="2969" y="1756"/>
                </a:cubicBezTo>
                <a:cubicBezTo>
                  <a:pt x="2973" y="1765"/>
                  <a:pt x="2974" y="1773"/>
                  <a:pt x="2974" y="1781"/>
                </a:cubicBezTo>
                <a:cubicBezTo>
                  <a:pt x="2974" y="1790"/>
                  <a:pt x="2972" y="1797"/>
                  <a:pt x="2969" y="1801"/>
                </a:cubicBezTo>
                <a:cubicBezTo>
                  <a:pt x="2966" y="1804"/>
                  <a:pt x="2965" y="1809"/>
                  <a:pt x="2965" y="1813"/>
                </a:cubicBezTo>
                <a:cubicBezTo>
                  <a:pt x="2966" y="1826"/>
                  <a:pt x="2973" y="1843"/>
                  <a:pt x="2973" y="1853"/>
                </a:cubicBezTo>
                <a:cubicBezTo>
                  <a:pt x="2973" y="1854"/>
                  <a:pt x="2972" y="1855"/>
                  <a:pt x="2972" y="1856"/>
                </a:cubicBezTo>
                <a:cubicBezTo>
                  <a:pt x="2972" y="1858"/>
                  <a:pt x="2972" y="1861"/>
                  <a:pt x="2972" y="1863"/>
                </a:cubicBezTo>
                <a:cubicBezTo>
                  <a:pt x="2972" y="1870"/>
                  <a:pt x="2974" y="1876"/>
                  <a:pt x="2978" y="1881"/>
                </a:cubicBezTo>
                <a:cubicBezTo>
                  <a:pt x="2983" y="1886"/>
                  <a:pt x="2990" y="1888"/>
                  <a:pt x="2998" y="1888"/>
                </a:cubicBezTo>
                <a:cubicBezTo>
                  <a:pt x="2998" y="1888"/>
                  <a:pt x="2998" y="1888"/>
                  <a:pt x="2998" y="1888"/>
                </a:cubicBezTo>
                <a:cubicBezTo>
                  <a:pt x="3007" y="1888"/>
                  <a:pt x="3014" y="1886"/>
                  <a:pt x="3020" y="1881"/>
                </a:cubicBezTo>
                <a:cubicBezTo>
                  <a:pt x="3025" y="1875"/>
                  <a:pt x="3029" y="1868"/>
                  <a:pt x="3032" y="1859"/>
                </a:cubicBezTo>
                <a:cubicBezTo>
                  <a:pt x="3040" y="1840"/>
                  <a:pt x="3041" y="1822"/>
                  <a:pt x="3047" y="1808"/>
                </a:cubicBezTo>
                <a:cubicBezTo>
                  <a:pt x="3051" y="1800"/>
                  <a:pt x="3054" y="1788"/>
                  <a:pt x="3057" y="1777"/>
                </a:cubicBezTo>
                <a:cubicBezTo>
                  <a:pt x="3060" y="1766"/>
                  <a:pt x="3062" y="1756"/>
                  <a:pt x="3063" y="1753"/>
                </a:cubicBezTo>
                <a:cubicBezTo>
                  <a:pt x="3067" y="1744"/>
                  <a:pt x="3073" y="1722"/>
                  <a:pt x="3073" y="1705"/>
                </a:cubicBezTo>
                <a:cubicBezTo>
                  <a:pt x="3073" y="1703"/>
                  <a:pt x="3073" y="1702"/>
                  <a:pt x="3073" y="1701"/>
                </a:cubicBezTo>
                <a:cubicBezTo>
                  <a:pt x="3072" y="1693"/>
                  <a:pt x="3071" y="1684"/>
                  <a:pt x="3068" y="1676"/>
                </a:cubicBezTo>
                <a:close/>
                <a:moveTo>
                  <a:pt x="4007" y="1637"/>
                </a:moveTo>
                <a:cubicBezTo>
                  <a:pt x="4007" y="1637"/>
                  <a:pt x="4008" y="1637"/>
                  <a:pt x="4008" y="1637"/>
                </a:cubicBezTo>
                <a:cubicBezTo>
                  <a:pt x="4014" y="1637"/>
                  <a:pt x="4021" y="1631"/>
                  <a:pt x="4021" y="1623"/>
                </a:cubicBezTo>
                <a:cubicBezTo>
                  <a:pt x="4021" y="1622"/>
                  <a:pt x="4021" y="1622"/>
                  <a:pt x="4021" y="1621"/>
                </a:cubicBezTo>
                <a:cubicBezTo>
                  <a:pt x="4021" y="1616"/>
                  <a:pt x="4019" y="1612"/>
                  <a:pt x="4016" y="1609"/>
                </a:cubicBezTo>
                <a:cubicBezTo>
                  <a:pt x="4013" y="1606"/>
                  <a:pt x="4010" y="1605"/>
                  <a:pt x="4006" y="1605"/>
                </a:cubicBezTo>
                <a:cubicBezTo>
                  <a:pt x="3999" y="1605"/>
                  <a:pt x="3992" y="1609"/>
                  <a:pt x="3991" y="1617"/>
                </a:cubicBezTo>
                <a:cubicBezTo>
                  <a:pt x="3991" y="1617"/>
                  <a:pt x="3991" y="1617"/>
                  <a:pt x="3991" y="1617"/>
                </a:cubicBezTo>
                <a:cubicBezTo>
                  <a:pt x="3991" y="1618"/>
                  <a:pt x="3990" y="1619"/>
                  <a:pt x="3990" y="1621"/>
                </a:cubicBezTo>
                <a:cubicBezTo>
                  <a:pt x="3991" y="1631"/>
                  <a:pt x="3999" y="1637"/>
                  <a:pt x="4007" y="1637"/>
                </a:cubicBezTo>
                <a:close/>
                <a:moveTo>
                  <a:pt x="1369" y="1135"/>
                </a:moveTo>
                <a:cubicBezTo>
                  <a:pt x="1368" y="1129"/>
                  <a:pt x="1365" y="1124"/>
                  <a:pt x="1360" y="1119"/>
                </a:cubicBezTo>
                <a:cubicBezTo>
                  <a:pt x="1355" y="1115"/>
                  <a:pt x="1350" y="1111"/>
                  <a:pt x="1343" y="1111"/>
                </a:cubicBezTo>
                <a:cubicBezTo>
                  <a:pt x="1342" y="1111"/>
                  <a:pt x="1342" y="1112"/>
                  <a:pt x="1341" y="1112"/>
                </a:cubicBezTo>
                <a:cubicBezTo>
                  <a:pt x="1341" y="1112"/>
                  <a:pt x="1341" y="1112"/>
                  <a:pt x="1341" y="1112"/>
                </a:cubicBezTo>
                <a:cubicBezTo>
                  <a:pt x="1339" y="1112"/>
                  <a:pt x="1333" y="1109"/>
                  <a:pt x="1327" y="1106"/>
                </a:cubicBezTo>
                <a:cubicBezTo>
                  <a:pt x="1322" y="1102"/>
                  <a:pt x="1316" y="1097"/>
                  <a:pt x="1312" y="1093"/>
                </a:cubicBezTo>
                <a:cubicBezTo>
                  <a:pt x="1300" y="1081"/>
                  <a:pt x="1281" y="1082"/>
                  <a:pt x="1274" y="1082"/>
                </a:cubicBezTo>
                <a:cubicBezTo>
                  <a:pt x="1269" y="1082"/>
                  <a:pt x="1261" y="1084"/>
                  <a:pt x="1253" y="1087"/>
                </a:cubicBezTo>
                <a:cubicBezTo>
                  <a:pt x="1245" y="1089"/>
                  <a:pt x="1238" y="1092"/>
                  <a:pt x="1238" y="1092"/>
                </a:cubicBezTo>
                <a:cubicBezTo>
                  <a:pt x="1235" y="1092"/>
                  <a:pt x="1234" y="1094"/>
                  <a:pt x="1234" y="1097"/>
                </a:cubicBezTo>
                <a:cubicBezTo>
                  <a:pt x="1233" y="1098"/>
                  <a:pt x="1233" y="1098"/>
                  <a:pt x="1233" y="1099"/>
                </a:cubicBezTo>
                <a:cubicBezTo>
                  <a:pt x="1233" y="1104"/>
                  <a:pt x="1235" y="1108"/>
                  <a:pt x="1239" y="1111"/>
                </a:cubicBezTo>
                <a:cubicBezTo>
                  <a:pt x="1243" y="1113"/>
                  <a:pt x="1246" y="1113"/>
                  <a:pt x="1250" y="1114"/>
                </a:cubicBezTo>
                <a:cubicBezTo>
                  <a:pt x="1254" y="1114"/>
                  <a:pt x="1259" y="1113"/>
                  <a:pt x="1264" y="1113"/>
                </a:cubicBezTo>
                <a:cubicBezTo>
                  <a:pt x="1270" y="1113"/>
                  <a:pt x="1278" y="1112"/>
                  <a:pt x="1286" y="1112"/>
                </a:cubicBezTo>
                <a:cubicBezTo>
                  <a:pt x="1290" y="1112"/>
                  <a:pt x="1294" y="1113"/>
                  <a:pt x="1298" y="1113"/>
                </a:cubicBezTo>
                <a:cubicBezTo>
                  <a:pt x="1299" y="1113"/>
                  <a:pt x="1300" y="1114"/>
                  <a:pt x="1301" y="1114"/>
                </a:cubicBezTo>
                <a:cubicBezTo>
                  <a:pt x="1301" y="1114"/>
                  <a:pt x="1301" y="1114"/>
                  <a:pt x="1301" y="1114"/>
                </a:cubicBezTo>
                <a:cubicBezTo>
                  <a:pt x="1301" y="1114"/>
                  <a:pt x="1301" y="1114"/>
                  <a:pt x="1301" y="1114"/>
                </a:cubicBezTo>
                <a:cubicBezTo>
                  <a:pt x="1301" y="1114"/>
                  <a:pt x="1301" y="1114"/>
                  <a:pt x="1301" y="1114"/>
                </a:cubicBezTo>
                <a:cubicBezTo>
                  <a:pt x="1305" y="1120"/>
                  <a:pt x="1312" y="1124"/>
                  <a:pt x="1318" y="1128"/>
                </a:cubicBezTo>
                <a:cubicBezTo>
                  <a:pt x="1325" y="1133"/>
                  <a:pt x="1331" y="1137"/>
                  <a:pt x="1333" y="1139"/>
                </a:cubicBezTo>
                <a:cubicBezTo>
                  <a:pt x="1339" y="1144"/>
                  <a:pt x="1347" y="1145"/>
                  <a:pt x="1354" y="1145"/>
                </a:cubicBezTo>
                <a:cubicBezTo>
                  <a:pt x="1357" y="1145"/>
                  <a:pt x="1359" y="1145"/>
                  <a:pt x="1362" y="1144"/>
                </a:cubicBezTo>
                <a:cubicBezTo>
                  <a:pt x="1364" y="1143"/>
                  <a:pt x="1368" y="1141"/>
                  <a:pt x="1369" y="1137"/>
                </a:cubicBezTo>
                <a:cubicBezTo>
                  <a:pt x="1363" y="1136"/>
                  <a:pt x="1363" y="1136"/>
                  <a:pt x="1363" y="1136"/>
                </a:cubicBezTo>
                <a:cubicBezTo>
                  <a:pt x="1369" y="1137"/>
                  <a:pt x="1369" y="1137"/>
                  <a:pt x="1369" y="1137"/>
                </a:cubicBezTo>
                <a:cubicBezTo>
                  <a:pt x="1369" y="1136"/>
                  <a:pt x="1369" y="1136"/>
                  <a:pt x="1369" y="1135"/>
                </a:cubicBezTo>
                <a:close/>
                <a:moveTo>
                  <a:pt x="1328" y="1167"/>
                </a:moveTo>
                <a:cubicBezTo>
                  <a:pt x="1328" y="1167"/>
                  <a:pt x="1328" y="1167"/>
                  <a:pt x="1328" y="1167"/>
                </a:cubicBezTo>
                <a:cubicBezTo>
                  <a:pt x="1319" y="1169"/>
                  <a:pt x="1317" y="1178"/>
                  <a:pt x="1317" y="1184"/>
                </a:cubicBezTo>
                <a:cubicBezTo>
                  <a:pt x="1317" y="1188"/>
                  <a:pt x="1318" y="1191"/>
                  <a:pt x="1320" y="1194"/>
                </a:cubicBezTo>
                <a:cubicBezTo>
                  <a:pt x="1322" y="1198"/>
                  <a:pt x="1326" y="1200"/>
                  <a:pt x="1331" y="1200"/>
                </a:cubicBezTo>
                <a:cubicBezTo>
                  <a:pt x="1331" y="1200"/>
                  <a:pt x="1331" y="1200"/>
                  <a:pt x="1331" y="1200"/>
                </a:cubicBezTo>
                <a:cubicBezTo>
                  <a:pt x="1333" y="1200"/>
                  <a:pt x="1334" y="1201"/>
                  <a:pt x="1336" y="1200"/>
                </a:cubicBezTo>
                <a:cubicBezTo>
                  <a:pt x="1343" y="1198"/>
                  <a:pt x="1347" y="1191"/>
                  <a:pt x="1347" y="1185"/>
                </a:cubicBezTo>
                <a:cubicBezTo>
                  <a:pt x="1347" y="1176"/>
                  <a:pt x="1342" y="1167"/>
                  <a:pt x="1331" y="1166"/>
                </a:cubicBezTo>
                <a:cubicBezTo>
                  <a:pt x="1330" y="1166"/>
                  <a:pt x="1329" y="1167"/>
                  <a:pt x="1328" y="1167"/>
                </a:cubicBezTo>
                <a:close/>
                <a:moveTo>
                  <a:pt x="1341" y="1066"/>
                </a:moveTo>
                <a:cubicBezTo>
                  <a:pt x="1341" y="1058"/>
                  <a:pt x="1334" y="1053"/>
                  <a:pt x="1325" y="1053"/>
                </a:cubicBezTo>
                <a:cubicBezTo>
                  <a:pt x="1324" y="1053"/>
                  <a:pt x="1324" y="1053"/>
                  <a:pt x="1323" y="1053"/>
                </a:cubicBezTo>
                <a:cubicBezTo>
                  <a:pt x="1316" y="1053"/>
                  <a:pt x="1311" y="1060"/>
                  <a:pt x="1311" y="1065"/>
                </a:cubicBezTo>
                <a:cubicBezTo>
                  <a:pt x="1311" y="1069"/>
                  <a:pt x="1312" y="1073"/>
                  <a:pt x="1315" y="1075"/>
                </a:cubicBezTo>
                <a:cubicBezTo>
                  <a:pt x="1317" y="1078"/>
                  <a:pt x="1321" y="1080"/>
                  <a:pt x="1325" y="1080"/>
                </a:cubicBezTo>
                <a:cubicBezTo>
                  <a:pt x="1325" y="1080"/>
                  <a:pt x="1325" y="1080"/>
                  <a:pt x="1325" y="1080"/>
                </a:cubicBezTo>
                <a:cubicBezTo>
                  <a:pt x="1327" y="1080"/>
                  <a:pt x="1328" y="1079"/>
                  <a:pt x="1329" y="1079"/>
                </a:cubicBezTo>
                <a:cubicBezTo>
                  <a:pt x="1328" y="1073"/>
                  <a:pt x="1328" y="1073"/>
                  <a:pt x="1328" y="1073"/>
                </a:cubicBezTo>
                <a:cubicBezTo>
                  <a:pt x="1329" y="1079"/>
                  <a:pt x="1329" y="1079"/>
                  <a:pt x="1329" y="1079"/>
                </a:cubicBezTo>
                <a:cubicBezTo>
                  <a:pt x="1336" y="1077"/>
                  <a:pt x="1341" y="1072"/>
                  <a:pt x="1341" y="1066"/>
                </a:cubicBezTo>
                <a:close/>
                <a:moveTo>
                  <a:pt x="3938" y="1610"/>
                </a:moveTo>
                <a:cubicBezTo>
                  <a:pt x="3940" y="1609"/>
                  <a:pt x="3943" y="1606"/>
                  <a:pt x="3943" y="1603"/>
                </a:cubicBezTo>
                <a:cubicBezTo>
                  <a:pt x="3937" y="1602"/>
                  <a:pt x="3937" y="1602"/>
                  <a:pt x="3937" y="1602"/>
                </a:cubicBezTo>
                <a:cubicBezTo>
                  <a:pt x="3943" y="1603"/>
                  <a:pt x="3943" y="1603"/>
                  <a:pt x="3943" y="1603"/>
                </a:cubicBezTo>
                <a:cubicBezTo>
                  <a:pt x="3943" y="1602"/>
                  <a:pt x="3943" y="1601"/>
                  <a:pt x="3943" y="1601"/>
                </a:cubicBezTo>
                <a:cubicBezTo>
                  <a:pt x="3943" y="1594"/>
                  <a:pt x="3938" y="1588"/>
                  <a:pt x="3934" y="1584"/>
                </a:cubicBezTo>
                <a:cubicBezTo>
                  <a:pt x="3929" y="1579"/>
                  <a:pt x="3925" y="1575"/>
                  <a:pt x="3919" y="1575"/>
                </a:cubicBezTo>
                <a:cubicBezTo>
                  <a:pt x="3917" y="1575"/>
                  <a:pt x="3908" y="1573"/>
                  <a:pt x="3901" y="1571"/>
                </a:cubicBezTo>
                <a:cubicBezTo>
                  <a:pt x="3893" y="1569"/>
                  <a:pt x="3886" y="1567"/>
                  <a:pt x="3886" y="1567"/>
                </a:cubicBezTo>
                <a:cubicBezTo>
                  <a:pt x="3884" y="1567"/>
                  <a:pt x="3883" y="1567"/>
                  <a:pt x="3881" y="1567"/>
                </a:cubicBezTo>
                <a:cubicBezTo>
                  <a:pt x="3878" y="1569"/>
                  <a:pt x="3874" y="1570"/>
                  <a:pt x="3870" y="1573"/>
                </a:cubicBezTo>
                <a:cubicBezTo>
                  <a:pt x="3870" y="1573"/>
                  <a:pt x="3869" y="1572"/>
                  <a:pt x="3869" y="1572"/>
                </a:cubicBezTo>
                <a:cubicBezTo>
                  <a:pt x="3861" y="1567"/>
                  <a:pt x="3852" y="1567"/>
                  <a:pt x="3847" y="1566"/>
                </a:cubicBezTo>
                <a:cubicBezTo>
                  <a:pt x="3844" y="1566"/>
                  <a:pt x="3842" y="1566"/>
                  <a:pt x="3841" y="1566"/>
                </a:cubicBezTo>
                <a:cubicBezTo>
                  <a:pt x="3840" y="1565"/>
                  <a:pt x="3840" y="1565"/>
                  <a:pt x="3839" y="1564"/>
                </a:cubicBezTo>
                <a:cubicBezTo>
                  <a:pt x="3836" y="1557"/>
                  <a:pt x="3831" y="1551"/>
                  <a:pt x="3824" y="1551"/>
                </a:cubicBezTo>
                <a:cubicBezTo>
                  <a:pt x="3823" y="1551"/>
                  <a:pt x="3822" y="1551"/>
                  <a:pt x="3821" y="1552"/>
                </a:cubicBezTo>
                <a:cubicBezTo>
                  <a:pt x="3821" y="1538"/>
                  <a:pt x="3824" y="1522"/>
                  <a:pt x="3828" y="1517"/>
                </a:cubicBezTo>
                <a:cubicBezTo>
                  <a:pt x="3828" y="1517"/>
                  <a:pt x="3828" y="1517"/>
                  <a:pt x="3828" y="1517"/>
                </a:cubicBezTo>
                <a:cubicBezTo>
                  <a:pt x="3831" y="1513"/>
                  <a:pt x="3832" y="1508"/>
                  <a:pt x="3832" y="1504"/>
                </a:cubicBezTo>
                <a:cubicBezTo>
                  <a:pt x="3832" y="1500"/>
                  <a:pt x="3831" y="1496"/>
                  <a:pt x="3829" y="1493"/>
                </a:cubicBezTo>
                <a:cubicBezTo>
                  <a:pt x="3827" y="1490"/>
                  <a:pt x="3823" y="1488"/>
                  <a:pt x="3819" y="1488"/>
                </a:cubicBezTo>
                <a:cubicBezTo>
                  <a:pt x="3818" y="1488"/>
                  <a:pt x="3817" y="1488"/>
                  <a:pt x="3816" y="1488"/>
                </a:cubicBezTo>
                <a:cubicBezTo>
                  <a:pt x="3816" y="1488"/>
                  <a:pt x="3816" y="1488"/>
                  <a:pt x="3816" y="1488"/>
                </a:cubicBezTo>
                <a:cubicBezTo>
                  <a:pt x="3816" y="1488"/>
                  <a:pt x="3815" y="1488"/>
                  <a:pt x="3814" y="1487"/>
                </a:cubicBezTo>
                <a:cubicBezTo>
                  <a:pt x="3808" y="1482"/>
                  <a:pt x="3801" y="1469"/>
                  <a:pt x="3789" y="1459"/>
                </a:cubicBezTo>
                <a:cubicBezTo>
                  <a:pt x="3774" y="1447"/>
                  <a:pt x="3763" y="1439"/>
                  <a:pt x="3750" y="1422"/>
                </a:cubicBezTo>
                <a:cubicBezTo>
                  <a:pt x="3735" y="1403"/>
                  <a:pt x="3717" y="1391"/>
                  <a:pt x="3709" y="1383"/>
                </a:cubicBezTo>
                <a:cubicBezTo>
                  <a:pt x="3699" y="1373"/>
                  <a:pt x="3687" y="1368"/>
                  <a:pt x="3678" y="1368"/>
                </a:cubicBezTo>
                <a:cubicBezTo>
                  <a:pt x="3677" y="1368"/>
                  <a:pt x="3676" y="1368"/>
                  <a:pt x="3674" y="1368"/>
                </a:cubicBezTo>
                <a:cubicBezTo>
                  <a:pt x="3670" y="1369"/>
                  <a:pt x="3666" y="1374"/>
                  <a:pt x="3666" y="1378"/>
                </a:cubicBezTo>
                <a:cubicBezTo>
                  <a:pt x="3666" y="1383"/>
                  <a:pt x="3669" y="1386"/>
                  <a:pt x="3671" y="1390"/>
                </a:cubicBezTo>
                <a:cubicBezTo>
                  <a:pt x="3675" y="1396"/>
                  <a:pt x="3681" y="1401"/>
                  <a:pt x="3686" y="1406"/>
                </a:cubicBezTo>
                <a:cubicBezTo>
                  <a:pt x="3690" y="1411"/>
                  <a:pt x="3695" y="1415"/>
                  <a:pt x="3695" y="1415"/>
                </a:cubicBezTo>
                <a:cubicBezTo>
                  <a:pt x="3697" y="1418"/>
                  <a:pt x="3706" y="1427"/>
                  <a:pt x="3714" y="1437"/>
                </a:cubicBezTo>
                <a:cubicBezTo>
                  <a:pt x="3722" y="1446"/>
                  <a:pt x="3729" y="1459"/>
                  <a:pt x="3728" y="1463"/>
                </a:cubicBezTo>
                <a:cubicBezTo>
                  <a:pt x="3729" y="1473"/>
                  <a:pt x="3734" y="1485"/>
                  <a:pt x="3740" y="1497"/>
                </a:cubicBezTo>
                <a:cubicBezTo>
                  <a:pt x="3746" y="1509"/>
                  <a:pt x="3752" y="1519"/>
                  <a:pt x="3757" y="1523"/>
                </a:cubicBezTo>
                <a:cubicBezTo>
                  <a:pt x="3760" y="1527"/>
                  <a:pt x="3769" y="1533"/>
                  <a:pt x="3777" y="1540"/>
                </a:cubicBezTo>
                <a:cubicBezTo>
                  <a:pt x="3785" y="1547"/>
                  <a:pt x="3793" y="1556"/>
                  <a:pt x="3794" y="1559"/>
                </a:cubicBezTo>
                <a:cubicBezTo>
                  <a:pt x="3797" y="1565"/>
                  <a:pt x="3801" y="1570"/>
                  <a:pt x="3808" y="1571"/>
                </a:cubicBezTo>
                <a:cubicBezTo>
                  <a:pt x="3808" y="1583"/>
                  <a:pt x="3816" y="1589"/>
                  <a:pt x="3819" y="1591"/>
                </a:cubicBezTo>
                <a:cubicBezTo>
                  <a:pt x="3825" y="1595"/>
                  <a:pt x="3834" y="1597"/>
                  <a:pt x="3844" y="1597"/>
                </a:cubicBezTo>
                <a:cubicBezTo>
                  <a:pt x="3847" y="1597"/>
                  <a:pt x="3849" y="1597"/>
                  <a:pt x="3851" y="1597"/>
                </a:cubicBezTo>
                <a:cubicBezTo>
                  <a:pt x="3855" y="1596"/>
                  <a:pt x="3859" y="1596"/>
                  <a:pt x="3863" y="1594"/>
                </a:cubicBezTo>
                <a:cubicBezTo>
                  <a:pt x="3865" y="1594"/>
                  <a:pt x="3866" y="1594"/>
                  <a:pt x="3868" y="1593"/>
                </a:cubicBezTo>
                <a:cubicBezTo>
                  <a:pt x="3868" y="1593"/>
                  <a:pt x="3868" y="1593"/>
                  <a:pt x="3868" y="1594"/>
                </a:cubicBezTo>
                <a:cubicBezTo>
                  <a:pt x="3876" y="1602"/>
                  <a:pt x="3884" y="1608"/>
                  <a:pt x="3896" y="1608"/>
                </a:cubicBezTo>
                <a:cubicBezTo>
                  <a:pt x="3898" y="1608"/>
                  <a:pt x="3900" y="1608"/>
                  <a:pt x="3902" y="1608"/>
                </a:cubicBezTo>
                <a:cubicBezTo>
                  <a:pt x="3903" y="1608"/>
                  <a:pt x="3903" y="1608"/>
                  <a:pt x="3904" y="1608"/>
                </a:cubicBezTo>
                <a:cubicBezTo>
                  <a:pt x="3912" y="1608"/>
                  <a:pt x="3923" y="1611"/>
                  <a:pt x="3931" y="1611"/>
                </a:cubicBezTo>
                <a:cubicBezTo>
                  <a:pt x="3933" y="1611"/>
                  <a:pt x="3936" y="1611"/>
                  <a:pt x="3938" y="1610"/>
                </a:cubicBezTo>
                <a:close/>
                <a:moveTo>
                  <a:pt x="4119" y="1427"/>
                </a:moveTo>
                <a:cubicBezTo>
                  <a:pt x="4111" y="1436"/>
                  <a:pt x="4105" y="1453"/>
                  <a:pt x="4104" y="1466"/>
                </a:cubicBezTo>
                <a:cubicBezTo>
                  <a:pt x="4104" y="1469"/>
                  <a:pt x="4105" y="1472"/>
                  <a:pt x="4106" y="1475"/>
                </a:cubicBezTo>
                <a:cubicBezTo>
                  <a:pt x="4107" y="1478"/>
                  <a:pt x="4110" y="1481"/>
                  <a:pt x="4114" y="1482"/>
                </a:cubicBezTo>
                <a:cubicBezTo>
                  <a:pt x="4115" y="1483"/>
                  <a:pt x="4116" y="1483"/>
                  <a:pt x="4117" y="1483"/>
                </a:cubicBezTo>
                <a:cubicBezTo>
                  <a:pt x="4128" y="1482"/>
                  <a:pt x="4131" y="1473"/>
                  <a:pt x="4135" y="1464"/>
                </a:cubicBezTo>
                <a:cubicBezTo>
                  <a:pt x="4138" y="1455"/>
                  <a:pt x="4140" y="1445"/>
                  <a:pt x="4140" y="1436"/>
                </a:cubicBezTo>
                <a:cubicBezTo>
                  <a:pt x="4140" y="1434"/>
                  <a:pt x="4140" y="1431"/>
                  <a:pt x="4139" y="1429"/>
                </a:cubicBezTo>
                <a:cubicBezTo>
                  <a:pt x="4139" y="1426"/>
                  <a:pt x="4138" y="1423"/>
                  <a:pt x="4134" y="1421"/>
                </a:cubicBezTo>
                <a:cubicBezTo>
                  <a:pt x="4134" y="1421"/>
                  <a:pt x="4134" y="1421"/>
                  <a:pt x="4134" y="1421"/>
                </a:cubicBezTo>
                <a:cubicBezTo>
                  <a:pt x="4133" y="1421"/>
                  <a:pt x="4131" y="1420"/>
                  <a:pt x="4130" y="1420"/>
                </a:cubicBezTo>
                <a:cubicBezTo>
                  <a:pt x="4124" y="1420"/>
                  <a:pt x="4121" y="1423"/>
                  <a:pt x="4119" y="1427"/>
                </a:cubicBezTo>
                <a:close/>
                <a:moveTo>
                  <a:pt x="4266" y="830"/>
                </a:moveTo>
                <a:cubicBezTo>
                  <a:pt x="4263" y="839"/>
                  <a:pt x="4260" y="846"/>
                  <a:pt x="4257" y="852"/>
                </a:cubicBezTo>
                <a:cubicBezTo>
                  <a:pt x="4256" y="855"/>
                  <a:pt x="4254" y="857"/>
                  <a:pt x="4253" y="858"/>
                </a:cubicBezTo>
                <a:cubicBezTo>
                  <a:pt x="4253" y="858"/>
                  <a:pt x="4253" y="858"/>
                  <a:pt x="4253" y="858"/>
                </a:cubicBezTo>
                <a:cubicBezTo>
                  <a:pt x="4251" y="859"/>
                  <a:pt x="4249" y="859"/>
                  <a:pt x="4246" y="860"/>
                </a:cubicBezTo>
                <a:cubicBezTo>
                  <a:pt x="4236" y="864"/>
                  <a:pt x="4221" y="872"/>
                  <a:pt x="4214" y="880"/>
                </a:cubicBezTo>
                <a:cubicBezTo>
                  <a:pt x="4214" y="880"/>
                  <a:pt x="4213" y="880"/>
                  <a:pt x="4211" y="880"/>
                </a:cubicBezTo>
                <a:cubicBezTo>
                  <a:pt x="4203" y="880"/>
                  <a:pt x="4189" y="876"/>
                  <a:pt x="4180" y="876"/>
                </a:cubicBezTo>
                <a:cubicBezTo>
                  <a:pt x="4176" y="876"/>
                  <a:pt x="4172" y="876"/>
                  <a:pt x="4169" y="880"/>
                </a:cubicBezTo>
                <a:cubicBezTo>
                  <a:pt x="4165" y="886"/>
                  <a:pt x="4156" y="894"/>
                  <a:pt x="4150" y="900"/>
                </a:cubicBezTo>
                <a:cubicBezTo>
                  <a:pt x="4150" y="900"/>
                  <a:pt x="4146" y="901"/>
                  <a:pt x="4141" y="903"/>
                </a:cubicBezTo>
                <a:cubicBezTo>
                  <a:pt x="4136" y="904"/>
                  <a:pt x="4129" y="909"/>
                  <a:pt x="4130" y="918"/>
                </a:cubicBezTo>
                <a:cubicBezTo>
                  <a:pt x="4130" y="920"/>
                  <a:pt x="4130" y="922"/>
                  <a:pt x="4130" y="924"/>
                </a:cubicBezTo>
                <a:cubicBezTo>
                  <a:pt x="4132" y="932"/>
                  <a:pt x="4135" y="941"/>
                  <a:pt x="4139" y="947"/>
                </a:cubicBezTo>
                <a:cubicBezTo>
                  <a:pt x="4142" y="954"/>
                  <a:pt x="4146" y="959"/>
                  <a:pt x="4154" y="960"/>
                </a:cubicBezTo>
                <a:cubicBezTo>
                  <a:pt x="4159" y="960"/>
                  <a:pt x="4165" y="958"/>
                  <a:pt x="4169" y="953"/>
                </a:cubicBezTo>
                <a:cubicBezTo>
                  <a:pt x="4173" y="949"/>
                  <a:pt x="4176" y="942"/>
                  <a:pt x="4176" y="933"/>
                </a:cubicBezTo>
                <a:cubicBezTo>
                  <a:pt x="4176" y="933"/>
                  <a:pt x="4176" y="933"/>
                  <a:pt x="4176" y="933"/>
                </a:cubicBezTo>
                <a:cubicBezTo>
                  <a:pt x="4176" y="933"/>
                  <a:pt x="4180" y="934"/>
                  <a:pt x="4182" y="935"/>
                </a:cubicBezTo>
                <a:cubicBezTo>
                  <a:pt x="4185" y="936"/>
                  <a:pt x="4189" y="938"/>
                  <a:pt x="4193" y="938"/>
                </a:cubicBezTo>
                <a:cubicBezTo>
                  <a:pt x="4194" y="938"/>
                  <a:pt x="4195" y="938"/>
                  <a:pt x="4195" y="938"/>
                </a:cubicBezTo>
                <a:cubicBezTo>
                  <a:pt x="4204" y="936"/>
                  <a:pt x="4209" y="930"/>
                  <a:pt x="4212" y="922"/>
                </a:cubicBezTo>
                <a:cubicBezTo>
                  <a:pt x="4214" y="924"/>
                  <a:pt x="4216" y="925"/>
                  <a:pt x="4218" y="925"/>
                </a:cubicBezTo>
                <a:cubicBezTo>
                  <a:pt x="4221" y="926"/>
                  <a:pt x="4223" y="926"/>
                  <a:pt x="4226" y="926"/>
                </a:cubicBezTo>
                <a:cubicBezTo>
                  <a:pt x="4232" y="926"/>
                  <a:pt x="4238" y="923"/>
                  <a:pt x="4240" y="919"/>
                </a:cubicBezTo>
                <a:cubicBezTo>
                  <a:pt x="4243" y="916"/>
                  <a:pt x="4244" y="914"/>
                  <a:pt x="4244" y="911"/>
                </a:cubicBezTo>
                <a:cubicBezTo>
                  <a:pt x="4246" y="910"/>
                  <a:pt x="4251" y="907"/>
                  <a:pt x="4256" y="905"/>
                </a:cubicBezTo>
                <a:cubicBezTo>
                  <a:pt x="4263" y="903"/>
                  <a:pt x="4268" y="901"/>
                  <a:pt x="4272" y="898"/>
                </a:cubicBezTo>
                <a:cubicBezTo>
                  <a:pt x="4273" y="897"/>
                  <a:pt x="4279" y="894"/>
                  <a:pt x="4285" y="891"/>
                </a:cubicBezTo>
                <a:cubicBezTo>
                  <a:pt x="4287" y="889"/>
                  <a:pt x="4290" y="888"/>
                  <a:pt x="4293" y="886"/>
                </a:cubicBezTo>
                <a:cubicBezTo>
                  <a:pt x="4295" y="884"/>
                  <a:pt x="4297" y="882"/>
                  <a:pt x="4298" y="878"/>
                </a:cubicBezTo>
                <a:cubicBezTo>
                  <a:pt x="4299" y="874"/>
                  <a:pt x="4299" y="865"/>
                  <a:pt x="4300" y="856"/>
                </a:cubicBezTo>
                <a:cubicBezTo>
                  <a:pt x="4300" y="852"/>
                  <a:pt x="4300" y="848"/>
                  <a:pt x="4301" y="845"/>
                </a:cubicBezTo>
                <a:cubicBezTo>
                  <a:pt x="4301" y="843"/>
                  <a:pt x="4302" y="842"/>
                  <a:pt x="4302" y="842"/>
                </a:cubicBezTo>
                <a:cubicBezTo>
                  <a:pt x="4303" y="841"/>
                  <a:pt x="4305" y="841"/>
                  <a:pt x="4308" y="839"/>
                </a:cubicBezTo>
                <a:cubicBezTo>
                  <a:pt x="4310" y="837"/>
                  <a:pt x="4313" y="833"/>
                  <a:pt x="4313" y="828"/>
                </a:cubicBezTo>
                <a:cubicBezTo>
                  <a:pt x="4313" y="824"/>
                  <a:pt x="4312" y="819"/>
                  <a:pt x="4308" y="812"/>
                </a:cubicBezTo>
                <a:cubicBezTo>
                  <a:pt x="4305" y="805"/>
                  <a:pt x="4303" y="797"/>
                  <a:pt x="4300" y="791"/>
                </a:cubicBezTo>
                <a:cubicBezTo>
                  <a:pt x="4300" y="789"/>
                  <a:pt x="4299" y="788"/>
                  <a:pt x="4298" y="786"/>
                </a:cubicBezTo>
                <a:cubicBezTo>
                  <a:pt x="4303" y="785"/>
                  <a:pt x="4308" y="783"/>
                  <a:pt x="4313" y="783"/>
                </a:cubicBezTo>
                <a:cubicBezTo>
                  <a:pt x="4327" y="782"/>
                  <a:pt x="4340" y="780"/>
                  <a:pt x="4344" y="776"/>
                </a:cubicBezTo>
                <a:cubicBezTo>
                  <a:pt x="4344" y="776"/>
                  <a:pt x="4345" y="776"/>
                  <a:pt x="4345" y="776"/>
                </a:cubicBezTo>
                <a:cubicBezTo>
                  <a:pt x="4348" y="776"/>
                  <a:pt x="4353" y="776"/>
                  <a:pt x="4358" y="775"/>
                </a:cubicBezTo>
                <a:cubicBezTo>
                  <a:pt x="4363" y="773"/>
                  <a:pt x="4370" y="769"/>
                  <a:pt x="4370" y="761"/>
                </a:cubicBezTo>
                <a:cubicBezTo>
                  <a:pt x="4370" y="759"/>
                  <a:pt x="4370" y="758"/>
                  <a:pt x="4370" y="757"/>
                </a:cubicBezTo>
                <a:cubicBezTo>
                  <a:pt x="4367" y="748"/>
                  <a:pt x="4360" y="744"/>
                  <a:pt x="4354" y="741"/>
                </a:cubicBezTo>
                <a:cubicBezTo>
                  <a:pt x="4347" y="739"/>
                  <a:pt x="4340" y="738"/>
                  <a:pt x="4335" y="738"/>
                </a:cubicBezTo>
                <a:cubicBezTo>
                  <a:pt x="4333" y="738"/>
                  <a:pt x="4332" y="738"/>
                  <a:pt x="4330" y="738"/>
                </a:cubicBezTo>
                <a:cubicBezTo>
                  <a:pt x="4329" y="737"/>
                  <a:pt x="4327" y="735"/>
                  <a:pt x="4325" y="732"/>
                </a:cubicBezTo>
                <a:cubicBezTo>
                  <a:pt x="4321" y="729"/>
                  <a:pt x="4317" y="726"/>
                  <a:pt x="4311" y="726"/>
                </a:cubicBezTo>
                <a:cubicBezTo>
                  <a:pt x="4309" y="726"/>
                  <a:pt x="4308" y="726"/>
                  <a:pt x="4307" y="726"/>
                </a:cubicBezTo>
                <a:cubicBezTo>
                  <a:pt x="4300" y="728"/>
                  <a:pt x="4296" y="734"/>
                  <a:pt x="4294" y="739"/>
                </a:cubicBezTo>
                <a:cubicBezTo>
                  <a:pt x="4292" y="743"/>
                  <a:pt x="4292" y="747"/>
                  <a:pt x="4291" y="750"/>
                </a:cubicBezTo>
                <a:cubicBezTo>
                  <a:pt x="4289" y="751"/>
                  <a:pt x="4284" y="754"/>
                  <a:pt x="4280" y="756"/>
                </a:cubicBezTo>
                <a:cubicBezTo>
                  <a:pt x="4275" y="760"/>
                  <a:pt x="4268" y="763"/>
                  <a:pt x="4267" y="772"/>
                </a:cubicBezTo>
                <a:cubicBezTo>
                  <a:pt x="4267" y="775"/>
                  <a:pt x="4269" y="778"/>
                  <a:pt x="4271" y="780"/>
                </a:cubicBezTo>
                <a:cubicBezTo>
                  <a:pt x="4272" y="782"/>
                  <a:pt x="4274" y="783"/>
                  <a:pt x="4275" y="784"/>
                </a:cubicBezTo>
                <a:cubicBezTo>
                  <a:pt x="4271" y="790"/>
                  <a:pt x="4271" y="797"/>
                  <a:pt x="4270" y="805"/>
                </a:cubicBezTo>
                <a:cubicBezTo>
                  <a:pt x="4270" y="814"/>
                  <a:pt x="4269" y="824"/>
                  <a:pt x="4266" y="830"/>
                </a:cubicBezTo>
                <a:close/>
                <a:moveTo>
                  <a:pt x="3920" y="1392"/>
                </a:moveTo>
                <a:cubicBezTo>
                  <a:pt x="3917" y="1395"/>
                  <a:pt x="3916" y="1398"/>
                  <a:pt x="3915" y="1401"/>
                </a:cubicBezTo>
                <a:cubicBezTo>
                  <a:pt x="3914" y="1402"/>
                  <a:pt x="3914" y="1403"/>
                  <a:pt x="3914" y="1404"/>
                </a:cubicBezTo>
                <a:cubicBezTo>
                  <a:pt x="3914" y="1404"/>
                  <a:pt x="3913" y="1404"/>
                  <a:pt x="3913" y="1404"/>
                </a:cubicBezTo>
                <a:cubicBezTo>
                  <a:pt x="3910" y="1407"/>
                  <a:pt x="3907" y="1408"/>
                  <a:pt x="3897" y="1411"/>
                </a:cubicBezTo>
                <a:cubicBezTo>
                  <a:pt x="3886" y="1415"/>
                  <a:pt x="3883" y="1425"/>
                  <a:pt x="3881" y="1432"/>
                </a:cubicBezTo>
                <a:cubicBezTo>
                  <a:pt x="3880" y="1431"/>
                  <a:pt x="3878" y="1430"/>
                  <a:pt x="3877" y="1429"/>
                </a:cubicBezTo>
                <a:cubicBezTo>
                  <a:pt x="3873" y="1427"/>
                  <a:pt x="3870" y="1424"/>
                  <a:pt x="3864" y="1424"/>
                </a:cubicBezTo>
                <a:cubicBezTo>
                  <a:pt x="3862" y="1424"/>
                  <a:pt x="3859" y="1425"/>
                  <a:pt x="3857" y="1427"/>
                </a:cubicBezTo>
                <a:cubicBezTo>
                  <a:pt x="3854" y="1431"/>
                  <a:pt x="3854" y="1436"/>
                  <a:pt x="3854" y="1441"/>
                </a:cubicBezTo>
                <a:cubicBezTo>
                  <a:pt x="3854" y="1453"/>
                  <a:pt x="3857" y="1471"/>
                  <a:pt x="3863" y="1487"/>
                </a:cubicBezTo>
                <a:cubicBezTo>
                  <a:pt x="3868" y="1499"/>
                  <a:pt x="3876" y="1509"/>
                  <a:pt x="3883" y="1515"/>
                </a:cubicBezTo>
                <a:cubicBezTo>
                  <a:pt x="3891" y="1522"/>
                  <a:pt x="3897" y="1526"/>
                  <a:pt x="3903" y="1527"/>
                </a:cubicBezTo>
                <a:cubicBezTo>
                  <a:pt x="3909" y="1526"/>
                  <a:pt x="3920" y="1527"/>
                  <a:pt x="3927" y="1529"/>
                </a:cubicBezTo>
                <a:cubicBezTo>
                  <a:pt x="3931" y="1530"/>
                  <a:pt x="3938" y="1532"/>
                  <a:pt x="3946" y="1532"/>
                </a:cubicBezTo>
                <a:cubicBezTo>
                  <a:pt x="3950" y="1532"/>
                  <a:pt x="3955" y="1531"/>
                  <a:pt x="3959" y="1529"/>
                </a:cubicBezTo>
                <a:cubicBezTo>
                  <a:pt x="3964" y="1528"/>
                  <a:pt x="3968" y="1523"/>
                  <a:pt x="3968" y="1517"/>
                </a:cubicBezTo>
                <a:cubicBezTo>
                  <a:pt x="3968" y="1517"/>
                  <a:pt x="3968" y="1516"/>
                  <a:pt x="3968" y="1516"/>
                </a:cubicBezTo>
                <a:cubicBezTo>
                  <a:pt x="3968" y="1511"/>
                  <a:pt x="3967" y="1506"/>
                  <a:pt x="3967" y="1501"/>
                </a:cubicBezTo>
                <a:cubicBezTo>
                  <a:pt x="3967" y="1491"/>
                  <a:pt x="3969" y="1482"/>
                  <a:pt x="3975" y="1476"/>
                </a:cubicBezTo>
                <a:cubicBezTo>
                  <a:pt x="3979" y="1472"/>
                  <a:pt x="3984" y="1467"/>
                  <a:pt x="3988" y="1462"/>
                </a:cubicBezTo>
                <a:cubicBezTo>
                  <a:pt x="3992" y="1458"/>
                  <a:pt x="3995" y="1451"/>
                  <a:pt x="3995" y="1444"/>
                </a:cubicBezTo>
                <a:cubicBezTo>
                  <a:pt x="3995" y="1440"/>
                  <a:pt x="3995" y="1437"/>
                  <a:pt x="3993" y="1433"/>
                </a:cubicBezTo>
                <a:cubicBezTo>
                  <a:pt x="3988" y="1419"/>
                  <a:pt x="3981" y="1408"/>
                  <a:pt x="3982" y="1404"/>
                </a:cubicBezTo>
                <a:cubicBezTo>
                  <a:pt x="3982" y="1403"/>
                  <a:pt x="3982" y="1403"/>
                  <a:pt x="3983" y="1402"/>
                </a:cubicBezTo>
                <a:cubicBezTo>
                  <a:pt x="3986" y="1398"/>
                  <a:pt x="3990" y="1396"/>
                  <a:pt x="3994" y="1393"/>
                </a:cubicBezTo>
                <a:cubicBezTo>
                  <a:pt x="3997" y="1390"/>
                  <a:pt x="4002" y="1386"/>
                  <a:pt x="4002" y="1380"/>
                </a:cubicBezTo>
                <a:cubicBezTo>
                  <a:pt x="4002" y="1379"/>
                  <a:pt x="4002" y="1377"/>
                  <a:pt x="4000" y="1375"/>
                </a:cubicBezTo>
                <a:cubicBezTo>
                  <a:pt x="3999" y="1373"/>
                  <a:pt x="3996" y="1373"/>
                  <a:pt x="3995" y="1373"/>
                </a:cubicBezTo>
                <a:cubicBezTo>
                  <a:pt x="3991" y="1373"/>
                  <a:pt x="3990" y="1374"/>
                  <a:pt x="3989" y="1374"/>
                </a:cubicBezTo>
                <a:cubicBezTo>
                  <a:pt x="3987" y="1375"/>
                  <a:pt x="3986" y="1375"/>
                  <a:pt x="3985" y="1375"/>
                </a:cubicBezTo>
                <a:cubicBezTo>
                  <a:pt x="3985" y="1375"/>
                  <a:pt x="3985" y="1375"/>
                  <a:pt x="3985" y="1375"/>
                </a:cubicBezTo>
                <a:cubicBezTo>
                  <a:pt x="3985" y="1375"/>
                  <a:pt x="3985" y="1375"/>
                  <a:pt x="3983" y="1373"/>
                </a:cubicBezTo>
                <a:cubicBezTo>
                  <a:pt x="3982" y="1370"/>
                  <a:pt x="3980" y="1364"/>
                  <a:pt x="3980" y="1353"/>
                </a:cubicBezTo>
                <a:cubicBezTo>
                  <a:pt x="3980" y="1351"/>
                  <a:pt x="3979" y="1349"/>
                  <a:pt x="3977" y="1347"/>
                </a:cubicBezTo>
                <a:cubicBezTo>
                  <a:pt x="3975" y="1345"/>
                  <a:pt x="3973" y="1344"/>
                  <a:pt x="3971" y="1344"/>
                </a:cubicBezTo>
                <a:cubicBezTo>
                  <a:pt x="3965" y="1344"/>
                  <a:pt x="3961" y="1347"/>
                  <a:pt x="3957" y="1351"/>
                </a:cubicBezTo>
                <a:cubicBezTo>
                  <a:pt x="3953" y="1355"/>
                  <a:pt x="3949" y="1359"/>
                  <a:pt x="3948" y="1365"/>
                </a:cubicBezTo>
                <a:cubicBezTo>
                  <a:pt x="3948" y="1366"/>
                  <a:pt x="3948" y="1367"/>
                  <a:pt x="3948" y="1367"/>
                </a:cubicBezTo>
                <a:cubicBezTo>
                  <a:pt x="3948" y="1371"/>
                  <a:pt x="3949" y="1374"/>
                  <a:pt x="3950" y="1376"/>
                </a:cubicBezTo>
                <a:cubicBezTo>
                  <a:pt x="3950" y="1377"/>
                  <a:pt x="3950" y="1377"/>
                  <a:pt x="3951" y="1378"/>
                </a:cubicBezTo>
                <a:cubicBezTo>
                  <a:pt x="3949" y="1378"/>
                  <a:pt x="3947" y="1378"/>
                  <a:pt x="3945" y="1378"/>
                </a:cubicBezTo>
                <a:cubicBezTo>
                  <a:pt x="3932" y="1378"/>
                  <a:pt x="3924" y="1385"/>
                  <a:pt x="3920" y="1392"/>
                </a:cubicBezTo>
                <a:close/>
                <a:moveTo>
                  <a:pt x="4009" y="1068"/>
                </a:moveTo>
                <a:cubicBezTo>
                  <a:pt x="4005" y="1076"/>
                  <a:pt x="4003" y="1085"/>
                  <a:pt x="4003" y="1093"/>
                </a:cubicBezTo>
                <a:cubicBezTo>
                  <a:pt x="4003" y="1096"/>
                  <a:pt x="4003" y="1099"/>
                  <a:pt x="4005" y="1102"/>
                </a:cubicBezTo>
                <a:cubicBezTo>
                  <a:pt x="4006" y="1106"/>
                  <a:pt x="4010" y="1108"/>
                  <a:pt x="4014" y="1108"/>
                </a:cubicBezTo>
                <a:cubicBezTo>
                  <a:pt x="4014" y="1108"/>
                  <a:pt x="4014" y="1108"/>
                  <a:pt x="4015" y="1108"/>
                </a:cubicBezTo>
                <a:cubicBezTo>
                  <a:pt x="4015" y="1108"/>
                  <a:pt x="4015" y="1108"/>
                  <a:pt x="4016" y="1108"/>
                </a:cubicBezTo>
                <a:cubicBezTo>
                  <a:pt x="4025" y="1107"/>
                  <a:pt x="4030" y="1099"/>
                  <a:pt x="4034" y="1091"/>
                </a:cubicBezTo>
                <a:cubicBezTo>
                  <a:pt x="4038" y="1083"/>
                  <a:pt x="4041" y="1073"/>
                  <a:pt x="4041" y="1065"/>
                </a:cubicBezTo>
                <a:cubicBezTo>
                  <a:pt x="4041" y="1062"/>
                  <a:pt x="4041" y="1059"/>
                  <a:pt x="4039" y="1056"/>
                </a:cubicBezTo>
                <a:cubicBezTo>
                  <a:pt x="4038" y="1053"/>
                  <a:pt x="4034" y="1051"/>
                  <a:pt x="4030" y="1051"/>
                </a:cubicBezTo>
                <a:cubicBezTo>
                  <a:pt x="4029" y="1051"/>
                  <a:pt x="4029" y="1051"/>
                  <a:pt x="4028" y="1051"/>
                </a:cubicBezTo>
                <a:cubicBezTo>
                  <a:pt x="4028" y="1051"/>
                  <a:pt x="4028" y="1051"/>
                  <a:pt x="4028" y="1051"/>
                </a:cubicBezTo>
                <a:cubicBezTo>
                  <a:pt x="4019" y="1053"/>
                  <a:pt x="4013" y="1061"/>
                  <a:pt x="4009" y="1068"/>
                </a:cubicBezTo>
                <a:close/>
                <a:moveTo>
                  <a:pt x="3994" y="1206"/>
                </a:moveTo>
                <a:cubicBezTo>
                  <a:pt x="3994" y="1209"/>
                  <a:pt x="3995" y="1213"/>
                  <a:pt x="3997" y="1217"/>
                </a:cubicBezTo>
                <a:cubicBezTo>
                  <a:pt x="3997" y="1217"/>
                  <a:pt x="3997" y="1217"/>
                  <a:pt x="3997" y="1217"/>
                </a:cubicBezTo>
                <a:cubicBezTo>
                  <a:pt x="4001" y="1226"/>
                  <a:pt x="4008" y="1233"/>
                  <a:pt x="4014" y="1238"/>
                </a:cubicBezTo>
                <a:cubicBezTo>
                  <a:pt x="4017" y="1241"/>
                  <a:pt x="4019" y="1244"/>
                  <a:pt x="4021" y="1246"/>
                </a:cubicBezTo>
                <a:cubicBezTo>
                  <a:pt x="4021" y="1246"/>
                  <a:pt x="4022" y="1247"/>
                  <a:pt x="4022" y="1247"/>
                </a:cubicBezTo>
                <a:cubicBezTo>
                  <a:pt x="4017" y="1254"/>
                  <a:pt x="4000" y="1267"/>
                  <a:pt x="3997" y="1282"/>
                </a:cubicBezTo>
                <a:cubicBezTo>
                  <a:pt x="3996" y="1283"/>
                  <a:pt x="3996" y="1284"/>
                  <a:pt x="3996" y="1285"/>
                </a:cubicBezTo>
                <a:cubicBezTo>
                  <a:pt x="3996" y="1286"/>
                  <a:pt x="3997" y="1288"/>
                  <a:pt x="3998" y="1289"/>
                </a:cubicBezTo>
                <a:cubicBezTo>
                  <a:pt x="3999" y="1291"/>
                  <a:pt x="4002" y="1292"/>
                  <a:pt x="4003" y="1292"/>
                </a:cubicBezTo>
                <a:cubicBezTo>
                  <a:pt x="4003" y="1292"/>
                  <a:pt x="4004" y="1292"/>
                  <a:pt x="4004" y="1292"/>
                </a:cubicBezTo>
                <a:cubicBezTo>
                  <a:pt x="4009" y="1292"/>
                  <a:pt x="4011" y="1289"/>
                  <a:pt x="4014" y="1287"/>
                </a:cubicBezTo>
                <a:cubicBezTo>
                  <a:pt x="4024" y="1279"/>
                  <a:pt x="4038" y="1264"/>
                  <a:pt x="4043" y="1255"/>
                </a:cubicBezTo>
                <a:cubicBezTo>
                  <a:pt x="4046" y="1251"/>
                  <a:pt x="4049" y="1250"/>
                  <a:pt x="4054" y="1249"/>
                </a:cubicBezTo>
                <a:cubicBezTo>
                  <a:pt x="4057" y="1249"/>
                  <a:pt x="4060" y="1249"/>
                  <a:pt x="4063" y="1248"/>
                </a:cubicBezTo>
                <a:cubicBezTo>
                  <a:pt x="4065" y="1248"/>
                  <a:pt x="4069" y="1246"/>
                  <a:pt x="4071" y="1242"/>
                </a:cubicBezTo>
                <a:cubicBezTo>
                  <a:pt x="4075" y="1235"/>
                  <a:pt x="4075" y="1235"/>
                  <a:pt x="4075" y="1235"/>
                </a:cubicBezTo>
                <a:cubicBezTo>
                  <a:pt x="4076" y="1233"/>
                  <a:pt x="4076" y="1231"/>
                  <a:pt x="4075" y="1230"/>
                </a:cubicBezTo>
                <a:cubicBezTo>
                  <a:pt x="4074" y="1228"/>
                  <a:pt x="4072" y="1227"/>
                  <a:pt x="4071" y="1226"/>
                </a:cubicBezTo>
                <a:cubicBezTo>
                  <a:pt x="4071" y="1226"/>
                  <a:pt x="4058" y="1224"/>
                  <a:pt x="4048" y="1220"/>
                </a:cubicBezTo>
                <a:cubicBezTo>
                  <a:pt x="4046" y="1219"/>
                  <a:pt x="4044" y="1219"/>
                  <a:pt x="4042" y="1219"/>
                </a:cubicBezTo>
                <a:cubicBezTo>
                  <a:pt x="4039" y="1219"/>
                  <a:pt x="4036" y="1219"/>
                  <a:pt x="4034" y="1220"/>
                </a:cubicBezTo>
                <a:cubicBezTo>
                  <a:pt x="4034" y="1219"/>
                  <a:pt x="4034" y="1218"/>
                  <a:pt x="4035" y="1216"/>
                </a:cubicBezTo>
                <a:cubicBezTo>
                  <a:pt x="4037" y="1207"/>
                  <a:pt x="4041" y="1204"/>
                  <a:pt x="4045" y="1201"/>
                </a:cubicBezTo>
                <a:cubicBezTo>
                  <a:pt x="4049" y="1198"/>
                  <a:pt x="4055" y="1193"/>
                  <a:pt x="4055" y="1184"/>
                </a:cubicBezTo>
                <a:cubicBezTo>
                  <a:pt x="4055" y="1182"/>
                  <a:pt x="4055" y="1181"/>
                  <a:pt x="4054" y="1179"/>
                </a:cubicBezTo>
                <a:cubicBezTo>
                  <a:pt x="4053" y="1169"/>
                  <a:pt x="4048" y="1163"/>
                  <a:pt x="4043" y="1159"/>
                </a:cubicBezTo>
                <a:cubicBezTo>
                  <a:pt x="4038" y="1155"/>
                  <a:pt x="4034" y="1153"/>
                  <a:pt x="4030" y="1153"/>
                </a:cubicBezTo>
                <a:cubicBezTo>
                  <a:pt x="4026" y="1153"/>
                  <a:pt x="4021" y="1157"/>
                  <a:pt x="4021" y="1160"/>
                </a:cubicBezTo>
                <a:cubicBezTo>
                  <a:pt x="4019" y="1169"/>
                  <a:pt x="4022" y="1175"/>
                  <a:pt x="4016" y="1179"/>
                </a:cubicBezTo>
                <a:cubicBezTo>
                  <a:pt x="4012" y="1183"/>
                  <a:pt x="4007" y="1186"/>
                  <a:pt x="4003" y="1190"/>
                </a:cubicBezTo>
                <a:cubicBezTo>
                  <a:pt x="3998" y="1193"/>
                  <a:pt x="3994" y="1199"/>
                  <a:pt x="3994" y="1206"/>
                </a:cubicBezTo>
                <a:close/>
              </a:path>
            </a:pathLst>
          </a:custGeom>
          <a:solidFill>
            <a:schemeClr val="bg1">
              <a:alpha val="1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</a:endParaRPr>
          </a:p>
        </p:txBody>
      </p:sp>
      <p:pic>
        <p:nvPicPr>
          <p:cNvPr id="9" name="图形 8"/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10262"/>
          <a:stretch>
            <a:fillRect/>
          </a:stretch>
        </p:blipFill>
        <p:spPr>
          <a:xfrm>
            <a:off x="5784293" y="2336800"/>
            <a:ext cx="5893083" cy="4243512"/>
          </a:xfrm>
          <a:prstGeom prst="rect">
            <a:avLst/>
          </a:prstGeom>
        </p:spPr>
      </p:pic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73101" y="1135065"/>
            <a:ext cx="10845799" cy="1621509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73101" y="3441300"/>
            <a:ext cx="10845799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400" smtClean="0">
                <a:solidFill>
                  <a:schemeClr val="tx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673102" y="3145030"/>
            <a:ext cx="10845799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35DDC9-51DE-47E5-BC66-28F6B6B691E4}" type="datetimeFigureOut">
              <a:rPr lang="zh-CN" altLang="en-US" smtClean="0"/>
              <a:t>2022/9/8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EFC069-0F97-4FDE-86BE-0DA93F996394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任意多边形 9"/>
          <p:cNvSpPr/>
          <p:nvPr userDrawn="1"/>
        </p:nvSpPr>
        <p:spPr>
          <a:xfrm>
            <a:off x="-17148" y="365202"/>
            <a:ext cx="12225601" cy="5516990"/>
          </a:xfrm>
          <a:custGeom>
            <a:avLst/>
            <a:gdLst>
              <a:gd name="connsiteX0" fmla="*/ 56 w 19252"/>
              <a:gd name="connsiteY0" fmla="*/ 8688 h 8688"/>
              <a:gd name="connsiteX1" fmla="*/ 3511 w 19252"/>
              <a:gd name="connsiteY1" fmla="*/ 7533 h 8688"/>
              <a:gd name="connsiteX2" fmla="*/ 9703 w 19252"/>
              <a:gd name="connsiteY2" fmla="*/ 5858 h 8688"/>
              <a:gd name="connsiteX3" fmla="*/ 14571 w 19252"/>
              <a:gd name="connsiteY3" fmla="*/ 7193 h 8688"/>
              <a:gd name="connsiteX4" fmla="*/ 19251 w 19252"/>
              <a:gd name="connsiteY4" fmla="*/ 8213 h 8688"/>
              <a:gd name="connsiteX5" fmla="*/ 19220 w 19252"/>
              <a:gd name="connsiteY5" fmla="*/ 3 h 8688"/>
              <a:gd name="connsiteX6" fmla="*/ 0 w 19252"/>
              <a:gd name="connsiteY6" fmla="*/ 32 h 8688"/>
              <a:gd name="connsiteX7" fmla="*/ 40 w 19252"/>
              <a:gd name="connsiteY7" fmla="*/ 8688 h 86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253" h="8688">
                <a:moveTo>
                  <a:pt x="56" y="8688"/>
                </a:moveTo>
                <a:cubicBezTo>
                  <a:pt x="567" y="8509"/>
                  <a:pt x="1443" y="7555"/>
                  <a:pt x="3511" y="7533"/>
                </a:cubicBezTo>
                <a:cubicBezTo>
                  <a:pt x="5579" y="7511"/>
                  <a:pt x="8658" y="6654"/>
                  <a:pt x="9703" y="5858"/>
                </a:cubicBezTo>
                <a:cubicBezTo>
                  <a:pt x="10748" y="5062"/>
                  <a:pt x="10596" y="7119"/>
                  <a:pt x="14571" y="7193"/>
                </a:cubicBezTo>
                <a:cubicBezTo>
                  <a:pt x="18366" y="7103"/>
                  <a:pt x="19246" y="8208"/>
                  <a:pt x="19251" y="8213"/>
                </a:cubicBezTo>
                <a:cubicBezTo>
                  <a:pt x="19256" y="8218"/>
                  <a:pt x="19253" y="18"/>
                  <a:pt x="19220" y="3"/>
                </a:cubicBezTo>
                <a:cubicBezTo>
                  <a:pt x="19187" y="-12"/>
                  <a:pt x="-2" y="31"/>
                  <a:pt x="0" y="32"/>
                </a:cubicBezTo>
                <a:cubicBezTo>
                  <a:pt x="2" y="33"/>
                  <a:pt x="-4" y="6587"/>
                  <a:pt x="40" y="8688"/>
                </a:cubicBezTo>
              </a:path>
            </a:pathLst>
          </a:custGeom>
          <a:gradFill>
            <a:gsLst>
              <a:gs pos="0">
                <a:srgbClr val="0869CF"/>
              </a:gs>
              <a:gs pos="46000">
                <a:srgbClr val="226AD0"/>
              </a:gs>
              <a:gs pos="100000">
                <a:srgbClr val="095BC9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任意多边形 1"/>
          <p:cNvSpPr/>
          <p:nvPr userDrawn="1"/>
        </p:nvSpPr>
        <p:spPr>
          <a:xfrm>
            <a:off x="11737" y="-69068"/>
            <a:ext cx="12217883" cy="5552875"/>
          </a:xfrm>
          <a:custGeom>
            <a:avLst/>
            <a:gdLst>
              <a:gd name="connsiteX0" fmla="*/ 56 w 19240"/>
              <a:gd name="connsiteY0" fmla="*/ 8688 h 8744"/>
              <a:gd name="connsiteX1" fmla="*/ 3067 w 19240"/>
              <a:gd name="connsiteY1" fmla="*/ 7787 h 8744"/>
              <a:gd name="connsiteX2" fmla="*/ 6637 w 19240"/>
              <a:gd name="connsiteY2" fmla="*/ 8656 h 8744"/>
              <a:gd name="connsiteX3" fmla="*/ 10387 w 19240"/>
              <a:gd name="connsiteY3" fmla="*/ 8446 h 8744"/>
              <a:gd name="connsiteX4" fmla="*/ 15248 w 19240"/>
              <a:gd name="connsiteY4" fmla="*/ 6827 h 8744"/>
              <a:gd name="connsiteX5" fmla="*/ 19233 w 19240"/>
              <a:gd name="connsiteY5" fmla="*/ 7578 h 8744"/>
              <a:gd name="connsiteX6" fmla="*/ 19220 w 19240"/>
              <a:gd name="connsiteY6" fmla="*/ 3 h 8744"/>
              <a:gd name="connsiteX7" fmla="*/ 0 w 19240"/>
              <a:gd name="connsiteY7" fmla="*/ 32 h 8744"/>
              <a:gd name="connsiteX8" fmla="*/ 40 w 19240"/>
              <a:gd name="connsiteY8" fmla="*/ 8688 h 8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9241" h="8745">
                <a:moveTo>
                  <a:pt x="56" y="8688"/>
                </a:moveTo>
                <a:cubicBezTo>
                  <a:pt x="567" y="8509"/>
                  <a:pt x="1771" y="7775"/>
                  <a:pt x="3067" y="7787"/>
                </a:cubicBezTo>
                <a:cubicBezTo>
                  <a:pt x="4363" y="7799"/>
                  <a:pt x="5173" y="8524"/>
                  <a:pt x="6637" y="8656"/>
                </a:cubicBezTo>
                <a:cubicBezTo>
                  <a:pt x="8101" y="8788"/>
                  <a:pt x="8665" y="8812"/>
                  <a:pt x="10387" y="8446"/>
                </a:cubicBezTo>
                <a:cubicBezTo>
                  <a:pt x="12109" y="8081"/>
                  <a:pt x="13501" y="7007"/>
                  <a:pt x="15248" y="6827"/>
                </a:cubicBezTo>
                <a:cubicBezTo>
                  <a:pt x="16994" y="6647"/>
                  <a:pt x="19228" y="7573"/>
                  <a:pt x="19233" y="7578"/>
                </a:cubicBezTo>
                <a:cubicBezTo>
                  <a:pt x="19238" y="7583"/>
                  <a:pt x="19253" y="18"/>
                  <a:pt x="19220" y="3"/>
                </a:cubicBezTo>
                <a:cubicBezTo>
                  <a:pt x="19187" y="-12"/>
                  <a:pt x="-2" y="31"/>
                  <a:pt x="0" y="32"/>
                </a:cubicBezTo>
                <a:cubicBezTo>
                  <a:pt x="2" y="33"/>
                  <a:pt x="-4" y="6587"/>
                  <a:pt x="40" y="8688"/>
                </a:cubicBezTo>
              </a:path>
            </a:pathLst>
          </a:custGeom>
          <a:solidFill>
            <a:srgbClr val="A1E2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" name="任意多边形 4"/>
          <p:cNvSpPr/>
          <p:nvPr userDrawn="1"/>
        </p:nvSpPr>
        <p:spPr>
          <a:xfrm>
            <a:off x="-2" y="-50260"/>
            <a:ext cx="12217883" cy="5516990"/>
          </a:xfrm>
          <a:custGeom>
            <a:avLst/>
            <a:gdLst>
              <a:gd name="connsiteX0" fmla="*/ 56 w 19240"/>
              <a:gd name="connsiteY0" fmla="*/ 8688 h 8688"/>
              <a:gd name="connsiteX1" fmla="*/ 3099 w 19240"/>
              <a:gd name="connsiteY1" fmla="*/ 8072 h 8688"/>
              <a:gd name="connsiteX2" fmla="*/ 9337 w 19240"/>
              <a:gd name="connsiteY2" fmla="*/ 7810 h 8688"/>
              <a:gd name="connsiteX3" fmla="*/ 15609 w 19240"/>
              <a:gd name="connsiteY3" fmla="*/ 8104 h 8688"/>
              <a:gd name="connsiteX4" fmla="*/ 19233 w 19240"/>
              <a:gd name="connsiteY4" fmla="*/ 7578 h 8688"/>
              <a:gd name="connsiteX5" fmla="*/ 19220 w 19240"/>
              <a:gd name="connsiteY5" fmla="*/ 3 h 8688"/>
              <a:gd name="connsiteX6" fmla="*/ 0 w 19240"/>
              <a:gd name="connsiteY6" fmla="*/ 32 h 8688"/>
              <a:gd name="connsiteX7" fmla="*/ 40 w 19240"/>
              <a:gd name="connsiteY7" fmla="*/ 8688 h 86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241" h="8688">
                <a:moveTo>
                  <a:pt x="56" y="8688"/>
                </a:moveTo>
                <a:cubicBezTo>
                  <a:pt x="567" y="8509"/>
                  <a:pt x="1372" y="7844"/>
                  <a:pt x="3099" y="8072"/>
                </a:cubicBezTo>
                <a:cubicBezTo>
                  <a:pt x="4826" y="8300"/>
                  <a:pt x="7656" y="8924"/>
                  <a:pt x="9337" y="7810"/>
                </a:cubicBezTo>
                <a:cubicBezTo>
                  <a:pt x="11018" y="6696"/>
                  <a:pt x="13813" y="8173"/>
                  <a:pt x="15609" y="8104"/>
                </a:cubicBezTo>
                <a:cubicBezTo>
                  <a:pt x="17746" y="8014"/>
                  <a:pt x="19228" y="7573"/>
                  <a:pt x="19233" y="7578"/>
                </a:cubicBezTo>
                <a:cubicBezTo>
                  <a:pt x="19238" y="7583"/>
                  <a:pt x="19253" y="18"/>
                  <a:pt x="19220" y="3"/>
                </a:cubicBezTo>
                <a:cubicBezTo>
                  <a:pt x="19187" y="-12"/>
                  <a:pt x="-2" y="31"/>
                  <a:pt x="0" y="32"/>
                </a:cubicBezTo>
                <a:cubicBezTo>
                  <a:pt x="2" y="33"/>
                  <a:pt x="-4" y="6587"/>
                  <a:pt x="40" y="8688"/>
                </a:cubicBezTo>
              </a:path>
            </a:pathLst>
          </a:custGeom>
          <a:gradFill>
            <a:gsLst>
              <a:gs pos="51000">
                <a:srgbClr val="0789DF"/>
              </a:gs>
              <a:gs pos="0">
                <a:srgbClr val="095BC9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Freeform 113"/>
          <p:cNvSpPr>
            <a:spLocks noEditPoints="1"/>
          </p:cNvSpPr>
          <p:nvPr userDrawn="1"/>
        </p:nvSpPr>
        <p:spPr bwMode="auto">
          <a:xfrm>
            <a:off x="699662" y="751842"/>
            <a:ext cx="11069536" cy="5442156"/>
          </a:xfrm>
          <a:custGeom>
            <a:avLst/>
            <a:gdLst>
              <a:gd name="T0" fmla="*/ 1302 w 4832"/>
              <a:gd name="T1" fmla="*/ 472 h 2374"/>
              <a:gd name="T2" fmla="*/ 92 w 4832"/>
              <a:gd name="T3" fmla="*/ 600 h 2374"/>
              <a:gd name="T4" fmla="*/ 1495 w 4832"/>
              <a:gd name="T5" fmla="*/ 1292 h 2374"/>
              <a:gd name="T6" fmla="*/ 1140 w 4832"/>
              <a:gd name="T7" fmla="*/ 1152 h 2374"/>
              <a:gd name="T8" fmla="*/ 1388 w 4832"/>
              <a:gd name="T9" fmla="*/ 822 h 2374"/>
              <a:gd name="T10" fmla="*/ 1513 w 4832"/>
              <a:gd name="T11" fmla="*/ 658 h 2374"/>
              <a:gd name="T12" fmla="*/ 1510 w 4832"/>
              <a:gd name="T13" fmla="*/ 476 h 2374"/>
              <a:gd name="T14" fmla="*/ 1245 w 4832"/>
              <a:gd name="T15" fmla="*/ 556 h 2374"/>
              <a:gd name="T16" fmla="*/ 1284 w 4832"/>
              <a:gd name="T17" fmla="*/ 342 h 2374"/>
              <a:gd name="T18" fmla="*/ 1483 w 4832"/>
              <a:gd name="T19" fmla="*/ 457 h 2374"/>
              <a:gd name="T20" fmla="*/ 1210 w 4832"/>
              <a:gd name="T21" fmla="*/ 260 h 2374"/>
              <a:gd name="T22" fmla="*/ 1115 w 4832"/>
              <a:gd name="T23" fmla="*/ 248 h 2374"/>
              <a:gd name="T24" fmla="*/ 972 w 4832"/>
              <a:gd name="T25" fmla="*/ 264 h 2374"/>
              <a:gd name="T26" fmla="*/ 897 w 4832"/>
              <a:gd name="T27" fmla="*/ 188 h 2374"/>
              <a:gd name="T28" fmla="*/ 782 w 4832"/>
              <a:gd name="T29" fmla="*/ 326 h 2374"/>
              <a:gd name="T30" fmla="*/ 208 w 4832"/>
              <a:gd name="T31" fmla="*/ 312 h 2374"/>
              <a:gd name="T32" fmla="*/ 196 w 4832"/>
              <a:gd name="T33" fmla="*/ 519 h 2374"/>
              <a:gd name="T34" fmla="*/ 417 w 4832"/>
              <a:gd name="T35" fmla="*/ 484 h 2374"/>
              <a:gd name="T36" fmla="*/ 813 w 4832"/>
              <a:gd name="T37" fmla="*/ 1027 h 2374"/>
              <a:gd name="T38" fmla="*/ 1225 w 4832"/>
              <a:gd name="T39" fmla="*/ 1313 h 2374"/>
              <a:gd name="T40" fmla="*/ 1402 w 4832"/>
              <a:gd name="T41" fmla="*/ 1972 h 2374"/>
              <a:gd name="T42" fmla="*/ 1500 w 4832"/>
              <a:gd name="T43" fmla="*/ 2229 h 2374"/>
              <a:gd name="T44" fmla="*/ 1858 w 4832"/>
              <a:gd name="T45" fmla="*/ 1697 h 2374"/>
              <a:gd name="T46" fmla="*/ 1242 w 4832"/>
              <a:gd name="T47" fmla="*/ 708 h 2374"/>
              <a:gd name="T48" fmla="*/ 1197 w 4832"/>
              <a:gd name="T49" fmla="*/ 354 h 2374"/>
              <a:gd name="T50" fmla="*/ 1678 w 4832"/>
              <a:gd name="T51" fmla="*/ 1473 h 2374"/>
              <a:gd name="T52" fmla="*/ 4069 w 4832"/>
              <a:gd name="T53" fmla="*/ 1312 h 2374"/>
              <a:gd name="T54" fmla="*/ 4372 w 4832"/>
              <a:gd name="T55" fmla="*/ 1753 h 2374"/>
              <a:gd name="T56" fmla="*/ 4278 w 4832"/>
              <a:gd name="T57" fmla="*/ 1604 h 2374"/>
              <a:gd name="T58" fmla="*/ 3915 w 4832"/>
              <a:gd name="T59" fmla="*/ 1902 h 2374"/>
              <a:gd name="T60" fmla="*/ 4355 w 4832"/>
              <a:gd name="T61" fmla="*/ 2105 h 2374"/>
              <a:gd name="T62" fmla="*/ 4769 w 4832"/>
              <a:gd name="T63" fmla="*/ 2066 h 2374"/>
              <a:gd name="T64" fmla="*/ 2422 w 4832"/>
              <a:gd name="T65" fmla="*/ 804 h 2374"/>
              <a:gd name="T66" fmla="*/ 4823 w 4832"/>
              <a:gd name="T67" fmla="*/ 362 h 2374"/>
              <a:gd name="T68" fmla="*/ 4216 w 4832"/>
              <a:gd name="T69" fmla="*/ 296 h 2374"/>
              <a:gd name="T70" fmla="*/ 3529 w 4832"/>
              <a:gd name="T71" fmla="*/ 259 h 2374"/>
              <a:gd name="T72" fmla="*/ 3291 w 4832"/>
              <a:gd name="T73" fmla="*/ 342 h 2374"/>
              <a:gd name="T74" fmla="*/ 2474 w 4832"/>
              <a:gd name="T75" fmla="*/ 531 h 2374"/>
              <a:gd name="T76" fmla="*/ 2305 w 4832"/>
              <a:gd name="T77" fmla="*/ 617 h 2374"/>
              <a:gd name="T78" fmla="*/ 2144 w 4832"/>
              <a:gd name="T79" fmla="*/ 1215 h 2374"/>
              <a:gd name="T80" fmla="*/ 2625 w 4832"/>
              <a:gd name="T81" fmla="*/ 2014 h 2374"/>
              <a:gd name="T82" fmla="*/ 2980 w 4832"/>
              <a:gd name="T83" fmla="*/ 1294 h 2374"/>
              <a:gd name="T84" fmla="*/ 3319 w 4832"/>
              <a:gd name="T85" fmla="*/ 1093 h 2374"/>
              <a:gd name="T86" fmla="*/ 3704 w 4832"/>
              <a:gd name="T87" fmla="*/ 1197 h 2374"/>
              <a:gd name="T88" fmla="*/ 3889 w 4832"/>
              <a:gd name="T89" fmla="*/ 1144 h 2374"/>
              <a:gd name="T90" fmla="*/ 4171 w 4832"/>
              <a:gd name="T91" fmla="*/ 771 h 2374"/>
              <a:gd name="T92" fmla="*/ 4460 w 4832"/>
              <a:gd name="T93" fmla="*/ 517 h 2374"/>
              <a:gd name="T94" fmla="*/ 2804 w 4832"/>
              <a:gd name="T95" fmla="*/ 472 h 2374"/>
              <a:gd name="T96" fmla="*/ 2604 w 4832"/>
              <a:gd name="T97" fmla="*/ 555 h 2374"/>
              <a:gd name="T98" fmla="*/ 2520 w 4832"/>
              <a:gd name="T99" fmla="*/ 531 h 2374"/>
              <a:gd name="T100" fmla="*/ 2577 w 4832"/>
              <a:gd name="T101" fmla="*/ 935 h 2374"/>
              <a:gd name="T102" fmla="*/ 2607 w 4832"/>
              <a:gd name="T103" fmla="*/ 851 h 2374"/>
              <a:gd name="T104" fmla="*/ 2929 w 4832"/>
              <a:gd name="T105" fmla="*/ 1150 h 2374"/>
              <a:gd name="T106" fmla="*/ 3433 w 4832"/>
              <a:gd name="T107" fmla="*/ 335 h 2374"/>
              <a:gd name="T108" fmla="*/ 2048 w 4832"/>
              <a:gd name="T109" fmla="*/ 113 h 2374"/>
              <a:gd name="T110" fmla="*/ 1424 w 4832"/>
              <a:gd name="T111" fmla="*/ 188 h 2374"/>
              <a:gd name="T112" fmla="*/ 1778 w 4832"/>
              <a:gd name="T113" fmla="*/ 447 h 2374"/>
              <a:gd name="T114" fmla="*/ 1978 w 4832"/>
              <a:gd name="T115" fmla="*/ 315 h 2374"/>
              <a:gd name="T116" fmla="*/ 3020 w 4832"/>
              <a:gd name="T117" fmla="*/ 1881 h 2374"/>
              <a:gd name="T118" fmla="*/ 1328 w 4832"/>
              <a:gd name="T119" fmla="*/ 1167 h 2374"/>
              <a:gd name="T120" fmla="*/ 3863 w 4832"/>
              <a:gd name="T121" fmla="*/ 1594 h 2374"/>
              <a:gd name="T122" fmla="*/ 4308 w 4832"/>
              <a:gd name="T123" fmla="*/ 812 h 2374"/>
              <a:gd name="T124" fmla="*/ 3980 w 4832"/>
              <a:gd name="T125" fmla="*/ 1353 h 23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832" h="2374">
                <a:moveTo>
                  <a:pt x="3080" y="309"/>
                </a:moveTo>
                <a:cubicBezTo>
                  <a:pt x="3080" y="309"/>
                  <a:pt x="3080" y="309"/>
                  <a:pt x="3080" y="309"/>
                </a:cubicBezTo>
                <a:cubicBezTo>
                  <a:pt x="3088" y="312"/>
                  <a:pt x="3102" y="313"/>
                  <a:pt x="3113" y="320"/>
                </a:cubicBezTo>
                <a:cubicBezTo>
                  <a:pt x="3121" y="325"/>
                  <a:pt x="3131" y="328"/>
                  <a:pt x="3140" y="328"/>
                </a:cubicBezTo>
                <a:cubicBezTo>
                  <a:pt x="3140" y="328"/>
                  <a:pt x="3140" y="328"/>
                  <a:pt x="3140" y="328"/>
                </a:cubicBezTo>
                <a:cubicBezTo>
                  <a:pt x="3148" y="328"/>
                  <a:pt x="3155" y="326"/>
                  <a:pt x="3160" y="320"/>
                </a:cubicBezTo>
                <a:cubicBezTo>
                  <a:pt x="3163" y="316"/>
                  <a:pt x="3165" y="312"/>
                  <a:pt x="3165" y="307"/>
                </a:cubicBezTo>
                <a:cubicBezTo>
                  <a:pt x="3165" y="303"/>
                  <a:pt x="3163" y="299"/>
                  <a:pt x="3161" y="295"/>
                </a:cubicBezTo>
                <a:cubicBezTo>
                  <a:pt x="3159" y="292"/>
                  <a:pt x="3156" y="289"/>
                  <a:pt x="3152" y="288"/>
                </a:cubicBezTo>
                <a:cubicBezTo>
                  <a:pt x="3152" y="288"/>
                  <a:pt x="3152" y="288"/>
                  <a:pt x="3152" y="288"/>
                </a:cubicBezTo>
                <a:cubicBezTo>
                  <a:pt x="3152" y="287"/>
                  <a:pt x="3152" y="287"/>
                  <a:pt x="3152" y="286"/>
                </a:cubicBezTo>
                <a:cubicBezTo>
                  <a:pt x="3152" y="285"/>
                  <a:pt x="3153" y="281"/>
                  <a:pt x="3160" y="277"/>
                </a:cubicBezTo>
                <a:cubicBezTo>
                  <a:pt x="3175" y="267"/>
                  <a:pt x="3191" y="255"/>
                  <a:pt x="3206" y="253"/>
                </a:cubicBezTo>
                <a:cubicBezTo>
                  <a:pt x="3215" y="251"/>
                  <a:pt x="3231" y="250"/>
                  <a:pt x="3245" y="250"/>
                </a:cubicBezTo>
                <a:cubicBezTo>
                  <a:pt x="3257" y="250"/>
                  <a:pt x="3269" y="251"/>
                  <a:pt x="3273" y="253"/>
                </a:cubicBezTo>
                <a:cubicBezTo>
                  <a:pt x="3275" y="253"/>
                  <a:pt x="3277" y="253"/>
                  <a:pt x="3279" y="253"/>
                </a:cubicBezTo>
                <a:cubicBezTo>
                  <a:pt x="3288" y="253"/>
                  <a:pt x="3297" y="247"/>
                  <a:pt x="3304" y="241"/>
                </a:cubicBezTo>
                <a:cubicBezTo>
                  <a:pt x="3312" y="235"/>
                  <a:pt x="3318" y="228"/>
                  <a:pt x="3321" y="222"/>
                </a:cubicBezTo>
                <a:cubicBezTo>
                  <a:pt x="3322" y="220"/>
                  <a:pt x="3322" y="218"/>
                  <a:pt x="3322" y="216"/>
                </a:cubicBezTo>
                <a:cubicBezTo>
                  <a:pt x="3322" y="211"/>
                  <a:pt x="3319" y="207"/>
                  <a:pt x="3315" y="205"/>
                </a:cubicBezTo>
                <a:cubicBezTo>
                  <a:pt x="3311" y="203"/>
                  <a:pt x="3307" y="202"/>
                  <a:pt x="3302" y="202"/>
                </a:cubicBezTo>
                <a:cubicBezTo>
                  <a:pt x="3296" y="202"/>
                  <a:pt x="3289" y="204"/>
                  <a:pt x="3285" y="210"/>
                </a:cubicBezTo>
                <a:cubicBezTo>
                  <a:pt x="3285" y="213"/>
                  <a:pt x="3274" y="216"/>
                  <a:pt x="3263" y="216"/>
                </a:cubicBezTo>
                <a:cubicBezTo>
                  <a:pt x="3255" y="216"/>
                  <a:pt x="3247" y="214"/>
                  <a:pt x="3245" y="214"/>
                </a:cubicBezTo>
                <a:cubicBezTo>
                  <a:pt x="3243" y="213"/>
                  <a:pt x="3242" y="213"/>
                  <a:pt x="3240" y="213"/>
                </a:cubicBezTo>
                <a:cubicBezTo>
                  <a:pt x="3232" y="213"/>
                  <a:pt x="3217" y="216"/>
                  <a:pt x="3202" y="218"/>
                </a:cubicBezTo>
                <a:cubicBezTo>
                  <a:pt x="3188" y="221"/>
                  <a:pt x="3173" y="224"/>
                  <a:pt x="3169" y="224"/>
                </a:cubicBezTo>
                <a:cubicBezTo>
                  <a:pt x="3160" y="224"/>
                  <a:pt x="3155" y="230"/>
                  <a:pt x="3151" y="235"/>
                </a:cubicBezTo>
                <a:cubicBezTo>
                  <a:pt x="3146" y="241"/>
                  <a:pt x="3141" y="246"/>
                  <a:pt x="3134" y="250"/>
                </a:cubicBezTo>
                <a:cubicBezTo>
                  <a:pt x="3118" y="258"/>
                  <a:pt x="3096" y="270"/>
                  <a:pt x="3088" y="274"/>
                </a:cubicBezTo>
                <a:cubicBezTo>
                  <a:pt x="3080" y="279"/>
                  <a:pt x="3074" y="289"/>
                  <a:pt x="3073" y="299"/>
                </a:cubicBezTo>
                <a:cubicBezTo>
                  <a:pt x="3073" y="302"/>
                  <a:pt x="3075" y="307"/>
                  <a:pt x="3080" y="309"/>
                </a:cubicBezTo>
                <a:close/>
                <a:moveTo>
                  <a:pt x="969" y="199"/>
                </a:moveTo>
                <a:cubicBezTo>
                  <a:pt x="977" y="199"/>
                  <a:pt x="989" y="196"/>
                  <a:pt x="995" y="196"/>
                </a:cubicBezTo>
                <a:cubicBezTo>
                  <a:pt x="995" y="196"/>
                  <a:pt x="995" y="196"/>
                  <a:pt x="995" y="196"/>
                </a:cubicBezTo>
                <a:cubicBezTo>
                  <a:pt x="995" y="200"/>
                  <a:pt x="995" y="199"/>
                  <a:pt x="996" y="201"/>
                </a:cubicBezTo>
                <a:cubicBezTo>
                  <a:pt x="999" y="206"/>
                  <a:pt x="1003" y="208"/>
                  <a:pt x="1009" y="209"/>
                </a:cubicBezTo>
                <a:cubicBezTo>
                  <a:pt x="1019" y="210"/>
                  <a:pt x="1024" y="213"/>
                  <a:pt x="1031" y="213"/>
                </a:cubicBezTo>
                <a:cubicBezTo>
                  <a:pt x="1031" y="213"/>
                  <a:pt x="1032" y="213"/>
                  <a:pt x="1032" y="213"/>
                </a:cubicBezTo>
                <a:cubicBezTo>
                  <a:pt x="1035" y="213"/>
                  <a:pt x="1038" y="211"/>
                  <a:pt x="1039" y="209"/>
                </a:cubicBezTo>
                <a:cubicBezTo>
                  <a:pt x="1041" y="206"/>
                  <a:pt x="1041" y="204"/>
                  <a:pt x="1041" y="202"/>
                </a:cubicBezTo>
                <a:cubicBezTo>
                  <a:pt x="1041" y="195"/>
                  <a:pt x="1039" y="189"/>
                  <a:pt x="1035" y="183"/>
                </a:cubicBezTo>
                <a:cubicBezTo>
                  <a:pt x="1032" y="179"/>
                  <a:pt x="1031" y="177"/>
                  <a:pt x="1028" y="174"/>
                </a:cubicBezTo>
                <a:cubicBezTo>
                  <a:pt x="1024" y="172"/>
                  <a:pt x="1021" y="171"/>
                  <a:pt x="1014" y="169"/>
                </a:cubicBezTo>
                <a:cubicBezTo>
                  <a:pt x="1004" y="165"/>
                  <a:pt x="994" y="164"/>
                  <a:pt x="985" y="164"/>
                </a:cubicBezTo>
                <a:cubicBezTo>
                  <a:pt x="981" y="164"/>
                  <a:pt x="978" y="165"/>
                  <a:pt x="975" y="165"/>
                </a:cubicBezTo>
                <a:cubicBezTo>
                  <a:pt x="971" y="165"/>
                  <a:pt x="966" y="165"/>
                  <a:pt x="960" y="166"/>
                </a:cubicBezTo>
                <a:cubicBezTo>
                  <a:pt x="955" y="167"/>
                  <a:pt x="949" y="173"/>
                  <a:pt x="948" y="181"/>
                </a:cubicBezTo>
                <a:cubicBezTo>
                  <a:pt x="948" y="182"/>
                  <a:pt x="948" y="182"/>
                  <a:pt x="948" y="183"/>
                </a:cubicBezTo>
                <a:cubicBezTo>
                  <a:pt x="948" y="194"/>
                  <a:pt x="959" y="199"/>
                  <a:pt x="969" y="199"/>
                </a:cubicBezTo>
                <a:close/>
                <a:moveTo>
                  <a:pt x="1296" y="449"/>
                </a:moveTo>
                <a:cubicBezTo>
                  <a:pt x="1294" y="449"/>
                  <a:pt x="1292" y="449"/>
                  <a:pt x="1290" y="450"/>
                </a:cubicBezTo>
                <a:cubicBezTo>
                  <a:pt x="1290" y="450"/>
                  <a:pt x="1290" y="450"/>
                  <a:pt x="1290" y="450"/>
                </a:cubicBezTo>
                <a:cubicBezTo>
                  <a:pt x="1285" y="452"/>
                  <a:pt x="1281" y="455"/>
                  <a:pt x="1281" y="461"/>
                </a:cubicBezTo>
                <a:cubicBezTo>
                  <a:pt x="1282" y="470"/>
                  <a:pt x="1289" y="473"/>
                  <a:pt x="1296" y="474"/>
                </a:cubicBezTo>
                <a:cubicBezTo>
                  <a:pt x="1298" y="474"/>
                  <a:pt x="1300" y="473"/>
                  <a:pt x="1302" y="472"/>
                </a:cubicBezTo>
                <a:cubicBezTo>
                  <a:pt x="1306" y="470"/>
                  <a:pt x="1309" y="466"/>
                  <a:pt x="1309" y="461"/>
                </a:cubicBezTo>
                <a:cubicBezTo>
                  <a:pt x="1309" y="458"/>
                  <a:pt x="1308" y="455"/>
                  <a:pt x="1305" y="452"/>
                </a:cubicBezTo>
                <a:cubicBezTo>
                  <a:pt x="1303" y="450"/>
                  <a:pt x="1300" y="449"/>
                  <a:pt x="1296" y="449"/>
                </a:cubicBezTo>
                <a:close/>
                <a:moveTo>
                  <a:pt x="1480" y="1152"/>
                </a:moveTo>
                <a:cubicBezTo>
                  <a:pt x="1480" y="1152"/>
                  <a:pt x="1480" y="1152"/>
                  <a:pt x="1480" y="1152"/>
                </a:cubicBezTo>
                <a:cubicBezTo>
                  <a:pt x="1480" y="1152"/>
                  <a:pt x="1480" y="1152"/>
                  <a:pt x="1480" y="1152"/>
                </a:cubicBezTo>
                <a:cubicBezTo>
                  <a:pt x="1471" y="1152"/>
                  <a:pt x="1469" y="1162"/>
                  <a:pt x="1469" y="1169"/>
                </a:cubicBezTo>
                <a:cubicBezTo>
                  <a:pt x="1469" y="1173"/>
                  <a:pt x="1470" y="1177"/>
                  <a:pt x="1472" y="1181"/>
                </a:cubicBezTo>
                <a:cubicBezTo>
                  <a:pt x="1474" y="1184"/>
                  <a:pt x="1478" y="1188"/>
                  <a:pt x="1483" y="1188"/>
                </a:cubicBezTo>
                <a:cubicBezTo>
                  <a:pt x="1483" y="1188"/>
                  <a:pt x="1483" y="1188"/>
                  <a:pt x="1483" y="1188"/>
                </a:cubicBezTo>
                <a:cubicBezTo>
                  <a:pt x="1485" y="1188"/>
                  <a:pt x="1486" y="1187"/>
                  <a:pt x="1488" y="1186"/>
                </a:cubicBezTo>
                <a:cubicBezTo>
                  <a:pt x="1495" y="1184"/>
                  <a:pt x="1499" y="1176"/>
                  <a:pt x="1499" y="1170"/>
                </a:cubicBezTo>
                <a:cubicBezTo>
                  <a:pt x="1499" y="1162"/>
                  <a:pt x="1494" y="1152"/>
                  <a:pt x="1483" y="1152"/>
                </a:cubicBezTo>
                <a:cubicBezTo>
                  <a:pt x="1482" y="1152"/>
                  <a:pt x="1481" y="1152"/>
                  <a:pt x="1480" y="1152"/>
                </a:cubicBezTo>
                <a:cubicBezTo>
                  <a:pt x="1480" y="1152"/>
                  <a:pt x="1480" y="1152"/>
                  <a:pt x="1480" y="1152"/>
                </a:cubicBezTo>
                <a:cubicBezTo>
                  <a:pt x="1480" y="1152"/>
                  <a:pt x="1480" y="1152"/>
                  <a:pt x="1480" y="1152"/>
                </a:cubicBezTo>
                <a:close/>
                <a:moveTo>
                  <a:pt x="54" y="612"/>
                </a:moveTo>
                <a:cubicBezTo>
                  <a:pt x="51" y="611"/>
                  <a:pt x="38" y="605"/>
                  <a:pt x="38" y="605"/>
                </a:cubicBezTo>
                <a:cubicBezTo>
                  <a:pt x="37" y="605"/>
                  <a:pt x="37" y="605"/>
                  <a:pt x="37" y="605"/>
                </a:cubicBezTo>
                <a:cubicBezTo>
                  <a:pt x="33" y="604"/>
                  <a:pt x="30" y="604"/>
                  <a:pt x="26" y="604"/>
                </a:cubicBezTo>
                <a:cubicBezTo>
                  <a:pt x="21" y="604"/>
                  <a:pt x="16" y="605"/>
                  <a:pt x="12" y="606"/>
                </a:cubicBezTo>
                <a:cubicBezTo>
                  <a:pt x="7" y="607"/>
                  <a:pt x="3" y="609"/>
                  <a:pt x="0" y="614"/>
                </a:cubicBezTo>
                <a:cubicBezTo>
                  <a:pt x="0" y="615"/>
                  <a:pt x="0" y="616"/>
                  <a:pt x="0" y="617"/>
                </a:cubicBezTo>
                <a:cubicBezTo>
                  <a:pt x="0" y="622"/>
                  <a:pt x="2" y="624"/>
                  <a:pt x="4" y="626"/>
                </a:cubicBezTo>
                <a:cubicBezTo>
                  <a:pt x="11" y="630"/>
                  <a:pt x="20" y="632"/>
                  <a:pt x="28" y="632"/>
                </a:cubicBezTo>
                <a:cubicBezTo>
                  <a:pt x="33" y="632"/>
                  <a:pt x="40" y="630"/>
                  <a:pt x="45" y="628"/>
                </a:cubicBezTo>
                <a:cubicBezTo>
                  <a:pt x="48" y="627"/>
                  <a:pt x="50" y="627"/>
                  <a:pt x="53" y="626"/>
                </a:cubicBezTo>
                <a:cubicBezTo>
                  <a:pt x="54" y="625"/>
                  <a:pt x="54" y="624"/>
                  <a:pt x="55" y="624"/>
                </a:cubicBezTo>
                <a:cubicBezTo>
                  <a:pt x="56" y="623"/>
                  <a:pt x="58" y="622"/>
                  <a:pt x="59" y="618"/>
                </a:cubicBezTo>
                <a:cubicBezTo>
                  <a:pt x="59" y="614"/>
                  <a:pt x="55" y="612"/>
                  <a:pt x="54" y="612"/>
                </a:cubicBezTo>
                <a:close/>
                <a:moveTo>
                  <a:pt x="1421" y="1133"/>
                </a:moveTo>
                <a:cubicBezTo>
                  <a:pt x="1413" y="1133"/>
                  <a:pt x="1406" y="1135"/>
                  <a:pt x="1402" y="1135"/>
                </a:cubicBezTo>
                <a:cubicBezTo>
                  <a:pt x="1395" y="1137"/>
                  <a:pt x="1389" y="1143"/>
                  <a:pt x="1383" y="1148"/>
                </a:cubicBezTo>
                <a:cubicBezTo>
                  <a:pt x="1377" y="1154"/>
                  <a:pt x="1372" y="1159"/>
                  <a:pt x="1372" y="1159"/>
                </a:cubicBezTo>
                <a:cubicBezTo>
                  <a:pt x="1371" y="1161"/>
                  <a:pt x="1370" y="1163"/>
                  <a:pt x="1371" y="1165"/>
                </a:cubicBezTo>
                <a:cubicBezTo>
                  <a:pt x="1371" y="1167"/>
                  <a:pt x="1373" y="1169"/>
                  <a:pt x="1375" y="1169"/>
                </a:cubicBezTo>
                <a:cubicBezTo>
                  <a:pt x="1376" y="1169"/>
                  <a:pt x="1388" y="1172"/>
                  <a:pt x="1397" y="1172"/>
                </a:cubicBezTo>
                <a:cubicBezTo>
                  <a:pt x="1402" y="1172"/>
                  <a:pt x="1406" y="1176"/>
                  <a:pt x="1414" y="1181"/>
                </a:cubicBezTo>
                <a:cubicBezTo>
                  <a:pt x="1416" y="1182"/>
                  <a:pt x="1419" y="1183"/>
                  <a:pt x="1421" y="1183"/>
                </a:cubicBezTo>
                <a:cubicBezTo>
                  <a:pt x="1426" y="1183"/>
                  <a:pt x="1431" y="1181"/>
                  <a:pt x="1435" y="1179"/>
                </a:cubicBezTo>
                <a:cubicBezTo>
                  <a:pt x="1437" y="1178"/>
                  <a:pt x="1438" y="1178"/>
                  <a:pt x="1440" y="1177"/>
                </a:cubicBezTo>
                <a:cubicBezTo>
                  <a:pt x="1440" y="1177"/>
                  <a:pt x="1440" y="1177"/>
                  <a:pt x="1440" y="1177"/>
                </a:cubicBezTo>
                <a:cubicBezTo>
                  <a:pt x="1441" y="1177"/>
                  <a:pt x="1441" y="1178"/>
                  <a:pt x="1442" y="1179"/>
                </a:cubicBezTo>
                <a:cubicBezTo>
                  <a:pt x="1444" y="1180"/>
                  <a:pt x="1444" y="1183"/>
                  <a:pt x="1450" y="1183"/>
                </a:cubicBezTo>
                <a:cubicBezTo>
                  <a:pt x="1454" y="1183"/>
                  <a:pt x="1457" y="1179"/>
                  <a:pt x="1457" y="1178"/>
                </a:cubicBezTo>
                <a:cubicBezTo>
                  <a:pt x="1458" y="1175"/>
                  <a:pt x="1458" y="1173"/>
                  <a:pt x="1459" y="1169"/>
                </a:cubicBezTo>
                <a:cubicBezTo>
                  <a:pt x="1459" y="1169"/>
                  <a:pt x="1459" y="1168"/>
                  <a:pt x="1459" y="1167"/>
                </a:cubicBezTo>
                <a:cubicBezTo>
                  <a:pt x="1458" y="1146"/>
                  <a:pt x="1441" y="1137"/>
                  <a:pt x="1431" y="1134"/>
                </a:cubicBezTo>
                <a:cubicBezTo>
                  <a:pt x="1428" y="1133"/>
                  <a:pt x="1424" y="1133"/>
                  <a:pt x="1421" y="1133"/>
                </a:cubicBezTo>
                <a:close/>
                <a:moveTo>
                  <a:pt x="128" y="575"/>
                </a:moveTo>
                <a:cubicBezTo>
                  <a:pt x="128" y="575"/>
                  <a:pt x="128" y="575"/>
                  <a:pt x="128" y="575"/>
                </a:cubicBezTo>
                <a:cubicBezTo>
                  <a:pt x="124" y="574"/>
                  <a:pt x="124" y="574"/>
                  <a:pt x="122" y="574"/>
                </a:cubicBezTo>
                <a:cubicBezTo>
                  <a:pt x="118" y="573"/>
                  <a:pt x="114" y="577"/>
                  <a:pt x="113" y="580"/>
                </a:cubicBezTo>
                <a:cubicBezTo>
                  <a:pt x="111" y="584"/>
                  <a:pt x="110" y="588"/>
                  <a:pt x="109" y="591"/>
                </a:cubicBezTo>
                <a:cubicBezTo>
                  <a:pt x="108" y="594"/>
                  <a:pt x="107" y="595"/>
                  <a:pt x="106" y="595"/>
                </a:cubicBezTo>
                <a:cubicBezTo>
                  <a:pt x="101" y="596"/>
                  <a:pt x="96" y="598"/>
                  <a:pt x="92" y="600"/>
                </a:cubicBezTo>
                <a:cubicBezTo>
                  <a:pt x="90" y="601"/>
                  <a:pt x="88" y="602"/>
                  <a:pt x="86" y="604"/>
                </a:cubicBezTo>
                <a:cubicBezTo>
                  <a:pt x="85" y="605"/>
                  <a:pt x="82" y="607"/>
                  <a:pt x="82" y="611"/>
                </a:cubicBezTo>
                <a:cubicBezTo>
                  <a:pt x="82" y="613"/>
                  <a:pt x="84" y="616"/>
                  <a:pt x="85" y="617"/>
                </a:cubicBezTo>
                <a:cubicBezTo>
                  <a:pt x="87" y="618"/>
                  <a:pt x="88" y="619"/>
                  <a:pt x="89" y="619"/>
                </a:cubicBezTo>
                <a:cubicBezTo>
                  <a:pt x="92" y="620"/>
                  <a:pt x="96" y="620"/>
                  <a:pt x="99" y="620"/>
                </a:cubicBezTo>
                <a:cubicBezTo>
                  <a:pt x="104" y="620"/>
                  <a:pt x="110" y="620"/>
                  <a:pt x="116" y="618"/>
                </a:cubicBezTo>
                <a:cubicBezTo>
                  <a:pt x="121" y="616"/>
                  <a:pt x="125" y="616"/>
                  <a:pt x="129" y="611"/>
                </a:cubicBezTo>
                <a:cubicBezTo>
                  <a:pt x="130" y="608"/>
                  <a:pt x="131" y="605"/>
                  <a:pt x="131" y="601"/>
                </a:cubicBezTo>
                <a:cubicBezTo>
                  <a:pt x="132" y="597"/>
                  <a:pt x="132" y="592"/>
                  <a:pt x="132" y="588"/>
                </a:cubicBezTo>
                <a:cubicBezTo>
                  <a:pt x="132" y="586"/>
                  <a:pt x="133" y="584"/>
                  <a:pt x="132" y="582"/>
                </a:cubicBezTo>
                <a:cubicBezTo>
                  <a:pt x="132" y="580"/>
                  <a:pt x="132" y="577"/>
                  <a:pt x="128" y="575"/>
                </a:cubicBezTo>
                <a:close/>
                <a:moveTo>
                  <a:pt x="1894" y="1537"/>
                </a:moveTo>
                <a:cubicBezTo>
                  <a:pt x="1894" y="1537"/>
                  <a:pt x="1894" y="1537"/>
                  <a:pt x="1894" y="1537"/>
                </a:cubicBezTo>
                <a:cubicBezTo>
                  <a:pt x="1884" y="1532"/>
                  <a:pt x="1868" y="1530"/>
                  <a:pt x="1864" y="1523"/>
                </a:cubicBezTo>
                <a:cubicBezTo>
                  <a:pt x="1860" y="1517"/>
                  <a:pt x="1854" y="1511"/>
                  <a:pt x="1847" y="1507"/>
                </a:cubicBezTo>
                <a:cubicBezTo>
                  <a:pt x="1841" y="1503"/>
                  <a:pt x="1834" y="1500"/>
                  <a:pt x="1828" y="1500"/>
                </a:cubicBezTo>
                <a:cubicBezTo>
                  <a:pt x="1826" y="1500"/>
                  <a:pt x="1825" y="1500"/>
                  <a:pt x="1823" y="1501"/>
                </a:cubicBezTo>
                <a:cubicBezTo>
                  <a:pt x="1820" y="1502"/>
                  <a:pt x="1816" y="1504"/>
                  <a:pt x="1811" y="1504"/>
                </a:cubicBezTo>
                <a:cubicBezTo>
                  <a:pt x="1808" y="1504"/>
                  <a:pt x="1804" y="1503"/>
                  <a:pt x="1801" y="1500"/>
                </a:cubicBezTo>
                <a:cubicBezTo>
                  <a:pt x="1792" y="1493"/>
                  <a:pt x="1777" y="1485"/>
                  <a:pt x="1772" y="1480"/>
                </a:cubicBezTo>
                <a:cubicBezTo>
                  <a:pt x="1764" y="1473"/>
                  <a:pt x="1749" y="1469"/>
                  <a:pt x="1740" y="1469"/>
                </a:cubicBezTo>
                <a:cubicBezTo>
                  <a:pt x="1739" y="1469"/>
                  <a:pt x="1739" y="1468"/>
                  <a:pt x="1734" y="1468"/>
                </a:cubicBezTo>
                <a:cubicBezTo>
                  <a:pt x="1732" y="1468"/>
                  <a:pt x="1730" y="1469"/>
                  <a:pt x="1728" y="1470"/>
                </a:cubicBezTo>
                <a:cubicBezTo>
                  <a:pt x="1728" y="1466"/>
                  <a:pt x="1726" y="1463"/>
                  <a:pt x="1723" y="1460"/>
                </a:cubicBezTo>
                <a:cubicBezTo>
                  <a:pt x="1720" y="1457"/>
                  <a:pt x="1715" y="1456"/>
                  <a:pt x="1711" y="1456"/>
                </a:cubicBezTo>
                <a:cubicBezTo>
                  <a:pt x="1711" y="1456"/>
                  <a:pt x="1710" y="1456"/>
                  <a:pt x="1710" y="1456"/>
                </a:cubicBezTo>
                <a:cubicBezTo>
                  <a:pt x="1712" y="1453"/>
                  <a:pt x="1715" y="1451"/>
                  <a:pt x="1715" y="1446"/>
                </a:cubicBezTo>
                <a:cubicBezTo>
                  <a:pt x="1715" y="1442"/>
                  <a:pt x="1715" y="1437"/>
                  <a:pt x="1712" y="1431"/>
                </a:cubicBezTo>
                <a:cubicBezTo>
                  <a:pt x="1711" y="1426"/>
                  <a:pt x="1706" y="1419"/>
                  <a:pt x="1698" y="1419"/>
                </a:cubicBezTo>
                <a:cubicBezTo>
                  <a:pt x="1697" y="1419"/>
                  <a:pt x="1697" y="1419"/>
                  <a:pt x="1697" y="1419"/>
                </a:cubicBezTo>
                <a:cubicBezTo>
                  <a:pt x="1697" y="1419"/>
                  <a:pt x="1697" y="1419"/>
                  <a:pt x="1697" y="1419"/>
                </a:cubicBezTo>
                <a:cubicBezTo>
                  <a:pt x="1695" y="1417"/>
                  <a:pt x="1693" y="1404"/>
                  <a:pt x="1682" y="1390"/>
                </a:cubicBezTo>
                <a:cubicBezTo>
                  <a:pt x="1669" y="1373"/>
                  <a:pt x="1653" y="1361"/>
                  <a:pt x="1636" y="1361"/>
                </a:cubicBezTo>
                <a:cubicBezTo>
                  <a:pt x="1635" y="1361"/>
                  <a:pt x="1633" y="1361"/>
                  <a:pt x="1631" y="1362"/>
                </a:cubicBezTo>
                <a:cubicBezTo>
                  <a:pt x="1625" y="1363"/>
                  <a:pt x="1619" y="1364"/>
                  <a:pt x="1616" y="1364"/>
                </a:cubicBezTo>
                <a:cubicBezTo>
                  <a:pt x="1612" y="1364"/>
                  <a:pt x="1610" y="1364"/>
                  <a:pt x="1606" y="1357"/>
                </a:cubicBezTo>
                <a:cubicBezTo>
                  <a:pt x="1599" y="1340"/>
                  <a:pt x="1590" y="1336"/>
                  <a:pt x="1587" y="1330"/>
                </a:cubicBezTo>
                <a:cubicBezTo>
                  <a:pt x="1584" y="1325"/>
                  <a:pt x="1578" y="1323"/>
                  <a:pt x="1574" y="1323"/>
                </a:cubicBezTo>
                <a:cubicBezTo>
                  <a:pt x="1570" y="1323"/>
                  <a:pt x="1567" y="1324"/>
                  <a:pt x="1566" y="1324"/>
                </a:cubicBezTo>
                <a:cubicBezTo>
                  <a:pt x="1563" y="1321"/>
                  <a:pt x="1563" y="1321"/>
                  <a:pt x="1563" y="1321"/>
                </a:cubicBezTo>
                <a:cubicBezTo>
                  <a:pt x="1562" y="1319"/>
                  <a:pt x="1559" y="1318"/>
                  <a:pt x="1557" y="1319"/>
                </a:cubicBezTo>
                <a:cubicBezTo>
                  <a:pt x="1564" y="1308"/>
                  <a:pt x="1567" y="1294"/>
                  <a:pt x="1567" y="1285"/>
                </a:cubicBezTo>
                <a:cubicBezTo>
                  <a:pt x="1567" y="1284"/>
                  <a:pt x="1567" y="1283"/>
                  <a:pt x="1566" y="1281"/>
                </a:cubicBezTo>
                <a:cubicBezTo>
                  <a:pt x="1566" y="1280"/>
                  <a:pt x="1566" y="1279"/>
                  <a:pt x="1565" y="1278"/>
                </a:cubicBezTo>
                <a:cubicBezTo>
                  <a:pt x="1564" y="1277"/>
                  <a:pt x="1562" y="1276"/>
                  <a:pt x="1560" y="1276"/>
                </a:cubicBezTo>
                <a:cubicBezTo>
                  <a:pt x="1559" y="1276"/>
                  <a:pt x="1558" y="1276"/>
                  <a:pt x="1557" y="1277"/>
                </a:cubicBezTo>
                <a:cubicBezTo>
                  <a:pt x="1557" y="1277"/>
                  <a:pt x="1557" y="1277"/>
                  <a:pt x="1557" y="1277"/>
                </a:cubicBezTo>
                <a:cubicBezTo>
                  <a:pt x="1553" y="1279"/>
                  <a:pt x="1553" y="1281"/>
                  <a:pt x="1551" y="1283"/>
                </a:cubicBezTo>
                <a:cubicBezTo>
                  <a:pt x="1550" y="1286"/>
                  <a:pt x="1548" y="1290"/>
                  <a:pt x="1546" y="1292"/>
                </a:cubicBezTo>
                <a:cubicBezTo>
                  <a:pt x="1546" y="1293"/>
                  <a:pt x="1545" y="1293"/>
                  <a:pt x="1545" y="1294"/>
                </a:cubicBezTo>
                <a:cubicBezTo>
                  <a:pt x="1544" y="1291"/>
                  <a:pt x="1541" y="1288"/>
                  <a:pt x="1535" y="1284"/>
                </a:cubicBezTo>
                <a:cubicBezTo>
                  <a:pt x="1530" y="1280"/>
                  <a:pt x="1525" y="1279"/>
                  <a:pt x="1519" y="1279"/>
                </a:cubicBezTo>
                <a:cubicBezTo>
                  <a:pt x="1514" y="1279"/>
                  <a:pt x="1509" y="1280"/>
                  <a:pt x="1504" y="1283"/>
                </a:cubicBezTo>
                <a:cubicBezTo>
                  <a:pt x="1500" y="1285"/>
                  <a:pt x="1496" y="1288"/>
                  <a:pt x="1496" y="1294"/>
                </a:cubicBezTo>
                <a:cubicBezTo>
                  <a:pt x="1496" y="1294"/>
                  <a:pt x="1496" y="1294"/>
                  <a:pt x="1496" y="1294"/>
                </a:cubicBezTo>
                <a:cubicBezTo>
                  <a:pt x="1496" y="1294"/>
                  <a:pt x="1495" y="1293"/>
                  <a:pt x="1495" y="1292"/>
                </a:cubicBezTo>
                <a:cubicBezTo>
                  <a:pt x="1491" y="1284"/>
                  <a:pt x="1483" y="1281"/>
                  <a:pt x="1476" y="1281"/>
                </a:cubicBezTo>
                <a:cubicBezTo>
                  <a:pt x="1470" y="1281"/>
                  <a:pt x="1464" y="1283"/>
                  <a:pt x="1459" y="1287"/>
                </a:cubicBezTo>
                <a:cubicBezTo>
                  <a:pt x="1458" y="1285"/>
                  <a:pt x="1456" y="1282"/>
                  <a:pt x="1455" y="1279"/>
                </a:cubicBezTo>
                <a:cubicBezTo>
                  <a:pt x="1454" y="1276"/>
                  <a:pt x="1453" y="1274"/>
                  <a:pt x="1452" y="1272"/>
                </a:cubicBezTo>
                <a:cubicBezTo>
                  <a:pt x="1450" y="1270"/>
                  <a:pt x="1449" y="1267"/>
                  <a:pt x="1443" y="1266"/>
                </a:cubicBezTo>
                <a:cubicBezTo>
                  <a:pt x="1434" y="1267"/>
                  <a:pt x="1422" y="1275"/>
                  <a:pt x="1415" y="1289"/>
                </a:cubicBezTo>
                <a:cubicBezTo>
                  <a:pt x="1414" y="1290"/>
                  <a:pt x="1414" y="1292"/>
                  <a:pt x="1413" y="1293"/>
                </a:cubicBezTo>
                <a:cubicBezTo>
                  <a:pt x="1413" y="1291"/>
                  <a:pt x="1413" y="1289"/>
                  <a:pt x="1414" y="1288"/>
                </a:cubicBezTo>
                <a:cubicBezTo>
                  <a:pt x="1414" y="1287"/>
                  <a:pt x="1415" y="1283"/>
                  <a:pt x="1417" y="1280"/>
                </a:cubicBezTo>
                <a:cubicBezTo>
                  <a:pt x="1419" y="1276"/>
                  <a:pt x="1421" y="1272"/>
                  <a:pt x="1422" y="1267"/>
                </a:cubicBezTo>
                <a:cubicBezTo>
                  <a:pt x="1422" y="1263"/>
                  <a:pt x="1418" y="1258"/>
                  <a:pt x="1414" y="1257"/>
                </a:cubicBezTo>
                <a:cubicBezTo>
                  <a:pt x="1413" y="1257"/>
                  <a:pt x="1411" y="1256"/>
                  <a:pt x="1410" y="1256"/>
                </a:cubicBezTo>
                <a:cubicBezTo>
                  <a:pt x="1402" y="1257"/>
                  <a:pt x="1397" y="1261"/>
                  <a:pt x="1392" y="1265"/>
                </a:cubicBezTo>
                <a:cubicBezTo>
                  <a:pt x="1389" y="1267"/>
                  <a:pt x="1387" y="1269"/>
                  <a:pt x="1385" y="1270"/>
                </a:cubicBezTo>
                <a:cubicBezTo>
                  <a:pt x="1384" y="1271"/>
                  <a:pt x="1383" y="1271"/>
                  <a:pt x="1383" y="1272"/>
                </a:cubicBezTo>
                <a:cubicBezTo>
                  <a:pt x="1382" y="1272"/>
                  <a:pt x="1382" y="1272"/>
                  <a:pt x="1382" y="1272"/>
                </a:cubicBezTo>
                <a:cubicBezTo>
                  <a:pt x="1382" y="1272"/>
                  <a:pt x="1382" y="1272"/>
                  <a:pt x="1382" y="1272"/>
                </a:cubicBezTo>
                <a:cubicBezTo>
                  <a:pt x="1373" y="1275"/>
                  <a:pt x="1362" y="1284"/>
                  <a:pt x="1354" y="1297"/>
                </a:cubicBezTo>
                <a:cubicBezTo>
                  <a:pt x="1347" y="1308"/>
                  <a:pt x="1344" y="1314"/>
                  <a:pt x="1339" y="1317"/>
                </a:cubicBezTo>
                <a:cubicBezTo>
                  <a:pt x="1338" y="1317"/>
                  <a:pt x="1336" y="1318"/>
                  <a:pt x="1335" y="1318"/>
                </a:cubicBezTo>
                <a:cubicBezTo>
                  <a:pt x="1334" y="1318"/>
                  <a:pt x="1332" y="1318"/>
                  <a:pt x="1332" y="1317"/>
                </a:cubicBezTo>
                <a:cubicBezTo>
                  <a:pt x="1332" y="1317"/>
                  <a:pt x="1332" y="1317"/>
                  <a:pt x="1332" y="1317"/>
                </a:cubicBezTo>
                <a:cubicBezTo>
                  <a:pt x="1332" y="1313"/>
                  <a:pt x="1330" y="1311"/>
                  <a:pt x="1329" y="1309"/>
                </a:cubicBezTo>
                <a:cubicBezTo>
                  <a:pt x="1323" y="1303"/>
                  <a:pt x="1315" y="1297"/>
                  <a:pt x="1306" y="1297"/>
                </a:cubicBezTo>
                <a:cubicBezTo>
                  <a:pt x="1304" y="1297"/>
                  <a:pt x="1301" y="1298"/>
                  <a:pt x="1299" y="1301"/>
                </a:cubicBezTo>
                <a:cubicBezTo>
                  <a:pt x="1298" y="1303"/>
                  <a:pt x="1288" y="1308"/>
                  <a:pt x="1277" y="1314"/>
                </a:cubicBezTo>
                <a:cubicBezTo>
                  <a:pt x="1276" y="1314"/>
                  <a:pt x="1275" y="1315"/>
                  <a:pt x="1275" y="1315"/>
                </a:cubicBezTo>
                <a:cubicBezTo>
                  <a:pt x="1271" y="1315"/>
                  <a:pt x="1265" y="1308"/>
                  <a:pt x="1264" y="1304"/>
                </a:cubicBezTo>
                <a:cubicBezTo>
                  <a:pt x="1260" y="1296"/>
                  <a:pt x="1257" y="1299"/>
                  <a:pt x="1256" y="1282"/>
                </a:cubicBezTo>
                <a:cubicBezTo>
                  <a:pt x="1256" y="1279"/>
                  <a:pt x="1256" y="1277"/>
                  <a:pt x="1256" y="1275"/>
                </a:cubicBezTo>
                <a:cubicBezTo>
                  <a:pt x="1256" y="1260"/>
                  <a:pt x="1259" y="1244"/>
                  <a:pt x="1261" y="1236"/>
                </a:cubicBezTo>
                <a:cubicBezTo>
                  <a:pt x="1262" y="1234"/>
                  <a:pt x="1262" y="1232"/>
                  <a:pt x="1262" y="1231"/>
                </a:cubicBezTo>
                <a:cubicBezTo>
                  <a:pt x="1262" y="1223"/>
                  <a:pt x="1257" y="1215"/>
                  <a:pt x="1251" y="1208"/>
                </a:cubicBezTo>
                <a:cubicBezTo>
                  <a:pt x="1245" y="1202"/>
                  <a:pt x="1239" y="1196"/>
                  <a:pt x="1231" y="1196"/>
                </a:cubicBezTo>
                <a:cubicBezTo>
                  <a:pt x="1231" y="1196"/>
                  <a:pt x="1230" y="1196"/>
                  <a:pt x="1229" y="1196"/>
                </a:cubicBezTo>
                <a:cubicBezTo>
                  <a:pt x="1224" y="1197"/>
                  <a:pt x="1220" y="1200"/>
                  <a:pt x="1216" y="1202"/>
                </a:cubicBezTo>
                <a:cubicBezTo>
                  <a:pt x="1212" y="1205"/>
                  <a:pt x="1209" y="1206"/>
                  <a:pt x="1208" y="1206"/>
                </a:cubicBezTo>
                <a:cubicBezTo>
                  <a:pt x="1208" y="1206"/>
                  <a:pt x="1207" y="1206"/>
                  <a:pt x="1207" y="1206"/>
                </a:cubicBezTo>
                <a:cubicBezTo>
                  <a:pt x="1204" y="1205"/>
                  <a:pt x="1205" y="1205"/>
                  <a:pt x="1202" y="1204"/>
                </a:cubicBezTo>
                <a:cubicBezTo>
                  <a:pt x="1200" y="1203"/>
                  <a:pt x="1197" y="1202"/>
                  <a:pt x="1192" y="1202"/>
                </a:cubicBezTo>
                <a:cubicBezTo>
                  <a:pt x="1193" y="1199"/>
                  <a:pt x="1194" y="1197"/>
                  <a:pt x="1195" y="1194"/>
                </a:cubicBezTo>
                <a:cubicBezTo>
                  <a:pt x="1195" y="1191"/>
                  <a:pt x="1196" y="1188"/>
                  <a:pt x="1196" y="1186"/>
                </a:cubicBezTo>
                <a:cubicBezTo>
                  <a:pt x="1196" y="1181"/>
                  <a:pt x="1195" y="1177"/>
                  <a:pt x="1195" y="1173"/>
                </a:cubicBezTo>
                <a:cubicBezTo>
                  <a:pt x="1195" y="1166"/>
                  <a:pt x="1196" y="1161"/>
                  <a:pt x="1201" y="1157"/>
                </a:cubicBezTo>
                <a:cubicBezTo>
                  <a:pt x="1209" y="1150"/>
                  <a:pt x="1211" y="1141"/>
                  <a:pt x="1211" y="1132"/>
                </a:cubicBezTo>
                <a:cubicBezTo>
                  <a:pt x="1211" y="1127"/>
                  <a:pt x="1210" y="1122"/>
                  <a:pt x="1208" y="1117"/>
                </a:cubicBezTo>
                <a:cubicBezTo>
                  <a:pt x="1206" y="1113"/>
                  <a:pt x="1204" y="1109"/>
                  <a:pt x="1198" y="1108"/>
                </a:cubicBezTo>
                <a:cubicBezTo>
                  <a:pt x="1197" y="1108"/>
                  <a:pt x="1195" y="1108"/>
                  <a:pt x="1194" y="1108"/>
                </a:cubicBezTo>
                <a:cubicBezTo>
                  <a:pt x="1185" y="1108"/>
                  <a:pt x="1175" y="1111"/>
                  <a:pt x="1167" y="1111"/>
                </a:cubicBezTo>
                <a:cubicBezTo>
                  <a:pt x="1166" y="1111"/>
                  <a:pt x="1165" y="1111"/>
                  <a:pt x="1164" y="1111"/>
                </a:cubicBezTo>
                <a:cubicBezTo>
                  <a:pt x="1164" y="1110"/>
                  <a:pt x="1163" y="1110"/>
                  <a:pt x="1162" y="1110"/>
                </a:cubicBezTo>
                <a:cubicBezTo>
                  <a:pt x="1150" y="1111"/>
                  <a:pt x="1142" y="1121"/>
                  <a:pt x="1142" y="1133"/>
                </a:cubicBezTo>
                <a:cubicBezTo>
                  <a:pt x="1142" y="1135"/>
                  <a:pt x="1142" y="1138"/>
                  <a:pt x="1143" y="1140"/>
                </a:cubicBezTo>
                <a:cubicBezTo>
                  <a:pt x="1143" y="1142"/>
                  <a:pt x="1143" y="1143"/>
                  <a:pt x="1143" y="1144"/>
                </a:cubicBezTo>
                <a:cubicBezTo>
                  <a:pt x="1143" y="1147"/>
                  <a:pt x="1142" y="1149"/>
                  <a:pt x="1141" y="1151"/>
                </a:cubicBezTo>
                <a:cubicBezTo>
                  <a:pt x="1141" y="1151"/>
                  <a:pt x="1141" y="1151"/>
                  <a:pt x="1140" y="1152"/>
                </a:cubicBezTo>
                <a:cubicBezTo>
                  <a:pt x="1139" y="1150"/>
                  <a:pt x="1136" y="1148"/>
                  <a:pt x="1131" y="1148"/>
                </a:cubicBezTo>
                <a:cubicBezTo>
                  <a:pt x="1126" y="1148"/>
                  <a:pt x="1121" y="1151"/>
                  <a:pt x="1115" y="1156"/>
                </a:cubicBezTo>
                <a:cubicBezTo>
                  <a:pt x="1110" y="1160"/>
                  <a:pt x="1108" y="1161"/>
                  <a:pt x="1106" y="1161"/>
                </a:cubicBezTo>
                <a:cubicBezTo>
                  <a:pt x="1105" y="1161"/>
                  <a:pt x="1101" y="1159"/>
                  <a:pt x="1093" y="1151"/>
                </a:cubicBezTo>
                <a:cubicBezTo>
                  <a:pt x="1080" y="1138"/>
                  <a:pt x="1068" y="1127"/>
                  <a:pt x="1066" y="1110"/>
                </a:cubicBezTo>
                <a:cubicBezTo>
                  <a:pt x="1065" y="1101"/>
                  <a:pt x="1064" y="1091"/>
                  <a:pt x="1064" y="1083"/>
                </a:cubicBezTo>
                <a:cubicBezTo>
                  <a:pt x="1064" y="1075"/>
                  <a:pt x="1065" y="1068"/>
                  <a:pt x="1067" y="1064"/>
                </a:cubicBezTo>
                <a:cubicBezTo>
                  <a:pt x="1069" y="1058"/>
                  <a:pt x="1071" y="1051"/>
                  <a:pt x="1071" y="1044"/>
                </a:cubicBezTo>
                <a:cubicBezTo>
                  <a:pt x="1071" y="1040"/>
                  <a:pt x="1070" y="1036"/>
                  <a:pt x="1069" y="1032"/>
                </a:cubicBezTo>
                <a:cubicBezTo>
                  <a:pt x="1068" y="1029"/>
                  <a:pt x="1067" y="1027"/>
                  <a:pt x="1064" y="1025"/>
                </a:cubicBezTo>
                <a:cubicBezTo>
                  <a:pt x="1064" y="1025"/>
                  <a:pt x="1064" y="1024"/>
                  <a:pt x="1064" y="1024"/>
                </a:cubicBezTo>
                <a:cubicBezTo>
                  <a:pt x="1067" y="1021"/>
                  <a:pt x="1074" y="1016"/>
                  <a:pt x="1077" y="1015"/>
                </a:cubicBezTo>
                <a:cubicBezTo>
                  <a:pt x="1088" y="1010"/>
                  <a:pt x="1099" y="999"/>
                  <a:pt x="1104" y="991"/>
                </a:cubicBezTo>
                <a:cubicBezTo>
                  <a:pt x="1104" y="991"/>
                  <a:pt x="1108" y="990"/>
                  <a:pt x="1113" y="990"/>
                </a:cubicBezTo>
                <a:cubicBezTo>
                  <a:pt x="1116" y="990"/>
                  <a:pt x="1120" y="990"/>
                  <a:pt x="1125" y="990"/>
                </a:cubicBezTo>
                <a:cubicBezTo>
                  <a:pt x="1138" y="991"/>
                  <a:pt x="1136" y="990"/>
                  <a:pt x="1149" y="998"/>
                </a:cubicBezTo>
                <a:cubicBezTo>
                  <a:pt x="1153" y="1000"/>
                  <a:pt x="1156" y="1001"/>
                  <a:pt x="1160" y="1001"/>
                </a:cubicBezTo>
                <a:cubicBezTo>
                  <a:pt x="1166" y="1001"/>
                  <a:pt x="1170" y="997"/>
                  <a:pt x="1171" y="993"/>
                </a:cubicBezTo>
                <a:cubicBezTo>
                  <a:pt x="1173" y="990"/>
                  <a:pt x="1173" y="987"/>
                  <a:pt x="1173" y="984"/>
                </a:cubicBezTo>
                <a:cubicBezTo>
                  <a:pt x="1173" y="984"/>
                  <a:pt x="1174" y="979"/>
                  <a:pt x="1183" y="979"/>
                </a:cubicBezTo>
                <a:cubicBezTo>
                  <a:pt x="1183" y="979"/>
                  <a:pt x="1184" y="979"/>
                  <a:pt x="1185" y="979"/>
                </a:cubicBezTo>
                <a:cubicBezTo>
                  <a:pt x="1186" y="979"/>
                  <a:pt x="1188" y="979"/>
                  <a:pt x="1189" y="979"/>
                </a:cubicBezTo>
                <a:cubicBezTo>
                  <a:pt x="1200" y="979"/>
                  <a:pt x="1212" y="976"/>
                  <a:pt x="1217" y="977"/>
                </a:cubicBezTo>
                <a:cubicBezTo>
                  <a:pt x="1218" y="977"/>
                  <a:pt x="1218" y="977"/>
                  <a:pt x="1218" y="977"/>
                </a:cubicBezTo>
                <a:cubicBezTo>
                  <a:pt x="1219" y="978"/>
                  <a:pt x="1221" y="982"/>
                  <a:pt x="1223" y="985"/>
                </a:cubicBezTo>
                <a:cubicBezTo>
                  <a:pt x="1226" y="988"/>
                  <a:pt x="1229" y="993"/>
                  <a:pt x="1237" y="994"/>
                </a:cubicBezTo>
                <a:cubicBezTo>
                  <a:pt x="1239" y="994"/>
                  <a:pt x="1242" y="993"/>
                  <a:pt x="1243" y="992"/>
                </a:cubicBezTo>
                <a:cubicBezTo>
                  <a:pt x="1244" y="991"/>
                  <a:pt x="1245" y="991"/>
                  <a:pt x="1245" y="990"/>
                </a:cubicBezTo>
                <a:cubicBezTo>
                  <a:pt x="1246" y="998"/>
                  <a:pt x="1248" y="1009"/>
                  <a:pt x="1252" y="1018"/>
                </a:cubicBezTo>
                <a:cubicBezTo>
                  <a:pt x="1255" y="1027"/>
                  <a:pt x="1259" y="1036"/>
                  <a:pt x="1267" y="1040"/>
                </a:cubicBezTo>
                <a:cubicBezTo>
                  <a:pt x="1269" y="1040"/>
                  <a:pt x="1270" y="1042"/>
                  <a:pt x="1271" y="1047"/>
                </a:cubicBezTo>
                <a:cubicBezTo>
                  <a:pt x="1272" y="1050"/>
                  <a:pt x="1272" y="1053"/>
                  <a:pt x="1274" y="1056"/>
                </a:cubicBezTo>
                <a:cubicBezTo>
                  <a:pt x="1276" y="1059"/>
                  <a:pt x="1279" y="1062"/>
                  <a:pt x="1284" y="1062"/>
                </a:cubicBezTo>
                <a:cubicBezTo>
                  <a:pt x="1284" y="1062"/>
                  <a:pt x="1285" y="1062"/>
                  <a:pt x="1285" y="1062"/>
                </a:cubicBezTo>
                <a:cubicBezTo>
                  <a:pt x="1289" y="1062"/>
                  <a:pt x="1293" y="1060"/>
                  <a:pt x="1295" y="1057"/>
                </a:cubicBezTo>
                <a:cubicBezTo>
                  <a:pt x="1301" y="1050"/>
                  <a:pt x="1303" y="1038"/>
                  <a:pt x="1303" y="1029"/>
                </a:cubicBezTo>
                <a:cubicBezTo>
                  <a:pt x="1303" y="1025"/>
                  <a:pt x="1303" y="1021"/>
                  <a:pt x="1302" y="1018"/>
                </a:cubicBezTo>
                <a:cubicBezTo>
                  <a:pt x="1300" y="1014"/>
                  <a:pt x="1298" y="1004"/>
                  <a:pt x="1295" y="994"/>
                </a:cubicBezTo>
                <a:cubicBezTo>
                  <a:pt x="1292" y="985"/>
                  <a:pt x="1289" y="976"/>
                  <a:pt x="1285" y="971"/>
                </a:cubicBezTo>
                <a:cubicBezTo>
                  <a:pt x="1283" y="969"/>
                  <a:pt x="1282" y="966"/>
                  <a:pt x="1282" y="962"/>
                </a:cubicBezTo>
                <a:cubicBezTo>
                  <a:pt x="1282" y="956"/>
                  <a:pt x="1284" y="951"/>
                  <a:pt x="1288" y="950"/>
                </a:cubicBezTo>
                <a:cubicBezTo>
                  <a:pt x="1296" y="946"/>
                  <a:pt x="1305" y="938"/>
                  <a:pt x="1315" y="929"/>
                </a:cubicBezTo>
                <a:cubicBezTo>
                  <a:pt x="1324" y="920"/>
                  <a:pt x="1333" y="911"/>
                  <a:pt x="1337" y="907"/>
                </a:cubicBezTo>
                <a:cubicBezTo>
                  <a:pt x="1340" y="905"/>
                  <a:pt x="1345" y="901"/>
                  <a:pt x="1351" y="898"/>
                </a:cubicBezTo>
                <a:cubicBezTo>
                  <a:pt x="1356" y="894"/>
                  <a:pt x="1363" y="890"/>
                  <a:pt x="1363" y="881"/>
                </a:cubicBezTo>
                <a:cubicBezTo>
                  <a:pt x="1363" y="878"/>
                  <a:pt x="1362" y="876"/>
                  <a:pt x="1361" y="873"/>
                </a:cubicBezTo>
                <a:cubicBezTo>
                  <a:pt x="1356" y="865"/>
                  <a:pt x="1354" y="860"/>
                  <a:pt x="1353" y="855"/>
                </a:cubicBezTo>
                <a:cubicBezTo>
                  <a:pt x="1355" y="857"/>
                  <a:pt x="1357" y="858"/>
                  <a:pt x="1359" y="858"/>
                </a:cubicBezTo>
                <a:cubicBezTo>
                  <a:pt x="1365" y="857"/>
                  <a:pt x="1368" y="854"/>
                  <a:pt x="1371" y="851"/>
                </a:cubicBezTo>
                <a:cubicBezTo>
                  <a:pt x="1375" y="847"/>
                  <a:pt x="1377" y="843"/>
                  <a:pt x="1377" y="838"/>
                </a:cubicBezTo>
                <a:cubicBezTo>
                  <a:pt x="1377" y="836"/>
                  <a:pt x="1377" y="834"/>
                  <a:pt x="1376" y="833"/>
                </a:cubicBezTo>
                <a:cubicBezTo>
                  <a:pt x="1375" y="831"/>
                  <a:pt x="1375" y="829"/>
                  <a:pt x="1375" y="828"/>
                </a:cubicBezTo>
                <a:cubicBezTo>
                  <a:pt x="1375" y="827"/>
                  <a:pt x="1375" y="826"/>
                  <a:pt x="1375" y="826"/>
                </a:cubicBezTo>
                <a:cubicBezTo>
                  <a:pt x="1375" y="826"/>
                  <a:pt x="1375" y="826"/>
                  <a:pt x="1376" y="826"/>
                </a:cubicBezTo>
                <a:cubicBezTo>
                  <a:pt x="1376" y="826"/>
                  <a:pt x="1377" y="826"/>
                  <a:pt x="1378" y="826"/>
                </a:cubicBezTo>
                <a:cubicBezTo>
                  <a:pt x="1382" y="826"/>
                  <a:pt x="1386" y="825"/>
                  <a:pt x="1388" y="822"/>
                </a:cubicBezTo>
                <a:cubicBezTo>
                  <a:pt x="1390" y="819"/>
                  <a:pt x="1391" y="816"/>
                  <a:pt x="1391" y="813"/>
                </a:cubicBezTo>
                <a:cubicBezTo>
                  <a:pt x="1391" y="811"/>
                  <a:pt x="1390" y="808"/>
                  <a:pt x="1389" y="806"/>
                </a:cubicBezTo>
                <a:cubicBezTo>
                  <a:pt x="1390" y="805"/>
                  <a:pt x="1393" y="803"/>
                  <a:pt x="1396" y="804"/>
                </a:cubicBezTo>
                <a:cubicBezTo>
                  <a:pt x="1396" y="804"/>
                  <a:pt x="1397" y="804"/>
                  <a:pt x="1398" y="804"/>
                </a:cubicBezTo>
                <a:cubicBezTo>
                  <a:pt x="1400" y="805"/>
                  <a:pt x="1403" y="805"/>
                  <a:pt x="1406" y="805"/>
                </a:cubicBezTo>
                <a:cubicBezTo>
                  <a:pt x="1412" y="805"/>
                  <a:pt x="1418" y="804"/>
                  <a:pt x="1423" y="803"/>
                </a:cubicBezTo>
                <a:cubicBezTo>
                  <a:pt x="1429" y="801"/>
                  <a:pt x="1433" y="799"/>
                  <a:pt x="1437" y="794"/>
                </a:cubicBezTo>
                <a:cubicBezTo>
                  <a:pt x="1438" y="793"/>
                  <a:pt x="1439" y="791"/>
                  <a:pt x="1439" y="789"/>
                </a:cubicBezTo>
                <a:cubicBezTo>
                  <a:pt x="1438" y="783"/>
                  <a:pt x="1435" y="781"/>
                  <a:pt x="1434" y="778"/>
                </a:cubicBezTo>
                <a:cubicBezTo>
                  <a:pt x="1432" y="775"/>
                  <a:pt x="1431" y="772"/>
                  <a:pt x="1431" y="769"/>
                </a:cubicBezTo>
                <a:cubicBezTo>
                  <a:pt x="1431" y="766"/>
                  <a:pt x="1433" y="762"/>
                  <a:pt x="1437" y="759"/>
                </a:cubicBezTo>
                <a:cubicBezTo>
                  <a:pt x="1440" y="756"/>
                  <a:pt x="1445" y="753"/>
                  <a:pt x="1448" y="753"/>
                </a:cubicBezTo>
                <a:cubicBezTo>
                  <a:pt x="1451" y="753"/>
                  <a:pt x="1456" y="752"/>
                  <a:pt x="1460" y="752"/>
                </a:cubicBezTo>
                <a:cubicBezTo>
                  <a:pt x="1462" y="752"/>
                  <a:pt x="1464" y="752"/>
                  <a:pt x="1466" y="751"/>
                </a:cubicBezTo>
                <a:cubicBezTo>
                  <a:pt x="1468" y="750"/>
                  <a:pt x="1471" y="748"/>
                  <a:pt x="1472" y="745"/>
                </a:cubicBezTo>
                <a:cubicBezTo>
                  <a:pt x="1472" y="745"/>
                  <a:pt x="1472" y="745"/>
                  <a:pt x="1472" y="745"/>
                </a:cubicBezTo>
                <a:cubicBezTo>
                  <a:pt x="1472" y="744"/>
                  <a:pt x="1473" y="743"/>
                  <a:pt x="1474" y="742"/>
                </a:cubicBezTo>
                <a:cubicBezTo>
                  <a:pt x="1475" y="746"/>
                  <a:pt x="1475" y="751"/>
                  <a:pt x="1476" y="755"/>
                </a:cubicBezTo>
                <a:cubicBezTo>
                  <a:pt x="1476" y="758"/>
                  <a:pt x="1477" y="762"/>
                  <a:pt x="1479" y="764"/>
                </a:cubicBezTo>
                <a:cubicBezTo>
                  <a:pt x="1481" y="767"/>
                  <a:pt x="1485" y="770"/>
                  <a:pt x="1489" y="770"/>
                </a:cubicBezTo>
                <a:cubicBezTo>
                  <a:pt x="1497" y="770"/>
                  <a:pt x="1502" y="766"/>
                  <a:pt x="1507" y="762"/>
                </a:cubicBezTo>
                <a:cubicBezTo>
                  <a:pt x="1510" y="760"/>
                  <a:pt x="1512" y="759"/>
                  <a:pt x="1513" y="757"/>
                </a:cubicBezTo>
                <a:cubicBezTo>
                  <a:pt x="1514" y="757"/>
                  <a:pt x="1515" y="756"/>
                  <a:pt x="1515" y="756"/>
                </a:cubicBezTo>
                <a:cubicBezTo>
                  <a:pt x="1516" y="756"/>
                  <a:pt x="1516" y="756"/>
                  <a:pt x="1516" y="756"/>
                </a:cubicBezTo>
                <a:cubicBezTo>
                  <a:pt x="1516" y="755"/>
                  <a:pt x="1516" y="755"/>
                  <a:pt x="1516" y="755"/>
                </a:cubicBezTo>
                <a:cubicBezTo>
                  <a:pt x="1520" y="754"/>
                  <a:pt x="1541" y="749"/>
                  <a:pt x="1545" y="747"/>
                </a:cubicBezTo>
                <a:cubicBezTo>
                  <a:pt x="1546" y="747"/>
                  <a:pt x="1554" y="746"/>
                  <a:pt x="1561" y="744"/>
                </a:cubicBezTo>
                <a:cubicBezTo>
                  <a:pt x="1565" y="743"/>
                  <a:pt x="1568" y="742"/>
                  <a:pt x="1572" y="740"/>
                </a:cubicBezTo>
                <a:cubicBezTo>
                  <a:pt x="1575" y="738"/>
                  <a:pt x="1578" y="735"/>
                  <a:pt x="1579" y="729"/>
                </a:cubicBezTo>
                <a:cubicBezTo>
                  <a:pt x="1579" y="728"/>
                  <a:pt x="1578" y="727"/>
                  <a:pt x="1578" y="726"/>
                </a:cubicBezTo>
                <a:cubicBezTo>
                  <a:pt x="1574" y="716"/>
                  <a:pt x="1571" y="706"/>
                  <a:pt x="1566" y="701"/>
                </a:cubicBezTo>
                <a:cubicBezTo>
                  <a:pt x="1565" y="699"/>
                  <a:pt x="1562" y="697"/>
                  <a:pt x="1559" y="697"/>
                </a:cubicBezTo>
                <a:cubicBezTo>
                  <a:pt x="1554" y="697"/>
                  <a:pt x="1552" y="700"/>
                  <a:pt x="1551" y="702"/>
                </a:cubicBezTo>
                <a:cubicBezTo>
                  <a:pt x="1549" y="704"/>
                  <a:pt x="1547" y="707"/>
                  <a:pt x="1545" y="709"/>
                </a:cubicBezTo>
                <a:cubicBezTo>
                  <a:pt x="1544" y="712"/>
                  <a:pt x="1542" y="712"/>
                  <a:pt x="1542" y="712"/>
                </a:cubicBezTo>
                <a:cubicBezTo>
                  <a:pt x="1541" y="712"/>
                  <a:pt x="1541" y="712"/>
                  <a:pt x="1541" y="712"/>
                </a:cubicBezTo>
                <a:cubicBezTo>
                  <a:pt x="1541" y="712"/>
                  <a:pt x="1540" y="707"/>
                  <a:pt x="1540" y="703"/>
                </a:cubicBezTo>
                <a:cubicBezTo>
                  <a:pt x="1540" y="701"/>
                  <a:pt x="1540" y="699"/>
                  <a:pt x="1539" y="697"/>
                </a:cubicBezTo>
                <a:cubicBezTo>
                  <a:pt x="1539" y="694"/>
                  <a:pt x="1536" y="690"/>
                  <a:pt x="1531" y="690"/>
                </a:cubicBezTo>
                <a:cubicBezTo>
                  <a:pt x="1529" y="690"/>
                  <a:pt x="1527" y="691"/>
                  <a:pt x="1525" y="693"/>
                </a:cubicBezTo>
                <a:cubicBezTo>
                  <a:pt x="1521" y="695"/>
                  <a:pt x="1519" y="698"/>
                  <a:pt x="1517" y="699"/>
                </a:cubicBezTo>
                <a:cubicBezTo>
                  <a:pt x="1517" y="699"/>
                  <a:pt x="1517" y="700"/>
                  <a:pt x="1517" y="700"/>
                </a:cubicBezTo>
                <a:cubicBezTo>
                  <a:pt x="1516" y="699"/>
                  <a:pt x="1514" y="697"/>
                  <a:pt x="1513" y="695"/>
                </a:cubicBezTo>
                <a:cubicBezTo>
                  <a:pt x="1513" y="695"/>
                  <a:pt x="1513" y="695"/>
                  <a:pt x="1513" y="695"/>
                </a:cubicBezTo>
                <a:cubicBezTo>
                  <a:pt x="1515" y="692"/>
                  <a:pt x="1518" y="688"/>
                  <a:pt x="1518" y="683"/>
                </a:cubicBezTo>
                <a:cubicBezTo>
                  <a:pt x="1518" y="679"/>
                  <a:pt x="1517" y="675"/>
                  <a:pt x="1514" y="671"/>
                </a:cubicBezTo>
                <a:cubicBezTo>
                  <a:pt x="1509" y="663"/>
                  <a:pt x="1502" y="659"/>
                  <a:pt x="1495" y="659"/>
                </a:cubicBezTo>
                <a:cubicBezTo>
                  <a:pt x="1487" y="659"/>
                  <a:pt x="1481" y="662"/>
                  <a:pt x="1475" y="666"/>
                </a:cubicBezTo>
                <a:cubicBezTo>
                  <a:pt x="1468" y="670"/>
                  <a:pt x="1466" y="671"/>
                  <a:pt x="1463" y="672"/>
                </a:cubicBezTo>
                <a:cubicBezTo>
                  <a:pt x="1463" y="672"/>
                  <a:pt x="1464" y="672"/>
                  <a:pt x="1464" y="671"/>
                </a:cubicBezTo>
                <a:cubicBezTo>
                  <a:pt x="1471" y="664"/>
                  <a:pt x="1481" y="660"/>
                  <a:pt x="1489" y="650"/>
                </a:cubicBezTo>
                <a:cubicBezTo>
                  <a:pt x="1490" y="650"/>
                  <a:pt x="1490" y="650"/>
                  <a:pt x="1492" y="650"/>
                </a:cubicBezTo>
                <a:cubicBezTo>
                  <a:pt x="1494" y="650"/>
                  <a:pt x="1498" y="651"/>
                  <a:pt x="1501" y="653"/>
                </a:cubicBezTo>
                <a:cubicBezTo>
                  <a:pt x="1504" y="654"/>
                  <a:pt x="1507" y="656"/>
                  <a:pt x="1507" y="656"/>
                </a:cubicBezTo>
                <a:cubicBezTo>
                  <a:pt x="1509" y="657"/>
                  <a:pt x="1511" y="657"/>
                  <a:pt x="1513" y="656"/>
                </a:cubicBezTo>
                <a:cubicBezTo>
                  <a:pt x="1513" y="657"/>
                  <a:pt x="1513" y="657"/>
                  <a:pt x="1513" y="658"/>
                </a:cubicBezTo>
                <a:cubicBezTo>
                  <a:pt x="1513" y="662"/>
                  <a:pt x="1513" y="665"/>
                  <a:pt x="1514" y="669"/>
                </a:cubicBezTo>
                <a:cubicBezTo>
                  <a:pt x="1515" y="672"/>
                  <a:pt x="1518" y="677"/>
                  <a:pt x="1524" y="677"/>
                </a:cubicBezTo>
                <a:cubicBezTo>
                  <a:pt x="1529" y="677"/>
                  <a:pt x="1534" y="675"/>
                  <a:pt x="1539" y="672"/>
                </a:cubicBezTo>
                <a:cubicBezTo>
                  <a:pt x="1542" y="671"/>
                  <a:pt x="1544" y="669"/>
                  <a:pt x="1546" y="668"/>
                </a:cubicBezTo>
                <a:cubicBezTo>
                  <a:pt x="1547" y="666"/>
                  <a:pt x="1549" y="665"/>
                  <a:pt x="1550" y="661"/>
                </a:cubicBezTo>
                <a:cubicBezTo>
                  <a:pt x="1550" y="661"/>
                  <a:pt x="1551" y="661"/>
                  <a:pt x="1551" y="661"/>
                </a:cubicBezTo>
                <a:cubicBezTo>
                  <a:pt x="1556" y="660"/>
                  <a:pt x="1561" y="659"/>
                  <a:pt x="1566" y="655"/>
                </a:cubicBezTo>
                <a:cubicBezTo>
                  <a:pt x="1572" y="650"/>
                  <a:pt x="1579" y="650"/>
                  <a:pt x="1587" y="646"/>
                </a:cubicBezTo>
                <a:cubicBezTo>
                  <a:pt x="1592" y="643"/>
                  <a:pt x="1593" y="639"/>
                  <a:pt x="1595" y="636"/>
                </a:cubicBezTo>
                <a:cubicBezTo>
                  <a:pt x="1598" y="633"/>
                  <a:pt x="1599" y="632"/>
                  <a:pt x="1600" y="632"/>
                </a:cubicBezTo>
                <a:cubicBezTo>
                  <a:pt x="1600" y="632"/>
                  <a:pt x="1601" y="632"/>
                  <a:pt x="1601" y="634"/>
                </a:cubicBezTo>
                <a:cubicBezTo>
                  <a:pt x="1601" y="636"/>
                  <a:pt x="1600" y="639"/>
                  <a:pt x="1596" y="642"/>
                </a:cubicBezTo>
                <a:cubicBezTo>
                  <a:pt x="1589" y="647"/>
                  <a:pt x="1585" y="656"/>
                  <a:pt x="1583" y="663"/>
                </a:cubicBezTo>
                <a:cubicBezTo>
                  <a:pt x="1580" y="670"/>
                  <a:pt x="1578" y="676"/>
                  <a:pt x="1577" y="677"/>
                </a:cubicBezTo>
                <a:cubicBezTo>
                  <a:pt x="1574" y="679"/>
                  <a:pt x="1573" y="683"/>
                  <a:pt x="1573" y="687"/>
                </a:cubicBezTo>
                <a:cubicBezTo>
                  <a:pt x="1572" y="690"/>
                  <a:pt x="1574" y="693"/>
                  <a:pt x="1577" y="695"/>
                </a:cubicBezTo>
                <a:cubicBezTo>
                  <a:pt x="1579" y="697"/>
                  <a:pt x="1583" y="698"/>
                  <a:pt x="1586" y="698"/>
                </a:cubicBezTo>
                <a:cubicBezTo>
                  <a:pt x="1587" y="698"/>
                  <a:pt x="1588" y="698"/>
                  <a:pt x="1589" y="698"/>
                </a:cubicBezTo>
                <a:cubicBezTo>
                  <a:pt x="1591" y="698"/>
                  <a:pt x="1593" y="698"/>
                  <a:pt x="1594" y="698"/>
                </a:cubicBezTo>
                <a:cubicBezTo>
                  <a:pt x="1598" y="698"/>
                  <a:pt x="1601" y="698"/>
                  <a:pt x="1605" y="698"/>
                </a:cubicBezTo>
                <a:cubicBezTo>
                  <a:pt x="1608" y="698"/>
                  <a:pt x="1612" y="698"/>
                  <a:pt x="1616" y="696"/>
                </a:cubicBezTo>
                <a:cubicBezTo>
                  <a:pt x="1617" y="696"/>
                  <a:pt x="1617" y="696"/>
                  <a:pt x="1618" y="696"/>
                </a:cubicBezTo>
                <a:cubicBezTo>
                  <a:pt x="1620" y="696"/>
                  <a:pt x="1622" y="698"/>
                  <a:pt x="1623" y="700"/>
                </a:cubicBezTo>
                <a:cubicBezTo>
                  <a:pt x="1624" y="703"/>
                  <a:pt x="1628" y="705"/>
                  <a:pt x="1630" y="705"/>
                </a:cubicBezTo>
                <a:cubicBezTo>
                  <a:pt x="1635" y="704"/>
                  <a:pt x="1637" y="702"/>
                  <a:pt x="1639" y="701"/>
                </a:cubicBezTo>
                <a:cubicBezTo>
                  <a:pt x="1640" y="700"/>
                  <a:pt x="1641" y="699"/>
                  <a:pt x="1641" y="699"/>
                </a:cubicBezTo>
                <a:cubicBezTo>
                  <a:pt x="1641" y="699"/>
                  <a:pt x="1641" y="699"/>
                  <a:pt x="1642" y="699"/>
                </a:cubicBezTo>
                <a:cubicBezTo>
                  <a:pt x="1643" y="698"/>
                  <a:pt x="1645" y="698"/>
                  <a:pt x="1647" y="698"/>
                </a:cubicBezTo>
                <a:cubicBezTo>
                  <a:pt x="1650" y="698"/>
                  <a:pt x="1652" y="699"/>
                  <a:pt x="1652" y="699"/>
                </a:cubicBezTo>
                <a:cubicBezTo>
                  <a:pt x="1654" y="702"/>
                  <a:pt x="1656" y="704"/>
                  <a:pt x="1660" y="704"/>
                </a:cubicBezTo>
                <a:cubicBezTo>
                  <a:pt x="1665" y="704"/>
                  <a:pt x="1667" y="701"/>
                  <a:pt x="1668" y="699"/>
                </a:cubicBezTo>
                <a:cubicBezTo>
                  <a:pt x="1669" y="696"/>
                  <a:pt x="1669" y="694"/>
                  <a:pt x="1669" y="691"/>
                </a:cubicBezTo>
                <a:cubicBezTo>
                  <a:pt x="1669" y="689"/>
                  <a:pt x="1669" y="685"/>
                  <a:pt x="1667" y="682"/>
                </a:cubicBezTo>
                <a:cubicBezTo>
                  <a:pt x="1664" y="675"/>
                  <a:pt x="1659" y="668"/>
                  <a:pt x="1656" y="661"/>
                </a:cubicBezTo>
                <a:cubicBezTo>
                  <a:pt x="1653" y="654"/>
                  <a:pt x="1647" y="647"/>
                  <a:pt x="1639" y="648"/>
                </a:cubicBezTo>
                <a:cubicBezTo>
                  <a:pt x="1637" y="648"/>
                  <a:pt x="1634" y="648"/>
                  <a:pt x="1631" y="649"/>
                </a:cubicBezTo>
                <a:cubicBezTo>
                  <a:pt x="1630" y="649"/>
                  <a:pt x="1629" y="649"/>
                  <a:pt x="1629" y="649"/>
                </a:cubicBezTo>
                <a:cubicBezTo>
                  <a:pt x="1627" y="649"/>
                  <a:pt x="1627" y="649"/>
                  <a:pt x="1626" y="648"/>
                </a:cubicBezTo>
                <a:cubicBezTo>
                  <a:pt x="1624" y="647"/>
                  <a:pt x="1622" y="645"/>
                  <a:pt x="1619" y="643"/>
                </a:cubicBezTo>
                <a:cubicBezTo>
                  <a:pt x="1619" y="643"/>
                  <a:pt x="1618" y="642"/>
                  <a:pt x="1618" y="642"/>
                </a:cubicBezTo>
                <a:cubicBezTo>
                  <a:pt x="1621" y="636"/>
                  <a:pt x="1623" y="633"/>
                  <a:pt x="1626" y="625"/>
                </a:cubicBezTo>
                <a:cubicBezTo>
                  <a:pt x="1627" y="624"/>
                  <a:pt x="1629" y="620"/>
                  <a:pt x="1632" y="616"/>
                </a:cubicBezTo>
                <a:cubicBezTo>
                  <a:pt x="1634" y="612"/>
                  <a:pt x="1636" y="608"/>
                  <a:pt x="1637" y="602"/>
                </a:cubicBezTo>
                <a:cubicBezTo>
                  <a:pt x="1637" y="597"/>
                  <a:pt x="1632" y="591"/>
                  <a:pt x="1626" y="590"/>
                </a:cubicBezTo>
                <a:cubicBezTo>
                  <a:pt x="1618" y="588"/>
                  <a:pt x="1614" y="586"/>
                  <a:pt x="1612" y="584"/>
                </a:cubicBezTo>
                <a:cubicBezTo>
                  <a:pt x="1610" y="583"/>
                  <a:pt x="1609" y="582"/>
                  <a:pt x="1608" y="579"/>
                </a:cubicBezTo>
                <a:cubicBezTo>
                  <a:pt x="1606" y="572"/>
                  <a:pt x="1601" y="566"/>
                  <a:pt x="1595" y="561"/>
                </a:cubicBezTo>
                <a:cubicBezTo>
                  <a:pt x="1592" y="558"/>
                  <a:pt x="1589" y="556"/>
                  <a:pt x="1587" y="554"/>
                </a:cubicBezTo>
                <a:cubicBezTo>
                  <a:pt x="1584" y="553"/>
                  <a:pt x="1582" y="551"/>
                  <a:pt x="1578" y="551"/>
                </a:cubicBezTo>
                <a:cubicBezTo>
                  <a:pt x="1576" y="551"/>
                  <a:pt x="1571" y="551"/>
                  <a:pt x="1567" y="550"/>
                </a:cubicBezTo>
                <a:cubicBezTo>
                  <a:pt x="1565" y="550"/>
                  <a:pt x="1563" y="549"/>
                  <a:pt x="1562" y="549"/>
                </a:cubicBezTo>
                <a:cubicBezTo>
                  <a:pt x="1562" y="549"/>
                  <a:pt x="1562" y="549"/>
                  <a:pt x="1562" y="548"/>
                </a:cubicBezTo>
                <a:cubicBezTo>
                  <a:pt x="1559" y="538"/>
                  <a:pt x="1548" y="525"/>
                  <a:pt x="1542" y="517"/>
                </a:cubicBezTo>
                <a:cubicBezTo>
                  <a:pt x="1540" y="514"/>
                  <a:pt x="1533" y="505"/>
                  <a:pt x="1526" y="496"/>
                </a:cubicBezTo>
                <a:cubicBezTo>
                  <a:pt x="1523" y="491"/>
                  <a:pt x="1520" y="487"/>
                  <a:pt x="1517" y="484"/>
                </a:cubicBezTo>
                <a:cubicBezTo>
                  <a:pt x="1514" y="480"/>
                  <a:pt x="1512" y="478"/>
                  <a:pt x="1510" y="476"/>
                </a:cubicBezTo>
                <a:cubicBezTo>
                  <a:pt x="1509" y="475"/>
                  <a:pt x="1506" y="474"/>
                  <a:pt x="1504" y="474"/>
                </a:cubicBezTo>
                <a:cubicBezTo>
                  <a:pt x="1495" y="475"/>
                  <a:pt x="1491" y="481"/>
                  <a:pt x="1483" y="493"/>
                </a:cubicBezTo>
                <a:cubicBezTo>
                  <a:pt x="1476" y="505"/>
                  <a:pt x="1470" y="507"/>
                  <a:pt x="1467" y="507"/>
                </a:cubicBezTo>
                <a:cubicBezTo>
                  <a:pt x="1466" y="507"/>
                  <a:pt x="1465" y="507"/>
                  <a:pt x="1463" y="506"/>
                </a:cubicBezTo>
                <a:cubicBezTo>
                  <a:pt x="1459" y="504"/>
                  <a:pt x="1457" y="503"/>
                  <a:pt x="1455" y="502"/>
                </a:cubicBezTo>
                <a:cubicBezTo>
                  <a:pt x="1454" y="501"/>
                  <a:pt x="1452" y="499"/>
                  <a:pt x="1448" y="494"/>
                </a:cubicBezTo>
                <a:cubicBezTo>
                  <a:pt x="1447" y="493"/>
                  <a:pt x="1447" y="492"/>
                  <a:pt x="1447" y="492"/>
                </a:cubicBezTo>
                <a:cubicBezTo>
                  <a:pt x="1447" y="492"/>
                  <a:pt x="1448" y="491"/>
                  <a:pt x="1450" y="489"/>
                </a:cubicBezTo>
                <a:cubicBezTo>
                  <a:pt x="1451" y="488"/>
                  <a:pt x="1454" y="486"/>
                  <a:pt x="1454" y="480"/>
                </a:cubicBezTo>
                <a:cubicBezTo>
                  <a:pt x="1454" y="479"/>
                  <a:pt x="1454" y="477"/>
                  <a:pt x="1453" y="476"/>
                </a:cubicBezTo>
                <a:cubicBezTo>
                  <a:pt x="1449" y="469"/>
                  <a:pt x="1443" y="467"/>
                  <a:pt x="1436" y="465"/>
                </a:cubicBezTo>
                <a:cubicBezTo>
                  <a:pt x="1429" y="463"/>
                  <a:pt x="1421" y="462"/>
                  <a:pt x="1415" y="461"/>
                </a:cubicBezTo>
                <a:cubicBezTo>
                  <a:pt x="1412" y="461"/>
                  <a:pt x="1408" y="458"/>
                  <a:pt x="1402" y="453"/>
                </a:cubicBezTo>
                <a:cubicBezTo>
                  <a:pt x="1396" y="449"/>
                  <a:pt x="1389" y="444"/>
                  <a:pt x="1378" y="443"/>
                </a:cubicBezTo>
                <a:cubicBezTo>
                  <a:pt x="1376" y="443"/>
                  <a:pt x="1373" y="443"/>
                  <a:pt x="1370" y="443"/>
                </a:cubicBezTo>
                <a:cubicBezTo>
                  <a:pt x="1354" y="443"/>
                  <a:pt x="1337" y="446"/>
                  <a:pt x="1334" y="446"/>
                </a:cubicBezTo>
                <a:cubicBezTo>
                  <a:pt x="1331" y="446"/>
                  <a:pt x="1327" y="448"/>
                  <a:pt x="1326" y="450"/>
                </a:cubicBezTo>
                <a:cubicBezTo>
                  <a:pt x="1321" y="457"/>
                  <a:pt x="1322" y="465"/>
                  <a:pt x="1320" y="476"/>
                </a:cubicBezTo>
                <a:cubicBezTo>
                  <a:pt x="1320" y="478"/>
                  <a:pt x="1320" y="480"/>
                  <a:pt x="1320" y="481"/>
                </a:cubicBezTo>
                <a:cubicBezTo>
                  <a:pt x="1320" y="486"/>
                  <a:pt x="1320" y="489"/>
                  <a:pt x="1321" y="492"/>
                </a:cubicBezTo>
                <a:cubicBezTo>
                  <a:pt x="1321" y="492"/>
                  <a:pt x="1322" y="493"/>
                  <a:pt x="1322" y="493"/>
                </a:cubicBezTo>
                <a:cubicBezTo>
                  <a:pt x="1319" y="494"/>
                  <a:pt x="1316" y="495"/>
                  <a:pt x="1314" y="496"/>
                </a:cubicBezTo>
                <a:cubicBezTo>
                  <a:pt x="1313" y="496"/>
                  <a:pt x="1311" y="497"/>
                  <a:pt x="1310" y="498"/>
                </a:cubicBezTo>
                <a:cubicBezTo>
                  <a:pt x="1309" y="499"/>
                  <a:pt x="1307" y="501"/>
                  <a:pt x="1307" y="504"/>
                </a:cubicBezTo>
                <a:cubicBezTo>
                  <a:pt x="1307" y="507"/>
                  <a:pt x="1309" y="509"/>
                  <a:pt x="1311" y="510"/>
                </a:cubicBezTo>
                <a:cubicBezTo>
                  <a:pt x="1312" y="512"/>
                  <a:pt x="1314" y="513"/>
                  <a:pt x="1316" y="514"/>
                </a:cubicBezTo>
                <a:cubicBezTo>
                  <a:pt x="1320" y="516"/>
                  <a:pt x="1326" y="522"/>
                  <a:pt x="1330" y="528"/>
                </a:cubicBezTo>
                <a:cubicBezTo>
                  <a:pt x="1333" y="532"/>
                  <a:pt x="1336" y="536"/>
                  <a:pt x="1337" y="538"/>
                </a:cubicBezTo>
                <a:cubicBezTo>
                  <a:pt x="1337" y="539"/>
                  <a:pt x="1337" y="540"/>
                  <a:pt x="1336" y="542"/>
                </a:cubicBezTo>
                <a:cubicBezTo>
                  <a:pt x="1335" y="545"/>
                  <a:pt x="1334" y="549"/>
                  <a:pt x="1331" y="551"/>
                </a:cubicBezTo>
                <a:cubicBezTo>
                  <a:pt x="1327" y="555"/>
                  <a:pt x="1321" y="558"/>
                  <a:pt x="1320" y="559"/>
                </a:cubicBezTo>
                <a:cubicBezTo>
                  <a:pt x="1320" y="559"/>
                  <a:pt x="1320" y="558"/>
                  <a:pt x="1320" y="558"/>
                </a:cubicBezTo>
                <a:cubicBezTo>
                  <a:pt x="1316" y="552"/>
                  <a:pt x="1311" y="549"/>
                  <a:pt x="1305" y="549"/>
                </a:cubicBezTo>
                <a:cubicBezTo>
                  <a:pt x="1303" y="549"/>
                  <a:pt x="1300" y="550"/>
                  <a:pt x="1298" y="552"/>
                </a:cubicBezTo>
                <a:cubicBezTo>
                  <a:pt x="1296" y="553"/>
                  <a:pt x="1294" y="557"/>
                  <a:pt x="1294" y="560"/>
                </a:cubicBezTo>
                <a:cubicBezTo>
                  <a:pt x="1294" y="561"/>
                  <a:pt x="1294" y="563"/>
                  <a:pt x="1295" y="565"/>
                </a:cubicBezTo>
                <a:cubicBezTo>
                  <a:pt x="1297" y="570"/>
                  <a:pt x="1300" y="573"/>
                  <a:pt x="1302" y="576"/>
                </a:cubicBezTo>
                <a:cubicBezTo>
                  <a:pt x="1304" y="579"/>
                  <a:pt x="1305" y="581"/>
                  <a:pt x="1305" y="583"/>
                </a:cubicBezTo>
                <a:cubicBezTo>
                  <a:pt x="1305" y="588"/>
                  <a:pt x="1307" y="593"/>
                  <a:pt x="1308" y="598"/>
                </a:cubicBezTo>
                <a:cubicBezTo>
                  <a:pt x="1310" y="603"/>
                  <a:pt x="1311" y="608"/>
                  <a:pt x="1311" y="612"/>
                </a:cubicBezTo>
                <a:cubicBezTo>
                  <a:pt x="1311" y="614"/>
                  <a:pt x="1310" y="615"/>
                  <a:pt x="1310" y="615"/>
                </a:cubicBezTo>
                <a:cubicBezTo>
                  <a:pt x="1308" y="616"/>
                  <a:pt x="1308" y="616"/>
                  <a:pt x="1306" y="616"/>
                </a:cubicBezTo>
                <a:cubicBezTo>
                  <a:pt x="1303" y="616"/>
                  <a:pt x="1300" y="615"/>
                  <a:pt x="1296" y="615"/>
                </a:cubicBezTo>
                <a:cubicBezTo>
                  <a:pt x="1295" y="615"/>
                  <a:pt x="1294" y="615"/>
                  <a:pt x="1293" y="616"/>
                </a:cubicBezTo>
                <a:cubicBezTo>
                  <a:pt x="1292" y="615"/>
                  <a:pt x="1291" y="613"/>
                  <a:pt x="1291" y="612"/>
                </a:cubicBezTo>
                <a:cubicBezTo>
                  <a:pt x="1295" y="609"/>
                  <a:pt x="1294" y="605"/>
                  <a:pt x="1295" y="602"/>
                </a:cubicBezTo>
                <a:cubicBezTo>
                  <a:pt x="1295" y="593"/>
                  <a:pt x="1292" y="583"/>
                  <a:pt x="1291" y="583"/>
                </a:cubicBezTo>
                <a:cubicBezTo>
                  <a:pt x="1291" y="581"/>
                  <a:pt x="1289" y="579"/>
                  <a:pt x="1286" y="578"/>
                </a:cubicBezTo>
                <a:cubicBezTo>
                  <a:pt x="1284" y="578"/>
                  <a:pt x="1282" y="579"/>
                  <a:pt x="1280" y="581"/>
                </a:cubicBezTo>
                <a:cubicBezTo>
                  <a:pt x="1280" y="581"/>
                  <a:pt x="1280" y="583"/>
                  <a:pt x="1278" y="585"/>
                </a:cubicBezTo>
                <a:cubicBezTo>
                  <a:pt x="1277" y="583"/>
                  <a:pt x="1276" y="581"/>
                  <a:pt x="1276" y="579"/>
                </a:cubicBezTo>
                <a:cubicBezTo>
                  <a:pt x="1274" y="576"/>
                  <a:pt x="1273" y="575"/>
                  <a:pt x="1273" y="572"/>
                </a:cubicBezTo>
                <a:cubicBezTo>
                  <a:pt x="1273" y="567"/>
                  <a:pt x="1272" y="562"/>
                  <a:pt x="1269" y="559"/>
                </a:cubicBezTo>
                <a:cubicBezTo>
                  <a:pt x="1265" y="556"/>
                  <a:pt x="1261" y="554"/>
                  <a:pt x="1256" y="554"/>
                </a:cubicBezTo>
                <a:cubicBezTo>
                  <a:pt x="1253" y="554"/>
                  <a:pt x="1251" y="555"/>
                  <a:pt x="1248" y="555"/>
                </a:cubicBezTo>
                <a:cubicBezTo>
                  <a:pt x="1247" y="555"/>
                  <a:pt x="1246" y="556"/>
                  <a:pt x="1245" y="556"/>
                </a:cubicBezTo>
                <a:cubicBezTo>
                  <a:pt x="1238" y="556"/>
                  <a:pt x="1226" y="550"/>
                  <a:pt x="1209" y="547"/>
                </a:cubicBezTo>
                <a:cubicBezTo>
                  <a:pt x="1189" y="543"/>
                  <a:pt x="1183" y="540"/>
                  <a:pt x="1167" y="531"/>
                </a:cubicBezTo>
                <a:cubicBezTo>
                  <a:pt x="1160" y="527"/>
                  <a:pt x="1154" y="525"/>
                  <a:pt x="1149" y="525"/>
                </a:cubicBezTo>
                <a:cubicBezTo>
                  <a:pt x="1142" y="525"/>
                  <a:pt x="1137" y="528"/>
                  <a:pt x="1134" y="529"/>
                </a:cubicBezTo>
                <a:cubicBezTo>
                  <a:pt x="1134" y="527"/>
                  <a:pt x="1133" y="523"/>
                  <a:pt x="1132" y="519"/>
                </a:cubicBezTo>
                <a:cubicBezTo>
                  <a:pt x="1130" y="515"/>
                  <a:pt x="1127" y="509"/>
                  <a:pt x="1120" y="507"/>
                </a:cubicBezTo>
                <a:cubicBezTo>
                  <a:pt x="1114" y="505"/>
                  <a:pt x="1109" y="506"/>
                  <a:pt x="1109" y="505"/>
                </a:cubicBezTo>
                <a:cubicBezTo>
                  <a:pt x="1109" y="505"/>
                  <a:pt x="1109" y="505"/>
                  <a:pt x="1108" y="504"/>
                </a:cubicBezTo>
                <a:cubicBezTo>
                  <a:pt x="1108" y="503"/>
                  <a:pt x="1107" y="501"/>
                  <a:pt x="1106" y="497"/>
                </a:cubicBezTo>
                <a:cubicBezTo>
                  <a:pt x="1106" y="495"/>
                  <a:pt x="1106" y="493"/>
                  <a:pt x="1106" y="491"/>
                </a:cubicBezTo>
                <a:cubicBezTo>
                  <a:pt x="1106" y="486"/>
                  <a:pt x="1107" y="484"/>
                  <a:pt x="1111" y="479"/>
                </a:cubicBezTo>
                <a:cubicBezTo>
                  <a:pt x="1115" y="475"/>
                  <a:pt x="1122" y="469"/>
                  <a:pt x="1133" y="461"/>
                </a:cubicBezTo>
                <a:cubicBezTo>
                  <a:pt x="1146" y="451"/>
                  <a:pt x="1152" y="444"/>
                  <a:pt x="1156" y="439"/>
                </a:cubicBezTo>
                <a:cubicBezTo>
                  <a:pt x="1161" y="435"/>
                  <a:pt x="1162" y="433"/>
                  <a:pt x="1171" y="432"/>
                </a:cubicBezTo>
                <a:cubicBezTo>
                  <a:pt x="1176" y="431"/>
                  <a:pt x="1180" y="431"/>
                  <a:pt x="1183" y="431"/>
                </a:cubicBezTo>
                <a:cubicBezTo>
                  <a:pt x="1187" y="431"/>
                  <a:pt x="1191" y="432"/>
                  <a:pt x="1194" y="432"/>
                </a:cubicBezTo>
                <a:cubicBezTo>
                  <a:pt x="1196" y="431"/>
                  <a:pt x="1198" y="432"/>
                  <a:pt x="1201" y="430"/>
                </a:cubicBezTo>
                <a:cubicBezTo>
                  <a:pt x="1204" y="428"/>
                  <a:pt x="1206" y="424"/>
                  <a:pt x="1205" y="422"/>
                </a:cubicBezTo>
                <a:cubicBezTo>
                  <a:pt x="1205" y="421"/>
                  <a:pt x="1206" y="419"/>
                  <a:pt x="1206" y="416"/>
                </a:cubicBezTo>
                <a:cubicBezTo>
                  <a:pt x="1207" y="417"/>
                  <a:pt x="1207" y="418"/>
                  <a:pt x="1208" y="418"/>
                </a:cubicBezTo>
                <a:cubicBezTo>
                  <a:pt x="1210" y="419"/>
                  <a:pt x="1212" y="421"/>
                  <a:pt x="1213" y="421"/>
                </a:cubicBezTo>
                <a:cubicBezTo>
                  <a:pt x="1212" y="421"/>
                  <a:pt x="1212" y="421"/>
                  <a:pt x="1212" y="421"/>
                </a:cubicBezTo>
                <a:cubicBezTo>
                  <a:pt x="1208" y="426"/>
                  <a:pt x="1205" y="428"/>
                  <a:pt x="1205" y="434"/>
                </a:cubicBezTo>
                <a:cubicBezTo>
                  <a:pt x="1205" y="439"/>
                  <a:pt x="1210" y="442"/>
                  <a:pt x="1212" y="442"/>
                </a:cubicBezTo>
                <a:cubicBezTo>
                  <a:pt x="1215" y="443"/>
                  <a:pt x="1217" y="443"/>
                  <a:pt x="1220" y="443"/>
                </a:cubicBezTo>
                <a:cubicBezTo>
                  <a:pt x="1226" y="443"/>
                  <a:pt x="1232" y="440"/>
                  <a:pt x="1237" y="438"/>
                </a:cubicBezTo>
                <a:cubicBezTo>
                  <a:pt x="1242" y="435"/>
                  <a:pt x="1245" y="433"/>
                  <a:pt x="1246" y="433"/>
                </a:cubicBezTo>
                <a:cubicBezTo>
                  <a:pt x="1247" y="432"/>
                  <a:pt x="1248" y="431"/>
                  <a:pt x="1251" y="431"/>
                </a:cubicBezTo>
                <a:cubicBezTo>
                  <a:pt x="1253" y="430"/>
                  <a:pt x="1257" y="429"/>
                  <a:pt x="1259" y="429"/>
                </a:cubicBezTo>
                <a:cubicBezTo>
                  <a:pt x="1260" y="429"/>
                  <a:pt x="1261" y="429"/>
                  <a:pt x="1261" y="429"/>
                </a:cubicBezTo>
                <a:cubicBezTo>
                  <a:pt x="1261" y="429"/>
                  <a:pt x="1261" y="429"/>
                  <a:pt x="1261" y="429"/>
                </a:cubicBezTo>
                <a:cubicBezTo>
                  <a:pt x="1263" y="432"/>
                  <a:pt x="1264" y="436"/>
                  <a:pt x="1266" y="440"/>
                </a:cubicBezTo>
                <a:cubicBezTo>
                  <a:pt x="1266" y="440"/>
                  <a:pt x="1266" y="440"/>
                  <a:pt x="1266" y="440"/>
                </a:cubicBezTo>
                <a:cubicBezTo>
                  <a:pt x="1263" y="438"/>
                  <a:pt x="1260" y="437"/>
                  <a:pt x="1256" y="437"/>
                </a:cubicBezTo>
                <a:cubicBezTo>
                  <a:pt x="1251" y="437"/>
                  <a:pt x="1246" y="439"/>
                  <a:pt x="1243" y="444"/>
                </a:cubicBezTo>
                <a:cubicBezTo>
                  <a:pt x="1243" y="444"/>
                  <a:pt x="1243" y="444"/>
                  <a:pt x="1243" y="444"/>
                </a:cubicBezTo>
                <a:cubicBezTo>
                  <a:pt x="1242" y="445"/>
                  <a:pt x="1241" y="447"/>
                  <a:pt x="1241" y="449"/>
                </a:cubicBezTo>
                <a:cubicBezTo>
                  <a:pt x="1242" y="455"/>
                  <a:pt x="1246" y="456"/>
                  <a:pt x="1249" y="458"/>
                </a:cubicBezTo>
                <a:cubicBezTo>
                  <a:pt x="1252" y="459"/>
                  <a:pt x="1256" y="460"/>
                  <a:pt x="1259" y="460"/>
                </a:cubicBezTo>
                <a:cubicBezTo>
                  <a:pt x="1262" y="460"/>
                  <a:pt x="1267" y="460"/>
                  <a:pt x="1270" y="455"/>
                </a:cubicBezTo>
                <a:cubicBezTo>
                  <a:pt x="1271" y="454"/>
                  <a:pt x="1271" y="452"/>
                  <a:pt x="1271" y="450"/>
                </a:cubicBezTo>
                <a:cubicBezTo>
                  <a:pt x="1271" y="448"/>
                  <a:pt x="1271" y="447"/>
                  <a:pt x="1270" y="445"/>
                </a:cubicBezTo>
                <a:cubicBezTo>
                  <a:pt x="1272" y="447"/>
                  <a:pt x="1275" y="449"/>
                  <a:pt x="1279" y="449"/>
                </a:cubicBezTo>
                <a:cubicBezTo>
                  <a:pt x="1284" y="448"/>
                  <a:pt x="1288" y="447"/>
                  <a:pt x="1292" y="444"/>
                </a:cubicBezTo>
                <a:cubicBezTo>
                  <a:pt x="1297" y="441"/>
                  <a:pt x="1301" y="437"/>
                  <a:pt x="1301" y="430"/>
                </a:cubicBezTo>
                <a:cubicBezTo>
                  <a:pt x="1301" y="425"/>
                  <a:pt x="1298" y="420"/>
                  <a:pt x="1292" y="417"/>
                </a:cubicBezTo>
                <a:cubicBezTo>
                  <a:pt x="1284" y="411"/>
                  <a:pt x="1278" y="409"/>
                  <a:pt x="1273" y="407"/>
                </a:cubicBezTo>
                <a:cubicBezTo>
                  <a:pt x="1267" y="405"/>
                  <a:pt x="1264" y="403"/>
                  <a:pt x="1260" y="399"/>
                </a:cubicBezTo>
                <a:cubicBezTo>
                  <a:pt x="1259" y="396"/>
                  <a:pt x="1257" y="395"/>
                  <a:pt x="1256" y="393"/>
                </a:cubicBezTo>
                <a:cubicBezTo>
                  <a:pt x="1260" y="392"/>
                  <a:pt x="1268" y="388"/>
                  <a:pt x="1271" y="387"/>
                </a:cubicBezTo>
                <a:cubicBezTo>
                  <a:pt x="1271" y="387"/>
                  <a:pt x="1277" y="386"/>
                  <a:pt x="1282" y="384"/>
                </a:cubicBezTo>
                <a:cubicBezTo>
                  <a:pt x="1286" y="382"/>
                  <a:pt x="1293" y="377"/>
                  <a:pt x="1293" y="368"/>
                </a:cubicBezTo>
                <a:cubicBezTo>
                  <a:pt x="1293" y="367"/>
                  <a:pt x="1293" y="365"/>
                  <a:pt x="1293" y="364"/>
                </a:cubicBezTo>
                <a:cubicBezTo>
                  <a:pt x="1290" y="356"/>
                  <a:pt x="1285" y="351"/>
                  <a:pt x="1281" y="349"/>
                </a:cubicBezTo>
                <a:cubicBezTo>
                  <a:pt x="1279" y="348"/>
                  <a:pt x="1277" y="347"/>
                  <a:pt x="1276" y="346"/>
                </a:cubicBezTo>
                <a:cubicBezTo>
                  <a:pt x="1278" y="345"/>
                  <a:pt x="1281" y="343"/>
                  <a:pt x="1284" y="342"/>
                </a:cubicBezTo>
                <a:cubicBezTo>
                  <a:pt x="1284" y="342"/>
                  <a:pt x="1286" y="341"/>
                  <a:pt x="1289" y="341"/>
                </a:cubicBezTo>
                <a:cubicBezTo>
                  <a:pt x="1292" y="341"/>
                  <a:pt x="1295" y="341"/>
                  <a:pt x="1298" y="342"/>
                </a:cubicBezTo>
                <a:cubicBezTo>
                  <a:pt x="1300" y="342"/>
                  <a:pt x="1302" y="342"/>
                  <a:pt x="1302" y="342"/>
                </a:cubicBezTo>
                <a:cubicBezTo>
                  <a:pt x="1302" y="342"/>
                  <a:pt x="1304" y="343"/>
                  <a:pt x="1306" y="343"/>
                </a:cubicBezTo>
                <a:cubicBezTo>
                  <a:pt x="1308" y="342"/>
                  <a:pt x="1310" y="342"/>
                  <a:pt x="1313" y="341"/>
                </a:cubicBezTo>
                <a:cubicBezTo>
                  <a:pt x="1314" y="341"/>
                  <a:pt x="1316" y="340"/>
                  <a:pt x="1317" y="339"/>
                </a:cubicBezTo>
                <a:cubicBezTo>
                  <a:pt x="1317" y="339"/>
                  <a:pt x="1318" y="340"/>
                  <a:pt x="1319" y="341"/>
                </a:cubicBezTo>
                <a:cubicBezTo>
                  <a:pt x="1320" y="343"/>
                  <a:pt x="1323" y="344"/>
                  <a:pt x="1326" y="344"/>
                </a:cubicBezTo>
                <a:cubicBezTo>
                  <a:pt x="1327" y="344"/>
                  <a:pt x="1328" y="344"/>
                  <a:pt x="1330" y="343"/>
                </a:cubicBezTo>
                <a:cubicBezTo>
                  <a:pt x="1332" y="343"/>
                  <a:pt x="1334" y="343"/>
                  <a:pt x="1335" y="343"/>
                </a:cubicBezTo>
                <a:cubicBezTo>
                  <a:pt x="1338" y="343"/>
                  <a:pt x="1338" y="343"/>
                  <a:pt x="1343" y="346"/>
                </a:cubicBezTo>
                <a:cubicBezTo>
                  <a:pt x="1343" y="347"/>
                  <a:pt x="1343" y="347"/>
                  <a:pt x="1343" y="347"/>
                </a:cubicBezTo>
                <a:cubicBezTo>
                  <a:pt x="1343" y="349"/>
                  <a:pt x="1342" y="353"/>
                  <a:pt x="1340" y="355"/>
                </a:cubicBezTo>
                <a:cubicBezTo>
                  <a:pt x="1340" y="357"/>
                  <a:pt x="1339" y="358"/>
                  <a:pt x="1338" y="359"/>
                </a:cubicBezTo>
                <a:cubicBezTo>
                  <a:pt x="1338" y="360"/>
                  <a:pt x="1337" y="360"/>
                  <a:pt x="1337" y="360"/>
                </a:cubicBezTo>
                <a:cubicBezTo>
                  <a:pt x="1335" y="361"/>
                  <a:pt x="1333" y="362"/>
                  <a:pt x="1331" y="364"/>
                </a:cubicBezTo>
                <a:cubicBezTo>
                  <a:pt x="1329" y="365"/>
                  <a:pt x="1326" y="366"/>
                  <a:pt x="1325" y="372"/>
                </a:cubicBezTo>
                <a:cubicBezTo>
                  <a:pt x="1325" y="376"/>
                  <a:pt x="1328" y="378"/>
                  <a:pt x="1330" y="379"/>
                </a:cubicBezTo>
                <a:cubicBezTo>
                  <a:pt x="1332" y="380"/>
                  <a:pt x="1334" y="381"/>
                  <a:pt x="1337" y="381"/>
                </a:cubicBezTo>
                <a:cubicBezTo>
                  <a:pt x="1350" y="382"/>
                  <a:pt x="1359" y="382"/>
                  <a:pt x="1359" y="382"/>
                </a:cubicBezTo>
                <a:cubicBezTo>
                  <a:pt x="1361" y="382"/>
                  <a:pt x="1363" y="382"/>
                  <a:pt x="1364" y="380"/>
                </a:cubicBezTo>
                <a:cubicBezTo>
                  <a:pt x="1364" y="380"/>
                  <a:pt x="1372" y="370"/>
                  <a:pt x="1376" y="361"/>
                </a:cubicBezTo>
                <a:cubicBezTo>
                  <a:pt x="1376" y="361"/>
                  <a:pt x="1376" y="361"/>
                  <a:pt x="1376" y="360"/>
                </a:cubicBezTo>
                <a:cubicBezTo>
                  <a:pt x="1378" y="361"/>
                  <a:pt x="1380" y="362"/>
                  <a:pt x="1382" y="364"/>
                </a:cubicBezTo>
                <a:cubicBezTo>
                  <a:pt x="1383" y="364"/>
                  <a:pt x="1385" y="365"/>
                  <a:pt x="1386" y="366"/>
                </a:cubicBezTo>
                <a:cubicBezTo>
                  <a:pt x="1371" y="371"/>
                  <a:pt x="1365" y="381"/>
                  <a:pt x="1362" y="387"/>
                </a:cubicBezTo>
                <a:cubicBezTo>
                  <a:pt x="1361" y="390"/>
                  <a:pt x="1360" y="392"/>
                  <a:pt x="1359" y="392"/>
                </a:cubicBezTo>
                <a:cubicBezTo>
                  <a:pt x="1359" y="392"/>
                  <a:pt x="1359" y="392"/>
                  <a:pt x="1357" y="393"/>
                </a:cubicBezTo>
                <a:cubicBezTo>
                  <a:pt x="1356" y="393"/>
                  <a:pt x="1353" y="392"/>
                  <a:pt x="1349" y="391"/>
                </a:cubicBezTo>
                <a:cubicBezTo>
                  <a:pt x="1343" y="389"/>
                  <a:pt x="1338" y="389"/>
                  <a:pt x="1334" y="389"/>
                </a:cubicBezTo>
                <a:cubicBezTo>
                  <a:pt x="1326" y="388"/>
                  <a:pt x="1319" y="392"/>
                  <a:pt x="1316" y="398"/>
                </a:cubicBezTo>
                <a:cubicBezTo>
                  <a:pt x="1314" y="402"/>
                  <a:pt x="1314" y="407"/>
                  <a:pt x="1314" y="411"/>
                </a:cubicBezTo>
                <a:cubicBezTo>
                  <a:pt x="1314" y="415"/>
                  <a:pt x="1314" y="420"/>
                  <a:pt x="1315" y="424"/>
                </a:cubicBezTo>
                <a:cubicBezTo>
                  <a:pt x="1316" y="426"/>
                  <a:pt x="1317" y="428"/>
                  <a:pt x="1318" y="429"/>
                </a:cubicBezTo>
                <a:cubicBezTo>
                  <a:pt x="1319" y="431"/>
                  <a:pt x="1321" y="433"/>
                  <a:pt x="1325" y="434"/>
                </a:cubicBezTo>
                <a:cubicBezTo>
                  <a:pt x="1326" y="434"/>
                  <a:pt x="1327" y="433"/>
                  <a:pt x="1328" y="433"/>
                </a:cubicBezTo>
                <a:cubicBezTo>
                  <a:pt x="1333" y="431"/>
                  <a:pt x="1338" y="431"/>
                  <a:pt x="1347" y="427"/>
                </a:cubicBezTo>
                <a:cubicBezTo>
                  <a:pt x="1347" y="427"/>
                  <a:pt x="1348" y="427"/>
                  <a:pt x="1351" y="427"/>
                </a:cubicBezTo>
                <a:cubicBezTo>
                  <a:pt x="1359" y="427"/>
                  <a:pt x="1374" y="429"/>
                  <a:pt x="1383" y="429"/>
                </a:cubicBezTo>
                <a:cubicBezTo>
                  <a:pt x="1384" y="429"/>
                  <a:pt x="1385" y="429"/>
                  <a:pt x="1387" y="429"/>
                </a:cubicBezTo>
                <a:cubicBezTo>
                  <a:pt x="1387" y="429"/>
                  <a:pt x="1388" y="429"/>
                  <a:pt x="1389" y="430"/>
                </a:cubicBezTo>
                <a:cubicBezTo>
                  <a:pt x="1391" y="431"/>
                  <a:pt x="1394" y="434"/>
                  <a:pt x="1396" y="436"/>
                </a:cubicBezTo>
                <a:cubicBezTo>
                  <a:pt x="1399" y="438"/>
                  <a:pt x="1401" y="440"/>
                  <a:pt x="1407" y="441"/>
                </a:cubicBezTo>
                <a:cubicBezTo>
                  <a:pt x="1408" y="441"/>
                  <a:pt x="1409" y="440"/>
                  <a:pt x="1410" y="440"/>
                </a:cubicBezTo>
                <a:cubicBezTo>
                  <a:pt x="1412" y="441"/>
                  <a:pt x="1417" y="446"/>
                  <a:pt x="1421" y="450"/>
                </a:cubicBezTo>
                <a:cubicBezTo>
                  <a:pt x="1423" y="451"/>
                  <a:pt x="1425" y="452"/>
                  <a:pt x="1427" y="452"/>
                </a:cubicBezTo>
                <a:cubicBezTo>
                  <a:pt x="1430" y="452"/>
                  <a:pt x="1433" y="451"/>
                  <a:pt x="1434" y="450"/>
                </a:cubicBezTo>
                <a:cubicBezTo>
                  <a:pt x="1435" y="448"/>
                  <a:pt x="1435" y="447"/>
                  <a:pt x="1436" y="447"/>
                </a:cubicBezTo>
                <a:cubicBezTo>
                  <a:pt x="1436" y="447"/>
                  <a:pt x="1437" y="448"/>
                  <a:pt x="1438" y="448"/>
                </a:cubicBezTo>
                <a:cubicBezTo>
                  <a:pt x="1444" y="454"/>
                  <a:pt x="1445" y="455"/>
                  <a:pt x="1445" y="456"/>
                </a:cubicBezTo>
                <a:cubicBezTo>
                  <a:pt x="1445" y="457"/>
                  <a:pt x="1447" y="459"/>
                  <a:pt x="1450" y="460"/>
                </a:cubicBezTo>
                <a:cubicBezTo>
                  <a:pt x="1452" y="460"/>
                  <a:pt x="1453" y="460"/>
                  <a:pt x="1454" y="460"/>
                </a:cubicBezTo>
                <a:cubicBezTo>
                  <a:pt x="1454" y="460"/>
                  <a:pt x="1454" y="460"/>
                  <a:pt x="1455" y="460"/>
                </a:cubicBezTo>
                <a:cubicBezTo>
                  <a:pt x="1461" y="460"/>
                  <a:pt x="1476" y="462"/>
                  <a:pt x="1476" y="462"/>
                </a:cubicBezTo>
                <a:cubicBezTo>
                  <a:pt x="1478" y="462"/>
                  <a:pt x="1479" y="462"/>
                  <a:pt x="1481" y="461"/>
                </a:cubicBezTo>
                <a:cubicBezTo>
                  <a:pt x="1482" y="460"/>
                  <a:pt x="1483" y="458"/>
                  <a:pt x="1483" y="457"/>
                </a:cubicBezTo>
                <a:cubicBezTo>
                  <a:pt x="1483" y="457"/>
                  <a:pt x="1483" y="456"/>
                  <a:pt x="1483" y="456"/>
                </a:cubicBezTo>
                <a:cubicBezTo>
                  <a:pt x="1483" y="455"/>
                  <a:pt x="1484" y="453"/>
                  <a:pt x="1484" y="452"/>
                </a:cubicBezTo>
                <a:cubicBezTo>
                  <a:pt x="1485" y="451"/>
                  <a:pt x="1485" y="451"/>
                  <a:pt x="1486" y="451"/>
                </a:cubicBezTo>
                <a:cubicBezTo>
                  <a:pt x="1487" y="451"/>
                  <a:pt x="1487" y="451"/>
                  <a:pt x="1488" y="451"/>
                </a:cubicBezTo>
                <a:cubicBezTo>
                  <a:pt x="1491" y="452"/>
                  <a:pt x="1494" y="454"/>
                  <a:pt x="1498" y="456"/>
                </a:cubicBezTo>
                <a:cubicBezTo>
                  <a:pt x="1499" y="458"/>
                  <a:pt x="1501" y="459"/>
                  <a:pt x="1502" y="460"/>
                </a:cubicBezTo>
                <a:cubicBezTo>
                  <a:pt x="1504" y="461"/>
                  <a:pt x="1505" y="462"/>
                  <a:pt x="1509" y="462"/>
                </a:cubicBezTo>
                <a:cubicBezTo>
                  <a:pt x="1511" y="462"/>
                  <a:pt x="1514" y="461"/>
                  <a:pt x="1515" y="459"/>
                </a:cubicBezTo>
                <a:cubicBezTo>
                  <a:pt x="1516" y="456"/>
                  <a:pt x="1516" y="455"/>
                  <a:pt x="1516" y="454"/>
                </a:cubicBezTo>
                <a:cubicBezTo>
                  <a:pt x="1516" y="453"/>
                  <a:pt x="1516" y="452"/>
                  <a:pt x="1516" y="452"/>
                </a:cubicBezTo>
                <a:cubicBezTo>
                  <a:pt x="1516" y="447"/>
                  <a:pt x="1516" y="442"/>
                  <a:pt x="1515" y="436"/>
                </a:cubicBezTo>
                <a:cubicBezTo>
                  <a:pt x="1514" y="431"/>
                  <a:pt x="1512" y="425"/>
                  <a:pt x="1506" y="420"/>
                </a:cubicBezTo>
                <a:cubicBezTo>
                  <a:pt x="1501" y="415"/>
                  <a:pt x="1494" y="412"/>
                  <a:pt x="1489" y="409"/>
                </a:cubicBezTo>
                <a:cubicBezTo>
                  <a:pt x="1487" y="407"/>
                  <a:pt x="1484" y="406"/>
                  <a:pt x="1483" y="405"/>
                </a:cubicBezTo>
                <a:cubicBezTo>
                  <a:pt x="1482" y="404"/>
                  <a:pt x="1481" y="404"/>
                  <a:pt x="1481" y="404"/>
                </a:cubicBezTo>
                <a:cubicBezTo>
                  <a:pt x="1481" y="404"/>
                  <a:pt x="1481" y="404"/>
                  <a:pt x="1481" y="404"/>
                </a:cubicBezTo>
                <a:cubicBezTo>
                  <a:pt x="1480" y="402"/>
                  <a:pt x="1479" y="401"/>
                  <a:pt x="1479" y="399"/>
                </a:cubicBezTo>
                <a:cubicBezTo>
                  <a:pt x="1484" y="400"/>
                  <a:pt x="1494" y="403"/>
                  <a:pt x="1499" y="407"/>
                </a:cubicBezTo>
                <a:cubicBezTo>
                  <a:pt x="1506" y="412"/>
                  <a:pt x="1512" y="418"/>
                  <a:pt x="1522" y="419"/>
                </a:cubicBezTo>
                <a:cubicBezTo>
                  <a:pt x="1525" y="419"/>
                  <a:pt x="1528" y="418"/>
                  <a:pt x="1531" y="415"/>
                </a:cubicBezTo>
                <a:cubicBezTo>
                  <a:pt x="1537" y="411"/>
                  <a:pt x="1545" y="408"/>
                  <a:pt x="1550" y="402"/>
                </a:cubicBezTo>
                <a:cubicBezTo>
                  <a:pt x="1554" y="397"/>
                  <a:pt x="1562" y="385"/>
                  <a:pt x="1562" y="385"/>
                </a:cubicBezTo>
                <a:cubicBezTo>
                  <a:pt x="1563" y="383"/>
                  <a:pt x="1564" y="381"/>
                  <a:pt x="1563" y="379"/>
                </a:cubicBezTo>
                <a:cubicBezTo>
                  <a:pt x="1562" y="377"/>
                  <a:pt x="1560" y="376"/>
                  <a:pt x="1558" y="376"/>
                </a:cubicBezTo>
                <a:cubicBezTo>
                  <a:pt x="1558" y="376"/>
                  <a:pt x="1550" y="374"/>
                  <a:pt x="1541" y="372"/>
                </a:cubicBezTo>
                <a:cubicBezTo>
                  <a:pt x="1536" y="371"/>
                  <a:pt x="1532" y="370"/>
                  <a:pt x="1528" y="369"/>
                </a:cubicBezTo>
                <a:cubicBezTo>
                  <a:pt x="1527" y="368"/>
                  <a:pt x="1525" y="368"/>
                  <a:pt x="1524" y="368"/>
                </a:cubicBezTo>
                <a:cubicBezTo>
                  <a:pt x="1524" y="367"/>
                  <a:pt x="1523" y="368"/>
                  <a:pt x="1523" y="368"/>
                </a:cubicBezTo>
                <a:cubicBezTo>
                  <a:pt x="1523" y="368"/>
                  <a:pt x="1523" y="368"/>
                  <a:pt x="1523" y="368"/>
                </a:cubicBezTo>
                <a:cubicBezTo>
                  <a:pt x="1520" y="360"/>
                  <a:pt x="1514" y="358"/>
                  <a:pt x="1509" y="354"/>
                </a:cubicBezTo>
                <a:cubicBezTo>
                  <a:pt x="1503" y="351"/>
                  <a:pt x="1498" y="348"/>
                  <a:pt x="1493" y="347"/>
                </a:cubicBezTo>
                <a:cubicBezTo>
                  <a:pt x="1489" y="347"/>
                  <a:pt x="1487" y="348"/>
                  <a:pt x="1485" y="349"/>
                </a:cubicBezTo>
                <a:cubicBezTo>
                  <a:pt x="1483" y="350"/>
                  <a:pt x="1481" y="350"/>
                  <a:pt x="1480" y="350"/>
                </a:cubicBezTo>
                <a:cubicBezTo>
                  <a:pt x="1478" y="350"/>
                  <a:pt x="1478" y="351"/>
                  <a:pt x="1477" y="347"/>
                </a:cubicBezTo>
                <a:cubicBezTo>
                  <a:pt x="1475" y="341"/>
                  <a:pt x="1473" y="333"/>
                  <a:pt x="1472" y="327"/>
                </a:cubicBezTo>
                <a:cubicBezTo>
                  <a:pt x="1472" y="324"/>
                  <a:pt x="1471" y="321"/>
                  <a:pt x="1470" y="319"/>
                </a:cubicBezTo>
                <a:cubicBezTo>
                  <a:pt x="1469" y="316"/>
                  <a:pt x="1468" y="313"/>
                  <a:pt x="1464" y="311"/>
                </a:cubicBezTo>
                <a:cubicBezTo>
                  <a:pt x="1460" y="310"/>
                  <a:pt x="1448" y="308"/>
                  <a:pt x="1434" y="305"/>
                </a:cubicBezTo>
                <a:cubicBezTo>
                  <a:pt x="1427" y="304"/>
                  <a:pt x="1420" y="302"/>
                  <a:pt x="1415" y="301"/>
                </a:cubicBezTo>
                <a:cubicBezTo>
                  <a:pt x="1410" y="300"/>
                  <a:pt x="1405" y="298"/>
                  <a:pt x="1405" y="298"/>
                </a:cubicBezTo>
                <a:cubicBezTo>
                  <a:pt x="1401" y="295"/>
                  <a:pt x="1392" y="292"/>
                  <a:pt x="1383" y="288"/>
                </a:cubicBezTo>
                <a:cubicBezTo>
                  <a:pt x="1374" y="285"/>
                  <a:pt x="1365" y="280"/>
                  <a:pt x="1360" y="278"/>
                </a:cubicBezTo>
                <a:cubicBezTo>
                  <a:pt x="1350" y="271"/>
                  <a:pt x="1335" y="260"/>
                  <a:pt x="1322" y="260"/>
                </a:cubicBezTo>
                <a:cubicBezTo>
                  <a:pt x="1313" y="260"/>
                  <a:pt x="1283" y="264"/>
                  <a:pt x="1272" y="264"/>
                </a:cubicBezTo>
                <a:cubicBezTo>
                  <a:pt x="1271" y="264"/>
                  <a:pt x="1270" y="264"/>
                  <a:pt x="1270" y="264"/>
                </a:cubicBezTo>
                <a:cubicBezTo>
                  <a:pt x="1268" y="264"/>
                  <a:pt x="1266" y="264"/>
                  <a:pt x="1265" y="264"/>
                </a:cubicBezTo>
                <a:cubicBezTo>
                  <a:pt x="1255" y="264"/>
                  <a:pt x="1239" y="267"/>
                  <a:pt x="1232" y="268"/>
                </a:cubicBezTo>
                <a:cubicBezTo>
                  <a:pt x="1230" y="269"/>
                  <a:pt x="1228" y="270"/>
                  <a:pt x="1226" y="271"/>
                </a:cubicBezTo>
                <a:cubicBezTo>
                  <a:pt x="1225" y="273"/>
                  <a:pt x="1225" y="275"/>
                  <a:pt x="1225" y="277"/>
                </a:cubicBezTo>
                <a:cubicBezTo>
                  <a:pt x="1225" y="283"/>
                  <a:pt x="1228" y="287"/>
                  <a:pt x="1227" y="290"/>
                </a:cubicBezTo>
                <a:cubicBezTo>
                  <a:pt x="1227" y="291"/>
                  <a:pt x="1229" y="290"/>
                  <a:pt x="1224" y="292"/>
                </a:cubicBezTo>
                <a:cubicBezTo>
                  <a:pt x="1222" y="292"/>
                  <a:pt x="1220" y="293"/>
                  <a:pt x="1219" y="293"/>
                </a:cubicBezTo>
                <a:cubicBezTo>
                  <a:pt x="1219" y="291"/>
                  <a:pt x="1220" y="288"/>
                  <a:pt x="1220" y="285"/>
                </a:cubicBezTo>
                <a:cubicBezTo>
                  <a:pt x="1221" y="283"/>
                  <a:pt x="1221" y="280"/>
                  <a:pt x="1221" y="278"/>
                </a:cubicBezTo>
                <a:cubicBezTo>
                  <a:pt x="1221" y="272"/>
                  <a:pt x="1219" y="267"/>
                  <a:pt x="1215" y="263"/>
                </a:cubicBezTo>
                <a:cubicBezTo>
                  <a:pt x="1214" y="261"/>
                  <a:pt x="1212" y="260"/>
                  <a:pt x="1210" y="260"/>
                </a:cubicBezTo>
                <a:cubicBezTo>
                  <a:pt x="1210" y="260"/>
                  <a:pt x="1210" y="260"/>
                  <a:pt x="1211" y="260"/>
                </a:cubicBezTo>
                <a:cubicBezTo>
                  <a:pt x="1213" y="260"/>
                  <a:pt x="1216" y="259"/>
                  <a:pt x="1219" y="260"/>
                </a:cubicBezTo>
                <a:cubicBezTo>
                  <a:pt x="1234" y="261"/>
                  <a:pt x="1256" y="263"/>
                  <a:pt x="1271" y="263"/>
                </a:cubicBezTo>
                <a:cubicBezTo>
                  <a:pt x="1274" y="263"/>
                  <a:pt x="1276" y="263"/>
                  <a:pt x="1278" y="263"/>
                </a:cubicBezTo>
                <a:cubicBezTo>
                  <a:pt x="1286" y="262"/>
                  <a:pt x="1291" y="260"/>
                  <a:pt x="1295" y="257"/>
                </a:cubicBezTo>
                <a:cubicBezTo>
                  <a:pt x="1299" y="254"/>
                  <a:pt x="1301" y="250"/>
                  <a:pt x="1302" y="249"/>
                </a:cubicBezTo>
                <a:cubicBezTo>
                  <a:pt x="1302" y="248"/>
                  <a:pt x="1302" y="247"/>
                  <a:pt x="1302" y="246"/>
                </a:cubicBezTo>
                <a:cubicBezTo>
                  <a:pt x="1302" y="242"/>
                  <a:pt x="1300" y="241"/>
                  <a:pt x="1299" y="240"/>
                </a:cubicBezTo>
                <a:cubicBezTo>
                  <a:pt x="1295" y="237"/>
                  <a:pt x="1289" y="235"/>
                  <a:pt x="1282" y="233"/>
                </a:cubicBezTo>
                <a:cubicBezTo>
                  <a:pt x="1275" y="231"/>
                  <a:pt x="1269" y="230"/>
                  <a:pt x="1264" y="230"/>
                </a:cubicBezTo>
                <a:cubicBezTo>
                  <a:pt x="1263" y="230"/>
                  <a:pt x="1262" y="230"/>
                  <a:pt x="1261" y="230"/>
                </a:cubicBezTo>
                <a:cubicBezTo>
                  <a:pt x="1259" y="231"/>
                  <a:pt x="1247" y="231"/>
                  <a:pt x="1235" y="231"/>
                </a:cubicBezTo>
                <a:cubicBezTo>
                  <a:pt x="1223" y="231"/>
                  <a:pt x="1210" y="231"/>
                  <a:pt x="1205" y="230"/>
                </a:cubicBezTo>
                <a:cubicBezTo>
                  <a:pt x="1199" y="230"/>
                  <a:pt x="1193" y="230"/>
                  <a:pt x="1186" y="230"/>
                </a:cubicBezTo>
                <a:cubicBezTo>
                  <a:pt x="1180" y="230"/>
                  <a:pt x="1174" y="228"/>
                  <a:pt x="1169" y="232"/>
                </a:cubicBezTo>
                <a:cubicBezTo>
                  <a:pt x="1169" y="232"/>
                  <a:pt x="1168" y="232"/>
                  <a:pt x="1168" y="232"/>
                </a:cubicBezTo>
                <a:cubicBezTo>
                  <a:pt x="1163" y="232"/>
                  <a:pt x="1157" y="225"/>
                  <a:pt x="1150" y="220"/>
                </a:cubicBezTo>
                <a:cubicBezTo>
                  <a:pt x="1147" y="218"/>
                  <a:pt x="1141" y="213"/>
                  <a:pt x="1135" y="208"/>
                </a:cubicBezTo>
                <a:cubicBezTo>
                  <a:pt x="1129" y="204"/>
                  <a:pt x="1123" y="199"/>
                  <a:pt x="1116" y="197"/>
                </a:cubicBezTo>
                <a:cubicBezTo>
                  <a:pt x="1107" y="196"/>
                  <a:pt x="1109" y="196"/>
                  <a:pt x="1090" y="190"/>
                </a:cubicBezTo>
                <a:cubicBezTo>
                  <a:pt x="1085" y="189"/>
                  <a:pt x="1078" y="187"/>
                  <a:pt x="1073" y="186"/>
                </a:cubicBezTo>
                <a:cubicBezTo>
                  <a:pt x="1071" y="185"/>
                  <a:pt x="1068" y="184"/>
                  <a:pt x="1067" y="184"/>
                </a:cubicBezTo>
                <a:cubicBezTo>
                  <a:pt x="1067" y="184"/>
                  <a:pt x="1067" y="184"/>
                  <a:pt x="1067" y="184"/>
                </a:cubicBezTo>
                <a:cubicBezTo>
                  <a:pt x="1067" y="184"/>
                  <a:pt x="1067" y="183"/>
                  <a:pt x="1067" y="183"/>
                </a:cubicBezTo>
                <a:cubicBezTo>
                  <a:pt x="1066" y="182"/>
                  <a:pt x="1064" y="180"/>
                  <a:pt x="1062" y="180"/>
                </a:cubicBezTo>
                <a:cubicBezTo>
                  <a:pt x="1059" y="181"/>
                  <a:pt x="1058" y="182"/>
                  <a:pt x="1057" y="182"/>
                </a:cubicBezTo>
                <a:cubicBezTo>
                  <a:pt x="1056" y="184"/>
                  <a:pt x="1056" y="184"/>
                  <a:pt x="1056" y="185"/>
                </a:cubicBezTo>
                <a:cubicBezTo>
                  <a:pt x="1055" y="187"/>
                  <a:pt x="1055" y="190"/>
                  <a:pt x="1055" y="193"/>
                </a:cubicBezTo>
                <a:cubicBezTo>
                  <a:pt x="1055" y="198"/>
                  <a:pt x="1056" y="205"/>
                  <a:pt x="1063" y="209"/>
                </a:cubicBezTo>
                <a:cubicBezTo>
                  <a:pt x="1071" y="214"/>
                  <a:pt x="1085" y="222"/>
                  <a:pt x="1096" y="227"/>
                </a:cubicBezTo>
                <a:cubicBezTo>
                  <a:pt x="1102" y="230"/>
                  <a:pt x="1109" y="231"/>
                  <a:pt x="1115" y="233"/>
                </a:cubicBezTo>
                <a:cubicBezTo>
                  <a:pt x="1122" y="235"/>
                  <a:pt x="1127" y="237"/>
                  <a:pt x="1128" y="240"/>
                </a:cubicBezTo>
                <a:cubicBezTo>
                  <a:pt x="1137" y="252"/>
                  <a:pt x="1158" y="258"/>
                  <a:pt x="1158" y="258"/>
                </a:cubicBezTo>
                <a:cubicBezTo>
                  <a:pt x="1160" y="259"/>
                  <a:pt x="1160" y="259"/>
                  <a:pt x="1160" y="259"/>
                </a:cubicBezTo>
                <a:cubicBezTo>
                  <a:pt x="1184" y="261"/>
                  <a:pt x="1184" y="261"/>
                  <a:pt x="1184" y="261"/>
                </a:cubicBezTo>
                <a:cubicBezTo>
                  <a:pt x="1178" y="265"/>
                  <a:pt x="1170" y="268"/>
                  <a:pt x="1163" y="271"/>
                </a:cubicBezTo>
                <a:cubicBezTo>
                  <a:pt x="1160" y="272"/>
                  <a:pt x="1156" y="274"/>
                  <a:pt x="1153" y="276"/>
                </a:cubicBezTo>
                <a:cubicBezTo>
                  <a:pt x="1151" y="278"/>
                  <a:pt x="1148" y="282"/>
                  <a:pt x="1148" y="287"/>
                </a:cubicBezTo>
                <a:cubicBezTo>
                  <a:pt x="1147" y="289"/>
                  <a:pt x="1148" y="291"/>
                  <a:pt x="1149" y="293"/>
                </a:cubicBezTo>
                <a:cubicBezTo>
                  <a:pt x="1151" y="296"/>
                  <a:pt x="1151" y="298"/>
                  <a:pt x="1151" y="303"/>
                </a:cubicBezTo>
                <a:cubicBezTo>
                  <a:pt x="1152" y="308"/>
                  <a:pt x="1154" y="315"/>
                  <a:pt x="1161" y="320"/>
                </a:cubicBezTo>
                <a:cubicBezTo>
                  <a:pt x="1167" y="326"/>
                  <a:pt x="1172" y="329"/>
                  <a:pt x="1178" y="331"/>
                </a:cubicBezTo>
                <a:cubicBezTo>
                  <a:pt x="1178" y="331"/>
                  <a:pt x="1177" y="331"/>
                  <a:pt x="1177" y="331"/>
                </a:cubicBezTo>
                <a:cubicBezTo>
                  <a:pt x="1172" y="331"/>
                  <a:pt x="1168" y="334"/>
                  <a:pt x="1164" y="337"/>
                </a:cubicBezTo>
                <a:cubicBezTo>
                  <a:pt x="1162" y="338"/>
                  <a:pt x="1160" y="340"/>
                  <a:pt x="1159" y="341"/>
                </a:cubicBezTo>
                <a:cubicBezTo>
                  <a:pt x="1159" y="340"/>
                  <a:pt x="1158" y="339"/>
                  <a:pt x="1158" y="338"/>
                </a:cubicBezTo>
                <a:cubicBezTo>
                  <a:pt x="1153" y="327"/>
                  <a:pt x="1142" y="318"/>
                  <a:pt x="1138" y="316"/>
                </a:cubicBezTo>
                <a:cubicBezTo>
                  <a:pt x="1136" y="312"/>
                  <a:pt x="1128" y="301"/>
                  <a:pt x="1122" y="295"/>
                </a:cubicBezTo>
                <a:cubicBezTo>
                  <a:pt x="1120" y="293"/>
                  <a:pt x="1118" y="292"/>
                  <a:pt x="1116" y="290"/>
                </a:cubicBezTo>
                <a:cubicBezTo>
                  <a:pt x="1122" y="290"/>
                  <a:pt x="1129" y="289"/>
                  <a:pt x="1133" y="288"/>
                </a:cubicBezTo>
                <a:cubicBezTo>
                  <a:pt x="1142" y="287"/>
                  <a:pt x="1144" y="279"/>
                  <a:pt x="1145" y="273"/>
                </a:cubicBezTo>
                <a:cubicBezTo>
                  <a:pt x="1145" y="269"/>
                  <a:pt x="1142" y="261"/>
                  <a:pt x="1134" y="260"/>
                </a:cubicBezTo>
                <a:cubicBezTo>
                  <a:pt x="1132" y="260"/>
                  <a:pt x="1130" y="259"/>
                  <a:pt x="1127" y="257"/>
                </a:cubicBezTo>
                <a:cubicBezTo>
                  <a:pt x="1124" y="256"/>
                  <a:pt x="1121" y="254"/>
                  <a:pt x="1116" y="253"/>
                </a:cubicBezTo>
                <a:cubicBezTo>
                  <a:pt x="1115" y="253"/>
                  <a:pt x="1114" y="253"/>
                  <a:pt x="1113" y="254"/>
                </a:cubicBezTo>
                <a:cubicBezTo>
                  <a:pt x="1114" y="252"/>
                  <a:pt x="1115" y="250"/>
                  <a:pt x="1115" y="248"/>
                </a:cubicBezTo>
                <a:cubicBezTo>
                  <a:pt x="1115" y="247"/>
                  <a:pt x="1115" y="245"/>
                  <a:pt x="1115" y="244"/>
                </a:cubicBezTo>
                <a:cubicBezTo>
                  <a:pt x="1115" y="244"/>
                  <a:pt x="1115" y="244"/>
                  <a:pt x="1115" y="244"/>
                </a:cubicBezTo>
                <a:cubicBezTo>
                  <a:pt x="1111" y="235"/>
                  <a:pt x="1101" y="230"/>
                  <a:pt x="1093" y="230"/>
                </a:cubicBezTo>
                <a:cubicBezTo>
                  <a:pt x="1086" y="230"/>
                  <a:pt x="1079" y="233"/>
                  <a:pt x="1076" y="241"/>
                </a:cubicBezTo>
                <a:cubicBezTo>
                  <a:pt x="1076" y="242"/>
                  <a:pt x="1076" y="243"/>
                  <a:pt x="1076" y="244"/>
                </a:cubicBezTo>
                <a:cubicBezTo>
                  <a:pt x="1076" y="251"/>
                  <a:pt x="1081" y="254"/>
                  <a:pt x="1086" y="256"/>
                </a:cubicBezTo>
                <a:cubicBezTo>
                  <a:pt x="1090" y="258"/>
                  <a:pt x="1095" y="259"/>
                  <a:pt x="1100" y="259"/>
                </a:cubicBezTo>
                <a:cubicBezTo>
                  <a:pt x="1101" y="259"/>
                  <a:pt x="1101" y="259"/>
                  <a:pt x="1102" y="259"/>
                </a:cubicBezTo>
                <a:cubicBezTo>
                  <a:pt x="1099" y="260"/>
                  <a:pt x="1096" y="262"/>
                  <a:pt x="1093" y="263"/>
                </a:cubicBezTo>
                <a:cubicBezTo>
                  <a:pt x="1089" y="266"/>
                  <a:pt x="1086" y="268"/>
                  <a:pt x="1084" y="270"/>
                </a:cubicBezTo>
                <a:cubicBezTo>
                  <a:pt x="1081" y="273"/>
                  <a:pt x="1078" y="275"/>
                  <a:pt x="1078" y="280"/>
                </a:cubicBezTo>
                <a:cubicBezTo>
                  <a:pt x="1078" y="281"/>
                  <a:pt x="1078" y="282"/>
                  <a:pt x="1079" y="283"/>
                </a:cubicBezTo>
                <a:cubicBezTo>
                  <a:pt x="1081" y="289"/>
                  <a:pt x="1086" y="292"/>
                  <a:pt x="1094" y="293"/>
                </a:cubicBezTo>
                <a:cubicBezTo>
                  <a:pt x="1093" y="295"/>
                  <a:pt x="1092" y="297"/>
                  <a:pt x="1091" y="299"/>
                </a:cubicBezTo>
                <a:cubicBezTo>
                  <a:pt x="1091" y="301"/>
                  <a:pt x="1091" y="302"/>
                  <a:pt x="1091" y="303"/>
                </a:cubicBezTo>
                <a:cubicBezTo>
                  <a:pt x="1091" y="311"/>
                  <a:pt x="1094" y="318"/>
                  <a:pt x="1098" y="329"/>
                </a:cubicBezTo>
                <a:cubicBezTo>
                  <a:pt x="1101" y="336"/>
                  <a:pt x="1103" y="347"/>
                  <a:pt x="1103" y="354"/>
                </a:cubicBezTo>
                <a:cubicBezTo>
                  <a:pt x="1103" y="356"/>
                  <a:pt x="1103" y="357"/>
                  <a:pt x="1103" y="358"/>
                </a:cubicBezTo>
                <a:cubicBezTo>
                  <a:pt x="1095" y="360"/>
                  <a:pt x="1093" y="361"/>
                  <a:pt x="1086" y="364"/>
                </a:cubicBezTo>
                <a:cubicBezTo>
                  <a:pt x="1085" y="364"/>
                  <a:pt x="1085" y="364"/>
                  <a:pt x="1084" y="364"/>
                </a:cubicBezTo>
                <a:cubicBezTo>
                  <a:pt x="1084" y="364"/>
                  <a:pt x="1084" y="364"/>
                  <a:pt x="1084" y="364"/>
                </a:cubicBezTo>
                <a:cubicBezTo>
                  <a:pt x="1084" y="364"/>
                  <a:pt x="1084" y="363"/>
                  <a:pt x="1083" y="362"/>
                </a:cubicBezTo>
                <a:cubicBezTo>
                  <a:pt x="1083" y="360"/>
                  <a:pt x="1082" y="357"/>
                  <a:pt x="1082" y="354"/>
                </a:cubicBezTo>
                <a:cubicBezTo>
                  <a:pt x="1082" y="345"/>
                  <a:pt x="1080" y="337"/>
                  <a:pt x="1080" y="333"/>
                </a:cubicBezTo>
                <a:cubicBezTo>
                  <a:pt x="1080" y="333"/>
                  <a:pt x="1080" y="332"/>
                  <a:pt x="1080" y="332"/>
                </a:cubicBezTo>
                <a:cubicBezTo>
                  <a:pt x="1080" y="332"/>
                  <a:pt x="1080" y="332"/>
                  <a:pt x="1080" y="332"/>
                </a:cubicBezTo>
                <a:cubicBezTo>
                  <a:pt x="1081" y="331"/>
                  <a:pt x="1081" y="330"/>
                  <a:pt x="1081" y="329"/>
                </a:cubicBezTo>
                <a:cubicBezTo>
                  <a:pt x="1082" y="327"/>
                  <a:pt x="1080" y="324"/>
                  <a:pt x="1078" y="323"/>
                </a:cubicBezTo>
                <a:cubicBezTo>
                  <a:pt x="1076" y="322"/>
                  <a:pt x="1075" y="322"/>
                  <a:pt x="1075" y="322"/>
                </a:cubicBezTo>
                <a:cubicBezTo>
                  <a:pt x="1070" y="322"/>
                  <a:pt x="1066" y="324"/>
                  <a:pt x="1060" y="324"/>
                </a:cubicBezTo>
                <a:cubicBezTo>
                  <a:pt x="1059" y="324"/>
                  <a:pt x="1057" y="324"/>
                  <a:pt x="1056" y="323"/>
                </a:cubicBezTo>
                <a:cubicBezTo>
                  <a:pt x="1054" y="323"/>
                  <a:pt x="1052" y="323"/>
                  <a:pt x="1050" y="323"/>
                </a:cubicBezTo>
                <a:cubicBezTo>
                  <a:pt x="1046" y="323"/>
                  <a:pt x="1043" y="324"/>
                  <a:pt x="1040" y="325"/>
                </a:cubicBezTo>
                <a:cubicBezTo>
                  <a:pt x="1037" y="327"/>
                  <a:pt x="1034" y="330"/>
                  <a:pt x="1034" y="334"/>
                </a:cubicBezTo>
                <a:cubicBezTo>
                  <a:pt x="1034" y="340"/>
                  <a:pt x="1039" y="343"/>
                  <a:pt x="1043" y="345"/>
                </a:cubicBezTo>
                <a:cubicBezTo>
                  <a:pt x="1047" y="346"/>
                  <a:pt x="1049" y="350"/>
                  <a:pt x="1049" y="353"/>
                </a:cubicBezTo>
                <a:cubicBezTo>
                  <a:pt x="1049" y="356"/>
                  <a:pt x="1048" y="357"/>
                  <a:pt x="1046" y="358"/>
                </a:cubicBezTo>
                <a:cubicBezTo>
                  <a:pt x="1045" y="359"/>
                  <a:pt x="1038" y="360"/>
                  <a:pt x="1031" y="360"/>
                </a:cubicBezTo>
                <a:cubicBezTo>
                  <a:pt x="1015" y="360"/>
                  <a:pt x="995" y="358"/>
                  <a:pt x="987" y="358"/>
                </a:cubicBezTo>
                <a:cubicBezTo>
                  <a:pt x="980" y="358"/>
                  <a:pt x="972" y="359"/>
                  <a:pt x="966" y="359"/>
                </a:cubicBezTo>
                <a:cubicBezTo>
                  <a:pt x="963" y="359"/>
                  <a:pt x="960" y="359"/>
                  <a:pt x="959" y="358"/>
                </a:cubicBezTo>
                <a:cubicBezTo>
                  <a:pt x="957" y="358"/>
                  <a:pt x="958" y="357"/>
                  <a:pt x="958" y="357"/>
                </a:cubicBezTo>
                <a:cubicBezTo>
                  <a:pt x="957" y="357"/>
                  <a:pt x="957" y="357"/>
                  <a:pt x="957" y="357"/>
                </a:cubicBezTo>
                <a:cubicBezTo>
                  <a:pt x="957" y="357"/>
                  <a:pt x="957" y="357"/>
                  <a:pt x="958" y="357"/>
                </a:cubicBezTo>
                <a:cubicBezTo>
                  <a:pt x="959" y="355"/>
                  <a:pt x="967" y="352"/>
                  <a:pt x="970" y="352"/>
                </a:cubicBezTo>
                <a:cubicBezTo>
                  <a:pt x="972" y="352"/>
                  <a:pt x="973" y="352"/>
                  <a:pt x="975" y="352"/>
                </a:cubicBezTo>
                <a:cubicBezTo>
                  <a:pt x="986" y="352"/>
                  <a:pt x="1006" y="352"/>
                  <a:pt x="1017" y="335"/>
                </a:cubicBezTo>
                <a:cubicBezTo>
                  <a:pt x="1019" y="332"/>
                  <a:pt x="1020" y="329"/>
                  <a:pt x="1020" y="325"/>
                </a:cubicBezTo>
                <a:cubicBezTo>
                  <a:pt x="1020" y="317"/>
                  <a:pt x="1013" y="312"/>
                  <a:pt x="1007" y="311"/>
                </a:cubicBezTo>
                <a:cubicBezTo>
                  <a:pt x="1001" y="309"/>
                  <a:pt x="995" y="308"/>
                  <a:pt x="991" y="308"/>
                </a:cubicBezTo>
                <a:cubicBezTo>
                  <a:pt x="984" y="308"/>
                  <a:pt x="980" y="306"/>
                  <a:pt x="969" y="294"/>
                </a:cubicBezTo>
                <a:cubicBezTo>
                  <a:pt x="968" y="292"/>
                  <a:pt x="967" y="291"/>
                  <a:pt x="967" y="290"/>
                </a:cubicBezTo>
                <a:cubicBezTo>
                  <a:pt x="967" y="288"/>
                  <a:pt x="968" y="286"/>
                  <a:pt x="970" y="283"/>
                </a:cubicBezTo>
                <a:cubicBezTo>
                  <a:pt x="972" y="281"/>
                  <a:pt x="975" y="279"/>
                  <a:pt x="975" y="273"/>
                </a:cubicBezTo>
                <a:cubicBezTo>
                  <a:pt x="975" y="272"/>
                  <a:pt x="975" y="270"/>
                  <a:pt x="975" y="269"/>
                </a:cubicBezTo>
                <a:cubicBezTo>
                  <a:pt x="974" y="267"/>
                  <a:pt x="973" y="268"/>
                  <a:pt x="972" y="264"/>
                </a:cubicBezTo>
                <a:cubicBezTo>
                  <a:pt x="972" y="264"/>
                  <a:pt x="972" y="264"/>
                  <a:pt x="972" y="264"/>
                </a:cubicBezTo>
                <a:cubicBezTo>
                  <a:pt x="973" y="264"/>
                  <a:pt x="974" y="265"/>
                  <a:pt x="975" y="264"/>
                </a:cubicBezTo>
                <a:cubicBezTo>
                  <a:pt x="983" y="261"/>
                  <a:pt x="984" y="255"/>
                  <a:pt x="987" y="251"/>
                </a:cubicBezTo>
                <a:cubicBezTo>
                  <a:pt x="988" y="249"/>
                  <a:pt x="989" y="247"/>
                  <a:pt x="990" y="246"/>
                </a:cubicBezTo>
                <a:cubicBezTo>
                  <a:pt x="990" y="246"/>
                  <a:pt x="990" y="246"/>
                  <a:pt x="990" y="246"/>
                </a:cubicBezTo>
                <a:cubicBezTo>
                  <a:pt x="994" y="245"/>
                  <a:pt x="1000" y="244"/>
                  <a:pt x="1007" y="244"/>
                </a:cubicBezTo>
                <a:cubicBezTo>
                  <a:pt x="1009" y="244"/>
                  <a:pt x="1011" y="244"/>
                  <a:pt x="1013" y="245"/>
                </a:cubicBezTo>
                <a:cubicBezTo>
                  <a:pt x="1014" y="245"/>
                  <a:pt x="1014" y="245"/>
                  <a:pt x="1014" y="246"/>
                </a:cubicBezTo>
                <a:cubicBezTo>
                  <a:pt x="1015" y="249"/>
                  <a:pt x="1016" y="251"/>
                  <a:pt x="1018" y="253"/>
                </a:cubicBezTo>
                <a:cubicBezTo>
                  <a:pt x="1019" y="255"/>
                  <a:pt x="1023" y="256"/>
                  <a:pt x="1025" y="256"/>
                </a:cubicBezTo>
                <a:cubicBezTo>
                  <a:pt x="1028" y="256"/>
                  <a:pt x="1029" y="256"/>
                  <a:pt x="1031" y="256"/>
                </a:cubicBezTo>
                <a:cubicBezTo>
                  <a:pt x="1032" y="256"/>
                  <a:pt x="1033" y="256"/>
                  <a:pt x="1034" y="256"/>
                </a:cubicBezTo>
                <a:cubicBezTo>
                  <a:pt x="1034" y="256"/>
                  <a:pt x="1035" y="256"/>
                  <a:pt x="1035" y="256"/>
                </a:cubicBezTo>
                <a:cubicBezTo>
                  <a:pt x="1043" y="256"/>
                  <a:pt x="1049" y="251"/>
                  <a:pt x="1053" y="247"/>
                </a:cubicBezTo>
                <a:cubicBezTo>
                  <a:pt x="1057" y="242"/>
                  <a:pt x="1059" y="238"/>
                  <a:pt x="1060" y="234"/>
                </a:cubicBezTo>
                <a:cubicBezTo>
                  <a:pt x="1060" y="233"/>
                  <a:pt x="1060" y="232"/>
                  <a:pt x="1060" y="232"/>
                </a:cubicBezTo>
                <a:cubicBezTo>
                  <a:pt x="1060" y="223"/>
                  <a:pt x="1052" y="214"/>
                  <a:pt x="1038" y="214"/>
                </a:cubicBezTo>
                <a:cubicBezTo>
                  <a:pt x="1037" y="214"/>
                  <a:pt x="1035" y="214"/>
                  <a:pt x="1034" y="215"/>
                </a:cubicBezTo>
                <a:cubicBezTo>
                  <a:pt x="1031" y="215"/>
                  <a:pt x="1028" y="215"/>
                  <a:pt x="1023" y="215"/>
                </a:cubicBezTo>
                <a:cubicBezTo>
                  <a:pt x="1015" y="215"/>
                  <a:pt x="1005" y="215"/>
                  <a:pt x="995" y="215"/>
                </a:cubicBezTo>
                <a:cubicBezTo>
                  <a:pt x="989" y="215"/>
                  <a:pt x="983" y="215"/>
                  <a:pt x="978" y="215"/>
                </a:cubicBezTo>
                <a:cubicBezTo>
                  <a:pt x="973" y="216"/>
                  <a:pt x="969" y="216"/>
                  <a:pt x="965" y="220"/>
                </a:cubicBezTo>
                <a:cubicBezTo>
                  <a:pt x="965" y="220"/>
                  <a:pt x="965" y="220"/>
                  <a:pt x="965" y="220"/>
                </a:cubicBezTo>
                <a:cubicBezTo>
                  <a:pt x="961" y="224"/>
                  <a:pt x="961" y="230"/>
                  <a:pt x="960" y="234"/>
                </a:cubicBezTo>
                <a:cubicBezTo>
                  <a:pt x="960" y="240"/>
                  <a:pt x="961" y="246"/>
                  <a:pt x="961" y="248"/>
                </a:cubicBezTo>
                <a:cubicBezTo>
                  <a:pt x="960" y="250"/>
                  <a:pt x="960" y="251"/>
                  <a:pt x="960" y="253"/>
                </a:cubicBezTo>
                <a:cubicBezTo>
                  <a:pt x="960" y="256"/>
                  <a:pt x="961" y="258"/>
                  <a:pt x="963" y="261"/>
                </a:cubicBezTo>
                <a:cubicBezTo>
                  <a:pt x="963" y="261"/>
                  <a:pt x="964" y="262"/>
                  <a:pt x="965" y="263"/>
                </a:cubicBezTo>
                <a:cubicBezTo>
                  <a:pt x="964" y="263"/>
                  <a:pt x="963" y="263"/>
                  <a:pt x="963" y="263"/>
                </a:cubicBezTo>
                <a:cubicBezTo>
                  <a:pt x="957" y="263"/>
                  <a:pt x="950" y="264"/>
                  <a:pt x="945" y="264"/>
                </a:cubicBezTo>
                <a:cubicBezTo>
                  <a:pt x="945" y="264"/>
                  <a:pt x="945" y="264"/>
                  <a:pt x="945" y="264"/>
                </a:cubicBezTo>
                <a:cubicBezTo>
                  <a:pt x="945" y="264"/>
                  <a:pt x="946" y="263"/>
                  <a:pt x="948" y="262"/>
                </a:cubicBezTo>
                <a:cubicBezTo>
                  <a:pt x="950" y="260"/>
                  <a:pt x="954" y="257"/>
                  <a:pt x="955" y="252"/>
                </a:cubicBezTo>
                <a:cubicBezTo>
                  <a:pt x="955" y="247"/>
                  <a:pt x="959" y="229"/>
                  <a:pt x="959" y="229"/>
                </a:cubicBezTo>
                <a:cubicBezTo>
                  <a:pt x="959" y="228"/>
                  <a:pt x="959" y="227"/>
                  <a:pt x="959" y="225"/>
                </a:cubicBezTo>
                <a:cubicBezTo>
                  <a:pt x="958" y="225"/>
                  <a:pt x="956" y="216"/>
                  <a:pt x="945" y="215"/>
                </a:cubicBezTo>
                <a:cubicBezTo>
                  <a:pt x="942" y="215"/>
                  <a:pt x="940" y="216"/>
                  <a:pt x="938" y="217"/>
                </a:cubicBezTo>
                <a:cubicBezTo>
                  <a:pt x="931" y="221"/>
                  <a:pt x="928" y="223"/>
                  <a:pt x="927" y="222"/>
                </a:cubicBezTo>
                <a:cubicBezTo>
                  <a:pt x="927" y="222"/>
                  <a:pt x="928" y="222"/>
                  <a:pt x="924" y="222"/>
                </a:cubicBezTo>
                <a:cubicBezTo>
                  <a:pt x="924" y="222"/>
                  <a:pt x="924" y="222"/>
                  <a:pt x="924" y="222"/>
                </a:cubicBezTo>
                <a:cubicBezTo>
                  <a:pt x="924" y="222"/>
                  <a:pt x="923" y="219"/>
                  <a:pt x="920" y="216"/>
                </a:cubicBezTo>
                <a:cubicBezTo>
                  <a:pt x="918" y="212"/>
                  <a:pt x="914" y="208"/>
                  <a:pt x="907" y="208"/>
                </a:cubicBezTo>
                <a:cubicBezTo>
                  <a:pt x="906" y="208"/>
                  <a:pt x="905" y="208"/>
                  <a:pt x="903" y="208"/>
                </a:cubicBezTo>
                <a:cubicBezTo>
                  <a:pt x="888" y="211"/>
                  <a:pt x="884" y="223"/>
                  <a:pt x="882" y="224"/>
                </a:cubicBezTo>
                <a:cubicBezTo>
                  <a:pt x="881" y="226"/>
                  <a:pt x="875" y="228"/>
                  <a:pt x="874" y="228"/>
                </a:cubicBezTo>
                <a:cubicBezTo>
                  <a:pt x="874" y="228"/>
                  <a:pt x="874" y="228"/>
                  <a:pt x="874" y="228"/>
                </a:cubicBezTo>
                <a:cubicBezTo>
                  <a:pt x="870" y="224"/>
                  <a:pt x="854" y="215"/>
                  <a:pt x="854" y="215"/>
                </a:cubicBezTo>
                <a:cubicBezTo>
                  <a:pt x="853" y="214"/>
                  <a:pt x="852" y="214"/>
                  <a:pt x="851" y="214"/>
                </a:cubicBezTo>
                <a:cubicBezTo>
                  <a:pt x="858" y="213"/>
                  <a:pt x="866" y="210"/>
                  <a:pt x="870" y="210"/>
                </a:cubicBezTo>
                <a:cubicBezTo>
                  <a:pt x="871" y="210"/>
                  <a:pt x="871" y="210"/>
                  <a:pt x="872" y="210"/>
                </a:cubicBezTo>
                <a:cubicBezTo>
                  <a:pt x="875" y="213"/>
                  <a:pt x="878" y="214"/>
                  <a:pt x="882" y="214"/>
                </a:cubicBezTo>
                <a:cubicBezTo>
                  <a:pt x="885" y="214"/>
                  <a:pt x="888" y="213"/>
                  <a:pt x="891" y="212"/>
                </a:cubicBezTo>
                <a:cubicBezTo>
                  <a:pt x="893" y="210"/>
                  <a:pt x="896" y="208"/>
                  <a:pt x="897" y="203"/>
                </a:cubicBezTo>
                <a:cubicBezTo>
                  <a:pt x="897" y="202"/>
                  <a:pt x="896" y="202"/>
                  <a:pt x="896" y="201"/>
                </a:cubicBezTo>
                <a:cubicBezTo>
                  <a:pt x="896" y="201"/>
                  <a:pt x="896" y="201"/>
                  <a:pt x="896" y="201"/>
                </a:cubicBezTo>
                <a:cubicBezTo>
                  <a:pt x="896" y="199"/>
                  <a:pt x="897" y="194"/>
                  <a:pt x="897" y="188"/>
                </a:cubicBezTo>
                <a:cubicBezTo>
                  <a:pt x="897" y="185"/>
                  <a:pt x="897" y="182"/>
                  <a:pt x="896" y="179"/>
                </a:cubicBezTo>
                <a:cubicBezTo>
                  <a:pt x="895" y="176"/>
                  <a:pt x="891" y="172"/>
                  <a:pt x="887" y="172"/>
                </a:cubicBezTo>
                <a:cubicBezTo>
                  <a:pt x="886" y="172"/>
                  <a:pt x="886" y="172"/>
                  <a:pt x="885" y="172"/>
                </a:cubicBezTo>
                <a:cubicBezTo>
                  <a:pt x="872" y="173"/>
                  <a:pt x="860" y="184"/>
                  <a:pt x="848" y="188"/>
                </a:cubicBezTo>
                <a:cubicBezTo>
                  <a:pt x="842" y="191"/>
                  <a:pt x="838" y="196"/>
                  <a:pt x="838" y="202"/>
                </a:cubicBezTo>
                <a:cubicBezTo>
                  <a:pt x="838" y="206"/>
                  <a:pt x="841" y="212"/>
                  <a:pt x="847" y="213"/>
                </a:cubicBezTo>
                <a:cubicBezTo>
                  <a:pt x="843" y="213"/>
                  <a:pt x="838" y="213"/>
                  <a:pt x="832" y="212"/>
                </a:cubicBezTo>
                <a:cubicBezTo>
                  <a:pt x="828" y="211"/>
                  <a:pt x="823" y="211"/>
                  <a:pt x="820" y="210"/>
                </a:cubicBezTo>
                <a:cubicBezTo>
                  <a:pt x="819" y="210"/>
                  <a:pt x="818" y="209"/>
                  <a:pt x="817" y="209"/>
                </a:cubicBezTo>
                <a:cubicBezTo>
                  <a:pt x="815" y="202"/>
                  <a:pt x="807" y="193"/>
                  <a:pt x="792" y="193"/>
                </a:cubicBezTo>
                <a:cubicBezTo>
                  <a:pt x="790" y="193"/>
                  <a:pt x="788" y="193"/>
                  <a:pt x="787" y="193"/>
                </a:cubicBezTo>
                <a:cubicBezTo>
                  <a:pt x="777" y="194"/>
                  <a:pt x="766" y="198"/>
                  <a:pt x="756" y="201"/>
                </a:cubicBezTo>
                <a:cubicBezTo>
                  <a:pt x="751" y="203"/>
                  <a:pt x="746" y="204"/>
                  <a:pt x="742" y="206"/>
                </a:cubicBezTo>
                <a:cubicBezTo>
                  <a:pt x="741" y="206"/>
                  <a:pt x="739" y="207"/>
                  <a:pt x="738" y="207"/>
                </a:cubicBezTo>
                <a:cubicBezTo>
                  <a:pt x="737" y="207"/>
                  <a:pt x="737" y="207"/>
                  <a:pt x="737" y="207"/>
                </a:cubicBezTo>
                <a:cubicBezTo>
                  <a:pt x="737" y="207"/>
                  <a:pt x="737" y="207"/>
                  <a:pt x="737" y="207"/>
                </a:cubicBezTo>
                <a:cubicBezTo>
                  <a:pt x="735" y="207"/>
                  <a:pt x="733" y="208"/>
                  <a:pt x="732" y="209"/>
                </a:cubicBezTo>
                <a:cubicBezTo>
                  <a:pt x="730" y="211"/>
                  <a:pt x="729" y="213"/>
                  <a:pt x="729" y="214"/>
                </a:cubicBezTo>
                <a:cubicBezTo>
                  <a:pt x="730" y="216"/>
                  <a:pt x="730" y="217"/>
                  <a:pt x="730" y="218"/>
                </a:cubicBezTo>
                <a:cubicBezTo>
                  <a:pt x="728" y="218"/>
                  <a:pt x="725" y="219"/>
                  <a:pt x="722" y="220"/>
                </a:cubicBezTo>
                <a:cubicBezTo>
                  <a:pt x="719" y="221"/>
                  <a:pt x="715" y="225"/>
                  <a:pt x="714" y="230"/>
                </a:cubicBezTo>
                <a:cubicBezTo>
                  <a:pt x="714" y="231"/>
                  <a:pt x="714" y="232"/>
                  <a:pt x="714" y="233"/>
                </a:cubicBezTo>
                <a:cubicBezTo>
                  <a:pt x="713" y="236"/>
                  <a:pt x="715" y="239"/>
                  <a:pt x="717" y="240"/>
                </a:cubicBezTo>
                <a:cubicBezTo>
                  <a:pt x="723" y="244"/>
                  <a:pt x="729" y="243"/>
                  <a:pt x="736" y="243"/>
                </a:cubicBezTo>
                <a:cubicBezTo>
                  <a:pt x="736" y="243"/>
                  <a:pt x="736" y="243"/>
                  <a:pt x="737" y="243"/>
                </a:cubicBezTo>
                <a:cubicBezTo>
                  <a:pt x="742" y="243"/>
                  <a:pt x="748" y="243"/>
                  <a:pt x="754" y="243"/>
                </a:cubicBezTo>
                <a:cubicBezTo>
                  <a:pt x="761" y="242"/>
                  <a:pt x="766" y="242"/>
                  <a:pt x="771" y="240"/>
                </a:cubicBezTo>
                <a:cubicBezTo>
                  <a:pt x="772" y="239"/>
                  <a:pt x="783" y="236"/>
                  <a:pt x="788" y="236"/>
                </a:cubicBezTo>
                <a:cubicBezTo>
                  <a:pt x="788" y="236"/>
                  <a:pt x="788" y="236"/>
                  <a:pt x="788" y="236"/>
                </a:cubicBezTo>
                <a:cubicBezTo>
                  <a:pt x="788" y="240"/>
                  <a:pt x="789" y="241"/>
                  <a:pt x="790" y="244"/>
                </a:cubicBezTo>
                <a:cubicBezTo>
                  <a:pt x="790" y="244"/>
                  <a:pt x="789" y="244"/>
                  <a:pt x="789" y="244"/>
                </a:cubicBezTo>
                <a:cubicBezTo>
                  <a:pt x="788" y="243"/>
                  <a:pt x="787" y="243"/>
                  <a:pt x="786" y="243"/>
                </a:cubicBezTo>
                <a:cubicBezTo>
                  <a:pt x="779" y="243"/>
                  <a:pt x="774" y="246"/>
                  <a:pt x="771" y="248"/>
                </a:cubicBezTo>
                <a:cubicBezTo>
                  <a:pt x="767" y="250"/>
                  <a:pt x="766" y="251"/>
                  <a:pt x="762" y="251"/>
                </a:cubicBezTo>
                <a:cubicBezTo>
                  <a:pt x="761" y="251"/>
                  <a:pt x="760" y="251"/>
                  <a:pt x="758" y="250"/>
                </a:cubicBezTo>
                <a:cubicBezTo>
                  <a:pt x="754" y="250"/>
                  <a:pt x="750" y="249"/>
                  <a:pt x="747" y="249"/>
                </a:cubicBezTo>
                <a:cubicBezTo>
                  <a:pt x="739" y="249"/>
                  <a:pt x="734" y="251"/>
                  <a:pt x="727" y="251"/>
                </a:cubicBezTo>
                <a:cubicBezTo>
                  <a:pt x="725" y="251"/>
                  <a:pt x="723" y="251"/>
                  <a:pt x="721" y="250"/>
                </a:cubicBezTo>
                <a:cubicBezTo>
                  <a:pt x="715" y="250"/>
                  <a:pt x="711" y="249"/>
                  <a:pt x="706" y="249"/>
                </a:cubicBezTo>
                <a:cubicBezTo>
                  <a:pt x="703" y="249"/>
                  <a:pt x="699" y="250"/>
                  <a:pt x="695" y="252"/>
                </a:cubicBezTo>
                <a:cubicBezTo>
                  <a:pt x="692" y="254"/>
                  <a:pt x="689" y="258"/>
                  <a:pt x="688" y="262"/>
                </a:cubicBezTo>
                <a:cubicBezTo>
                  <a:pt x="687" y="267"/>
                  <a:pt x="685" y="273"/>
                  <a:pt x="683" y="278"/>
                </a:cubicBezTo>
                <a:cubicBezTo>
                  <a:pt x="682" y="280"/>
                  <a:pt x="681" y="282"/>
                  <a:pt x="681" y="283"/>
                </a:cubicBezTo>
                <a:cubicBezTo>
                  <a:pt x="680" y="283"/>
                  <a:pt x="680" y="283"/>
                  <a:pt x="680" y="283"/>
                </a:cubicBezTo>
                <a:cubicBezTo>
                  <a:pt x="677" y="284"/>
                  <a:pt x="674" y="285"/>
                  <a:pt x="672" y="286"/>
                </a:cubicBezTo>
                <a:cubicBezTo>
                  <a:pt x="670" y="288"/>
                  <a:pt x="667" y="290"/>
                  <a:pt x="667" y="295"/>
                </a:cubicBezTo>
                <a:cubicBezTo>
                  <a:pt x="667" y="299"/>
                  <a:pt x="670" y="302"/>
                  <a:pt x="674" y="304"/>
                </a:cubicBezTo>
                <a:cubicBezTo>
                  <a:pt x="677" y="305"/>
                  <a:pt x="681" y="306"/>
                  <a:pt x="687" y="306"/>
                </a:cubicBezTo>
                <a:cubicBezTo>
                  <a:pt x="696" y="308"/>
                  <a:pt x="695" y="309"/>
                  <a:pt x="697" y="311"/>
                </a:cubicBezTo>
                <a:cubicBezTo>
                  <a:pt x="698" y="312"/>
                  <a:pt x="699" y="314"/>
                  <a:pt x="702" y="316"/>
                </a:cubicBezTo>
                <a:cubicBezTo>
                  <a:pt x="705" y="318"/>
                  <a:pt x="709" y="319"/>
                  <a:pt x="713" y="319"/>
                </a:cubicBezTo>
                <a:cubicBezTo>
                  <a:pt x="714" y="319"/>
                  <a:pt x="715" y="319"/>
                  <a:pt x="716" y="319"/>
                </a:cubicBezTo>
                <a:cubicBezTo>
                  <a:pt x="726" y="318"/>
                  <a:pt x="736" y="318"/>
                  <a:pt x="744" y="316"/>
                </a:cubicBezTo>
                <a:cubicBezTo>
                  <a:pt x="752" y="315"/>
                  <a:pt x="760" y="311"/>
                  <a:pt x="763" y="303"/>
                </a:cubicBezTo>
                <a:cubicBezTo>
                  <a:pt x="764" y="302"/>
                  <a:pt x="764" y="301"/>
                  <a:pt x="764" y="300"/>
                </a:cubicBezTo>
                <a:cubicBezTo>
                  <a:pt x="770" y="308"/>
                  <a:pt x="782" y="326"/>
                  <a:pt x="782" y="326"/>
                </a:cubicBezTo>
                <a:cubicBezTo>
                  <a:pt x="783" y="327"/>
                  <a:pt x="783" y="327"/>
                  <a:pt x="783" y="327"/>
                </a:cubicBezTo>
                <a:cubicBezTo>
                  <a:pt x="783" y="327"/>
                  <a:pt x="791" y="335"/>
                  <a:pt x="798" y="340"/>
                </a:cubicBezTo>
                <a:cubicBezTo>
                  <a:pt x="797" y="340"/>
                  <a:pt x="796" y="341"/>
                  <a:pt x="795" y="341"/>
                </a:cubicBezTo>
                <a:cubicBezTo>
                  <a:pt x="795" y="341"/>
                  <a:pt x="794" y="341"/>
                  <a:pt x="793" y="340"/>
                </a:cubicBezTo>
                <a:cubicBezTo>
                  <a:pt x="787" y="335"/>
                  <a:pt x="780" y="334"/>
                  <a:pt x="773" y="332"/>
                </a:cubicBezTo>
                <a:cubicBezTo>
                  <a:pt x="767" y="331"/>
                  <a:pt x="762" y="329"/>
                  <a:pt x="761" y="328"/>
                </a:cubicBezTo>
                <a:cubicBezTo>
                  <a:pt x="756" y="324"/>
                  <a:pt x="750" y="322"/>
                  <a:pt x="743" y="321"/>
                </a:cubicBezTo>
                <a:cubicBezTo>
                  <a:pt x="737" y="320"/>
                  <a:pt x="729" y="320"/>
                  <a:pt x="723" y="320"/>
                </a:cubicBezTo>
                <a:cubicBezTo>
                  <a:pt x="717" y="320"/>
                  <a:pt x="712" y="320"/>
                  <a:pt x="709" y="321"/>
                </a:cubicBezTo>
                <a:cubicBezTo>
                  <a:pt x="709" y="321"/>
                  <a:pt x="708" y="321"/>
                  <a:pt x="707" y="321"/>
                </a:cubicBezTo>
                <a:cubicBezTo>
                  <a:pt x="704" y="321"/>
                  <a:pt x="700" y="320"/>
                  <a:pt x="696" y="319"/>
                </a:cubicBezTo>
                <a:cubicBezTo>
                  <a:pt x="691" y="318"/>
                  <a:pt x="688" y="317"/>
                  <a:pt x="684" y="316"/>
                </a:cubicBezTo>
                <a:cubicBezTo>
                  <a:pt x="680" y="317"/>
                  <a:pt x="678" y="318"/>
                  <a:pt x="676" y="320"/>
                </a:cubicBezTo>
                <a:cubicBezTo>
                  <a:pt x="672" y="322"/>
                  <a:pt x="669" y="324"/>
                  <a:pt x="666" y="327"/>
                </a:cubicBezTo>
                <a:cubicBezTo>
                  <a:pt x="664" y="323"/>
                  <a:pt x="662" y="319"/>
                  <a:pt x="660" y="317"/>
                </a:cubicBezTo>
                <a:cubicBezTo>
                  <a:pt x="659" y="314"/>
                  <a:pt x="656" y="312"/>
                  <a:pt x="653" y="312"/>
                </a:cubicBezTo>
                <a:cubicBezTo>
                  <a:pt x="647" y="313"/>
                  <a:pt x="645" y="316"/>
                  <a:pt x="643" y="318"/>
                </a:cubicBezTo>
                <a:cubicBezTo>
                  <a:pt x="642" y="319"/>
                  <a:pt x="641" y="320"/>
                  <a:pt x="640" y="320"/>
                </a:cubicBezTo>
                <a:cubicBezTo>
                  <a:pt x="640" y="320"/>
                  <a:pt x="640" y="320"/>
                  <a:pt x="640" y="321"/>
                </a:cubicBezTo>
                <a:cubicBezTo>
                  <a:pt x="637" y="320"/>
                  <a:pt x="627" y="314"/>
                  <a:pt x="617" y="314"/>
                </a:cubicBezTo>
                <a:cubicBezTo>
                  <a:pt x="613" y="314"/>
                  <a:pt x="610" y="314"/>
                  <a:pt x="607" y="316"/>
                </a:cubicBezTo>
                <a:cubicBezTo>
                  <a:pt x="600" y="318"/>
                  <a:pt x="596" y="322"/>
                  <a:pt x="594" y="323"/>
                </a:cubicBezTo>
                <a:cubicBezTo>
                  <a:pt x="592" y="324"/>
                  <a:pt x="592" y="325"/>
                  <a:pt x="586" y="325"/>
                </a:cubicBezTo>
                <a:cubicBezTo>
                  <a:pt x="584" y="325"/>
                  <a:pt x="583" y="325"/>
                  <a:pt x="581" y="325"/>
                </a:cubicBezTo>
                <a:cubicBezTo>
                  <a:pt x="564" y="324"/>
                  <a:pt x="560" y="321"/>
                  <a:pt x="552" y="320"/>
                </a:cubicBezTo>
                <a:cubicBezTo>
                  <a:pt x="551" y="320"/>
                  <a:pt x="549" y="320"/>
                  <a:pt x="548" y="321"/>
                </a:cubicBezTo>
                <a:cubicBezTo>
                  <a:pt x="541" y="322"/>
                  <a:pt x="541" y="322"/>
                  <a:pt x="541" y="322"/>
                </a:cubicBezTo>
                <a:cubicBezTo>
                  <a:pt x="538" y="323"/>
                  <a:pt x="536" y="326"/>
                  <a:pt x="536" y="329"/>
                </a:cubicBezTo>
                <a:cubicBezTo>
                  <a:pt x="536" y="329"/>
                  <a:pt x="537" y="331"/>
                  <a:pt x="532" y="334"/>
                </a:cubicBezTo>
                <a:cubicBezTo>
                  <a:pt x="529" y="336"/>
                  <a:pt x="527" y="338"/>
                  <a:pt x="525" y="339"/>
                </a:cubicBezTo>
                <a:cubicBezTo>
                  <a:pt x="524" y="340"/>
                  <a:pt x="523" y="341"/>
                  <a:pt x="522" y="341"/>
                </a:cubicBezTo>
                <a:cubicBezTo>
                  <a:pt x="522" y="341"/>
                  <a:pt x="522" y="341"/>
                  <a:pt x="522" y="341"/>
                </a:cubicBezTo>
                <a:cubicBezTo>
                  <a:pt x="522" y="341"/>
                  <a:pt x="521" y="340"/>
                  <a:pt x="521" y="340"/>
                </a:cubicBezTo>
                <a:cubicBezTo>
                  <a:pt x="515" y="330"/>
                  <a:pt x="507" y="329"/>
                  <a:pt x="505" y="328"/>
                </a:cubicBezTo>
                <a:cubicBezTo>
                  <a:pt x="505" y="328"/>
                  <a:pt x="503" y="327"/>
                  <a:pt x="500" y="325"/>
                </a:cubicBezTo>
                <a:cubicBezTo>
                  <a:pt x="497" y="323"/>
                  <a:pt x="492" y="322"/>
                  <a:pt x="487" y="322"/>
                </a:cubicBezTo>
                <a:cubicBezTo>
                  <a:pt x="484" y="322"/>
                  <a:pt x="480" y="323"/>
                  <a:pt x="476" y="324"/>
                </a:cubicBezTo>
                <a:cubicBezTo>
                  <a:pt x="474" y="324"/>
                  <a:pt x="472" y="324"/>
                  <a:pt x="469" y="324"/>
                </a:cubicBezTo>
                <a:cubicBezTo>
                  <a:pt x="463" y="324"/>
                  <a:pt x="456" y="323"/>
                  <a:pt x="450" y="321"/>
                </a:cubicBezTo>
                <a:cubicBezTo>
                  <a:pt x="444" y="320"/>
                  <a:pt x="440" y="318"/>
                  <a:pt x="435" y="318"/>
                </a:cubicBezTo>
                <a:cubicBezTo>
                  <a:pt x="432" y="318"/>
                  <a:pt x="389" y="315"/>
                  <a:pt x="382" y="313"/>
                </a:cubicBezTo>
                <a:cubicBezTo>
                  <a:pt x="375" y="311"/>
                  <a:pt x="364" y="310"/>
                  <a:pt x="354" y="310"/>
                </a:cubicBezTo>
                <a:cubicBezTo>
                  <a:pt x="347" y="310"/>
                  <a:pt x="341" y="310"/>
                  <a:pt x="337" y="311"/>
                </a:cubicBezTo>
                <a:cubicBezTo>
                  <a:pt x="330" y="312"/>
                  <a:pt x="313" y="312"/>
                  <a:pt x="307" y="312"/>
                </a:cubicBezTo>
                <a:cubicBezTo>
                  <a:pt x="306" y="311"/>
                  <a:pt x="303" y="309"/>
                  <a:pt x="300" y="307"/>
                </a:cubicBezTo>
                <a:cubicBezTo>
                  <a:pt x="297" y="305"/>
                  <a:pt x="295" y="303"/>
                  <a:pt x="292" y="302"/>
                </a:cubicBezTo>
                <a:cubicBezTo>
                  <a:pt x="290" y="300"/>
                  <a:pt x="289" y="299"/>
                  <a:pt x="284" y="299"/>
                </a:cubicBezTo>
                <a:cubicBezTo>
                  <a:pt x="281" y="299"/>
                  <a:pt x="279" y="300"/>
                  <a:pt x="277" y="300"/>
                </a:cubicBezTo>
                <a:cubicBezTo>
                  <a:pt x="274" y="301"/>
                  <a:pt x="272" y="302"/>
                  <a:pt x="270" y="302"/>
                </a:cubicBezTo>
                <a:cubicBezTo>
                  <a:pt x="268" y="302"/>
                  <a:pt x="268" y="301"/>
                  <a:pt x="267" y="301"/>
                </a:cubicBezTo>
                <a:cubicBezTo>
                  <a:pt x="260" y="292"/>
                  <a:pt x="249" y="288"/>
                  <a:pt x="249" y="288"/>
                </a:cubicBezTo>
                <a:cubicBezTo>
                  <a:pt x="247" y="287"/>
                  <a:pt x="245" y="287"/>
                  <a:pt x="244" y="288"/>
                </a:cubicBezTo>
                <a:cubicBezTo>
                  <a:pt x="242" y="289"/>
                  <a:pt x="241" y="290"/>
                  <a:pt x="241" y="292"/>
                </a:cubicBezTo>
                <a:cubicBezTo>
                  <a:pt x="241" y="292"/>
                  <a:pt x="240" y="295"/>
                  <a:pt x="238" y="299"/>
                </a:cubicBezTo>
                <a:cubicBezTo>
                  <a:pt x="236" y="302"/>
                  <a:pt x="233" y="306"/>
                  <a:pt x="232" y="306"/>
                </a:cubicBezTo>
                <a:cubicBezTo>
                  <a:pt x="226" y="308"/>
                  <a:pt x="213" y="312"/>
                  <a:pt x="208" y="312"/>
                </a:cubicBezTo>
                <a:cubicBezTo>
                  <a:pt x="208" y="312"/>
                  <a:pt x="208" y="312"/>
                  <a:pt x="208" y="312"/>
                </a:cubicBezTo>
                <a:cubicBezTo>
                  <a:pt x="206" y="311"/>
                  <a:pt x="205" y="311"/>
                  <a:pt x="204" y="311"/>
                </a:cubicBezTo>
                <a:cubicBezTo>
                  <a:pt x="198" y="311"/>
                  <a:pt x="190" y="314"/>
                  <a:pt x="183" y="317"/>
                </a:cubicBezTo>
                <a:cubicBezTo>
                  <a:pt x="176" y="320"/>
                  <a:pt x="169" y="322"/>
                  <a:pt x="169" y="323"/>
                </a:cubicBezTo>
                <a:cubicBezTo>
                  <a:pt x="168" y="324"/>
                  <a:pt x="168" y="324"/>
                  <a:pt x="168" y="324"/>
                </a:cubicBezTo>
                <a:cubicBezTo>
                  <a:pt x="168" y="324"/>
                  <a:pt x="163" y="328"/>
                  <a:pt x="159" y="332"/>
                </a:cubicBezTo>
                <a:cubicBezTo>
                  <a:pt x="156" y="334"/>
                  <a:pt x="154" y="336"/>
                  <a:pt x="152" y="338"/>
                </a:cubicBezTo>
                <a:cubicBezTo>
                  <a:pt x="151" y="338"/>
                  <a:pt x="150" y="340"/>
                  <a:pt x="149" y="340"/>
                </a:cubicBezTo>
                <a:cubicBezTo>
                  <a:pt x="149" y="340"/>
                  <a:pt x="149" y="340"/>
                  <a:pt x="149" y="340"/>
                </a:cubicBezTo>
                <a:cubicBezTo>
                  <a:pt x="146" y="336"/>
                  <a:pt x="140" y="337"/>
                  <a:pt x="134" y="337"/>
                </a:cubicBezTo>
                <a:cubicBezTo>
                  <a:pt x="132" y="337"/>
                  <a:pt x="130" y="337"/>
                  <a:pt x="128" y="338"/>
                </a:cubicBezTo>
                <a:cubicBezTo>
                  <a:pt x="126" y="338"/>
                  <a:pt x="122" y="340"/>
                  <a:pt x="122" y="345"/>
                </a:cubicBezTo>
                <a:cubicBezTo>
                  <a:pt x="122" y="347"/>
                  <a:pt x="122" y="348"/>
                  <a:pt x="122" y="348"/>
                </a:cubicBezTo>
                <a:cubicBezTo>
                  <a:pt x="123" y="349"/>
                  <a:pt x="123" y="354"/>
                  <a:pt x="126" y="359"/>
                </a:cubicBezTo>
                <a:cubicBezTo>
                  <a:pt x="129" y="365"/>
                  <a:pt x="136" y="369"/>
                  <a:pt x="146" y="369"/>
                </a:cubicBezTo>
                <a:cubicBezTo>
                  <a:pt x="155" y="369"/>
                  <a:pt x="158" y="370"/>
                  <a:pt x="161" y="372"/>
                </a:cubicBezTo>
                <a:cubicBezTo>
                  <a:pt x="163" y="373"/>
                  <a:pt x="166" y="377"/>
                  <a:pt x="172" y="378"/>
                </a:cubicBezTo>
                <a:cubicBezTo>
                  <a:pt x="176" y="379"/>
                  <a:pt x="178" y="379"/>
                  <a:pt x="179" y="379"/>
                </a:cubicBezTo>
                <a:cubicBezTo>
                  <a:pt x="180" y="380"/>
                  <a:pt x="182" y="381"/>
                  <a:pt x="186" y="385"/>
                </a:cubicBezTo>
                <a:cubicBezTo>
                  <a:pt x="188" y="387"/>
                  <a:pt x="189" y="388"/>
                  <a:pt x="189" y="390"/>
                </a:cubicBezTo>
                <a:cubicBezTo>
                  <a:pt x="189" y="390"/>
                  <a:pt x="189" y="390"/>
                  <a:pt x="189" y="390"/>
                </a:cubicBezTo>
                <a:cubicBezTo>
                  <a:pt x="179" y="388"/>
                  <a:pt x="168" y="385"/>
                  <a:pt x="163" y="380"/>
                </a:cubicBezTo>
                <a:cubicBezTo>
                  <a:pt x="156" y="373"/>
                  <a:pt x="156" y="373"/>
                  <a:pt x="156" y="373"/>
                </a:cubicBezTo>
                <a:cubicBezTo>
                  <a:pt x="155" y="372"/>
                  <a:pt x="152" y="371"/>
                  <a:pt x="149" y="372"/>
                </a:cubicBezTo>
                <a:cubicBezTo>
                  <a:pt x="138" y="379"/>
                  <a:pt x="138" y="379"/>
                  <a:pt x="138" y="379"/>
                </a:cubicBezTo>
                <a:cubicBezTo>
                  <a:pt x="120" y="381"/>
                  <a:pt x="100" y="390"/>
                  <a:pt x="100" y="390"/>
                </a:cubicBezTo>
                <a:cubicBezTo>
                  <a:pt x="97" y="392"/>
                  <a:pt x="96" y="395"/>
                  <a:pt x="97" y="398"/>
                </a:cubicBezTo>
                <a:cubicBezTo>
                  <a:pt x="97" y="399"/>
                  <a:pt x="104" y="412"/>
                  <a:pt x="116" y="421"/>
                </a:cubicBezTo>
                <a:cubicBezTo>
                  <a:pt x="129" y="431"/>
                  <a:pt x="152" y="430"/>
                  <a:pt x="156" y="431"/>
                </a:cubicBezTo>
                <a:cubicBezTo>
                  <a:pt x="156" y="431"/>
                  <a:pt x="156" y="431"/>
                  <a:pt x="156" y="431"/>
                </a:cubicBezTo>
                <a:cubicBezTo>
                  <a:pt x="148" y="433"/>
                  <a:pt x="145" y="435"/>
                  <a:pt x="141" y="439"/>
                </a:cubicBezTo>
                <a:cubicBezTo>
                  <a:pt x="137" y="443"/>
                  <a:pt x="133" y="445"/>
                  <a:pt x="130" y="448"/>
                </a:cubicBezTo>
                <a:cubicBezTo>
                  <a:pt x="126" y="451"/>
                  <a:pt x="122" y="455"/>
                  <a:pt x="122" y="461"/>
                </a:cubicBezTo>
                <a:cubicBezTo>
                  <a:pt x="122" y="463"/>
                  <a:pt x="123" y="466"/>
                  <a:pt x="124" y="468"/>
                </a:cubicBezTo>
                <a:cubicBezTo>
                  <a:pt x="126" y="473"/>
                  <a:pt x="129" y="477"/>
                  <a:pt x="132" y="481"/>
                </a:cubicBezTo>
                <a:cubicBezTo>
                  <a:pt x="131" y="480"/>
                  <a:pt x="129" y="480"/>
                  <a:pt x="128" y="480"/>
                </a:cubicBezTo>
                <a:cubicBezTo>
                  <a:pt x="127" y="480"/>
                  <a:pt x="127" y="480"/>
                  <a:pt x="127" y="480"/>
                </a:cubicBezTo>
                <a:cubicBezTo>
                  <a:pt x="123" y="480"/>
                  <a:pt x="121" y="480"/>
                  <a:pt x="119" y="481"/>
                </a:cubicBezTo>
                <a:cubicBezTo>
                  <a:pt x="116" y="482"/>
                  <a:pt x="115" y="483"/>
                  <a:pt x="110" y="485"/>
                </a:cubicBezTo>
                <a:cubicBezTo>
                  <a:pt x="108" y="485"/>
                  <a:pt x="105" y="489"/>
                  <a:pt x="105" y="492"/>
                </a:cubicBezTo>
                <a:cubicBezTo>
                  <a:pt x="105" y="496"/>
                  <a:pt x="107" y="497"/>
                  <a:pt x="108" y="499"/>
                </a:cubicBezTo>
                <a:cubicBezTo>
                  <a:pt x="110" y="501"/>
                  <a:pt x="113" y="503"/>
                  <a:pt x="115" y="505"/>
                </a:cubicBezTo>
                <a:cubicBezTo>
                  <a:pt x="118" y="506"/>
                  <a:pt x="121" y="508"/>
                  <a:pt x="125" y="508"/>
                </a:cubicBezTo>
                <a:cubicBezTo>
                  <a:pt x="130" y="507"/>
                  <a:pt x="132" y="504"/>
                  <a:pt x="135" y="501"/>
                </a:cubicBezTo>
                <a:cubicBezTo>
                  <a:pt x="137" y="498"/>
                  <a:pt x="138" y="495"/>
                  <a:pt x="138" y="491"/>
                </a:cubicBezTo>
                <a:cubicBezTo>
                  <a:pt x="138" y="490"/>
                  <a:pt x="138" y="489"/>
                  <a:pt x="138" y="488"/>
                </a:cubicBezTo>
                <a:cubicBezTo>
                  <a:pt x="140" y="491"/>
                  <a:pt x="142" y="493"/>
                  <a:pt x="144" y="495"/>
                </a:cubicBezTo>
                <a:cubicBezTo>
                  <a:pt x="145" y="496"/>
                  <a:pt x="145" y="497"/>
                  <a:pt x="146" y="498"/>
                </a:cubicBezTo>
                <a:cubicBezTo>
                  <a:pt x="146" y="498"/>
                  <a:pt x="146" y="499"/>
                  <a:pt x="146" y="499"/>
                </a:cubicBezTo>
                <a:cubicBezTo>
                  <a:pt x="147" y="503"/>
                  <a:pt x="152" y="506"/>
                  <a:pt x="155" y="506"/>
                </a:cubicBezTo>
                <a:cubicBezTo>
                  <a:pt x="161" y="506"/>
                  <a:pt x="165" y="503"/>
                  <a:pt x="170" y="500"/>
                </a:cubicBezTo>
                <a:cubicBezTo>
                  <a:pt x="174" y="497"/>
                  <a:pt x="178" y="495"/>
                  <a:pt x="180" y="490"/>
                </a:cubicBezTo>
                <a:cubicBezTo>
                  <a:pt x="180" y="491"/>
                  <a:pt x="180" y="492"/>
                  <a:pt x="180" y="494"/>
                </a:cubicBezTo>
                <a:cubicBezTo>
                  <a:pt x="179" y="495"/>
                  <a:pt x="179" y="497"/>
                  <a:pt x="179" y="499"/>
                </a:cubicBezTo>
                <a:cubicBezTo>
                  <a:pt x="179" y="507"/>
                  <a:pt x="184" y="513"/>
                  <a:pt x="188" y="515"/>
                </a:cubicBezTo>
                <a:cubicBezTo>
                  <a:pt x="192" y="518"/>
                  <a:pt x="196" y="519"/>
                  <a:pt x="196" y="519"/>
                </a:cubicBezTo>
                <a:cubicBezTo>
                  <a:pt x="199" y="519"/>
                  <a:pt x="201" y="518"/>
                  <a:pt x="202" y="515"/>
                </a:cubicBezTo>
                <a:cubicBezTo>
                  <a:pt x="202" y="515"/>
                  <a:pt x="204" y="513"/>
                  <a:pt x="205" y="510"/>
                </a:cubicBezTo>
                <a:cubicBezTo>
                  <a:pt x="206" y="510"/>
                  <a:pt x="206" y="510"/>
                  <a:pt x="206" y="509"/>
                </a:cubicBezTo>
                <a:cubicBezTo>
                  <a:pt x="208" y="511"/>
                  <a:pt x="210" y="513"/>
                  <a:pt x="212" y="515"/>
                </a:cubicBezTo>
                <a:cubicBezTo>
                  <a:pt x="215" y="518"/>
                  <a:pt x="218" y="521"/>
                  <a:pt x="218" y="521"/>
                </a:cubicBezTo>
                <a:cubicBezTo>
                  <a:pt x="220" y="523"/>
                  <a:pt x="224" y="524"/>
                  <a:pt x="226" y="522"/>
                </a:cubicBezTo>
                <a:cubicBezTo>
                  <a:pt x="226" y="522"/>
                  <a:pt x="228" y="520"/>
                  <a:pt x="231" y="519"/>
                </a:cubicBezTo>
                <a:cubicBezTo>
                  <a:pt x="233" y="517"/>
                  <a:pt x="236" y="516"/>
                  <a:pt x="237" y="516"/>
                </a:cubicBezTo>
                <a:cubicBezTo>
                  <a:pt x="237" y="516"/>
                  <a:pt x="237" y="516"/>
                  <a:pt x="237" y="517"/>
                </a:cubicBezTo>
                <a:cubicBezTo>
                  <a:pt x="237" y="517"/>
                  <a:pt x="236" y="519"/>
                  <a:pt x="234" y="521"/>
                </a:cubicBezTo>
                <a:cubicBezTo>
                  <a:pt x="231" y="523"/>
                  <a:pt x="228" y="525"/>
                  <a:pt x="225" y="527"/>
                </a:cubicBezTo>
                <a:cubicBezTo>
                  <a:pt x="222" y="529"/>
                  <a:pt x="214" y="532"/>
                  <a:pt x="206" y="536"/>
                </a:cubicBezTo>
                <a:cubicBezTo>
                  <a:pt x="198" y="540"/>
                  <a:pt x="191" y="544"/>
                  <a:pt x="187" y="546"/>
                </a:cubicBezTo>
                <a:cubicBezTo>
                  <a:pt x="184" y="548"/>
                  <a:pt x="177" y="552"/>
                  <a:pt x="171" y="556"/>
                </a:cubicBezTo>
                <a:cubicBezTo>
                  <a:pt x="167" y="558"/>
                  <a:pt x="164" y="559"/>
                  <a:pt x="161" y="560"/>
                </a:cubicBezTo>
                <a:cubicBezTo>
                  <a:pt x="160" y="561"/>
                  <a:pt x="159" y="560"/>
                  <a:pt x="158" y="561"/>
                </a:cubicBezTo>
                <a:cubicBezTo>
                  <a:pt x="157" y="561"/>
                  <a:pt x="157" y="560"/>
                  <a:pt x="157" y="560"/>
                </a:cubicBezTo>
                <a:cubicBezTo>
                  <a:pt x="157" y="560"/>
                  <a:pt x="157" y="560"/>
                  <a:pt x="157" y="560"/>
                </a:cubicBezTo>
                <a:cubicBezTo>
                  <a:pt x="152" y="560"/>
                  <a:pt x="149" y="564"/>
                  <a:pt x="148" y="567"/>
                </a:cubicBezTo>
                <a:cubicBezTo>
                  <a:pt x="147" y="569"/>
                  <a:pt x="146" y="573"/>
                  <a:pt x="146" y="576"/>
                </a:cubicBezTo>
                <a:cubicBezTo>
                  <a:pt x="146" y="578"/>
                  <a:pt x="146" y="582"/>
                  <a:pt x="148" y="584"/>
                </a:cubicBezTo>
                <a:cubicBezTo>
                  <a:pt x="150" y="587"/>
                  <a:pt x="154" y="589"/>
                  <a:pt x="158" y="589"/>
                </a:cubicBezTo>
                <a:cubicBezTo>
                  <a:pt x="158" y="589"/>
                  <a:pt x="159" y="589"/>
                  <a:pt x="160" y="589"/>
                </a:cubicBezTo>
                <a:cubicBezTo>
                  <a:pt x="172" y="587"/>
                  <a:pt x="200" y="576"/>
                  <a:pt x="209" y="571"/>
                </a:cubicBezTo>
                <a:cubicBezTo>
                  <a:pt x="210" y="571"/>
                  <a:pt x="210" y="572"/>
                  <a:pt x="210" y="572"/>
                </a:cubicBezTo>
                <a:cubicBezTo>
                  <a:pt x="210" y="572"/>
                  <a:pt x="210" y="572"/>
                  <a:pt x="210" y="572"/>
                </a:cubicBezTo>
                <a:cubicBezTo>
                  <a:pt x="210" y="572"/>
                  <a:pt x="210" y="571"/>
                  <a:pt x="211" y="571"/>
                </a:cubicBezTo>
                <a:cubicBezTo>
                  <a:pt x="212" y="571"/>
                  <a:pt x="213" y="571"/>
                  <a:pt x="215" y="571"/>
                </a:cubicBezTo>
                <a:cubicBezTo>
                  <a:pt x="220" y="571"/>
                  <a:pt x="225" y="569"/>
                  <a:pt x="235" y="564"/>
                </a:cubicBezTo>
                <a:cubicBezTo>
                  <a:pt x="245" y="558"/>
                  <a:pt x="253" y="552"/>
                  <a:pt x="259" y="548"/>
                </a:cubicBezTo>
                <a:cubicBezTo>
                  <a:pt x="262" y="546"/>
                  <a:pt x="265" y="544"/>
                  <a:pt x="267" y="543"/>
                </a:cubicBezTo>
                <a:cubicBezTo>
                  <a:pt x="268" y="543"/>
                  <a:pt x="269" y="542"/>
                  <a:pt x="269" y="542"/>
                </a:cubicBezTo>
                <a:cubicBezTo>
                  <a:pt x="270" y="542"/>
                  <a:pt x="270" y="542"/>
                  <a:pt x="270" y="543"/>
                </a:cubicBezTo>
                <a:cubicBezTo>
                  <a:pt x="272" y="544"/>
                  <a:pt x="275" y="553"/>
                  <a:pt x="285" y="556"/>
                </a:cubicBezTo>
                <a:cubicBezTo>
                  <a:pt x="287" y="556"/>
                  <a:pt x="288" y="557"/>
                  <a:pt x="290" y="557"/>
                </a:cubicBezTo>
                <a:cubicBezTo>
                  <a:pt x="302" y="556"/>
                  <a:pt x="309" y="545"/>
                  <a:pt x="313" y="543"/>
                </a:cubicBezTo>
                <a:cubicBezTo>
                  <a:pt x="320" y="537"/>
                  <a:pt x="323" y="529"/>
                  <a:pt x="323" y="522"/>
                </a:cubicBezTo>
                <a:cubicBezTo>
                  <a:pt x="323" y="520"/>
                  <a:pt x="323" y="518"/>
                  <a:pt x="322" y="516"/>
                </a:cubicBezTo>
                <a:cubicBezTo>
                  <a:pt x="321" y="514"/>
                  <a:pt x="318" y="512"/>
                  <a:pt x="315" y="512"/>
                </a:cubicBezTo>
                <a:cubicBezTo>
                  <a:pt x="314" y="512"/>
                  <a:pt x="314" y="512"/>
                  <a:pt x="313" y="512"/>
                </a:cubicBezTo>
                <a:cubicBezTo>
                  <a:pt x="312" y="513"/>
                  <a:pt x="311" y="513"/>
                  <a:pt x="310" y="513"/>
                </a:cubicBezTo>
                <a:cubicBezTo>
                  <a:pt x="313" y="510"/>
                  <a:pt x="315" y="506"/>
                  <a:pt x="316" y="500"/>
                </a:cubicBezTo>
                <a:cubicBezTo>
                  <a:pt x="316" y="496"/>
                  <a:pt x="317" y="489"/>
                  <a:pt x="321" y="486"/>
                </a:cubicBezTo>
                <a:cubicBezTo>
                  <a:pt x="321" y="487"/>
                  <a:pt x="320" y="489"/>
                  <a:pt x="319" y="492"/>
                </a:cubicBezTo>
                <a:cubicBezTo>
                  <a:pt x="318" y="494"/>
                  <a:pt x="318" y="497"/>
                  <a:pt x="318" y="499"/>
                </a:cubicBezTo>
                <a:cubicBezTo>
                  <a:pt x="318" y="502"/>
                  <a:pt x="318" y="505"/>
                  <a:pt x="321" y="507"/>
                </a:cubicBezTo>
                <a:cubicBezTo>
                  <a:pt x="323" y="509"/>
                  <a:pt x="326" y="510"/>
                  <a:pt x="328" y="510"/>
                </a:cubicBezTo>
                <a:cubicBezTo>
                  <a:pt x="336" y="509"/>
                  <a:pt x="342" y="505"/>
                  <a:pt x="347" y="501"/>
                </a:cubicBezTo>
                <a:cubicBezTo>
                  <a:pt x="350" y="498"/>
                  <a:pt x="350" y="499"/>
                  <a:pt x="354" y="498"/>
                </a:cubicBezTo>
                <a:cubicBezTo>
                  <a:pt x="358" y="497"/>
                  <a:pt x="364" y="495"/>
                  <a:pt x="371" y="490"/>
                </a:cubicBezTo>
                <a:cubicBezTo>
                  <a:pt x="378" y="485"/>
                  <a:pt x="381" y="481"/>
                  <a:pt x="384" y="478"/>
                </a:cubicBezTo>
                <a:cubicBezTo>
                  <a:pt x="386" y="476"/>
                  <a:pt x="385" y="476"/>
                  <a:pt x="387" y="476"/>
                </a:cubicBezTo>
                <a:cubicBezTo>
                  <a:pt x="387" y="476"/>
                  <a:pt x="387" y="476"/>
                  <a:pt x="387" y="476"/>
                </a:cubicBezTo>
                <a:cubicBezTo>
                  <a:pt x="389" y="477"/>
                  <a:pt x="392" y="479"/>
                  <a:pt x="396" y="482"/>
                </a:cubicBezTo>
                <a:cubicBezTo>
                  <a:pt x="400" y="484"/>
                  <a:pt x="404" y="487"/>
                  <a:pt x="410" y="487"/>
                </a:cubicBezTo>
                <a:cubicBezTo>
                  <a:pt x="412" y="487"/>
                  <a:pt x="415" y="488"/>
                  <a:pt x="417" y="484"/>
                </a:cubicBezTo>
                <a:cubicBezTo>
                  <a:pt x="417" y="484"/>
                  <a:pt x="417" y="484"/>
                  <a:pt x="417" y="484"/>
                </a:cubicBezTo>
                <a:cubicBezTo>
                  <a:pt x="417" y="484"/>
                  <a:pt x="418" y="484"/>
                  <a:pt x="418" y="484"/>
                </a:cubicBezTo>
                <a:cubicBezTo>
                  <a:pt x="421" y="484"/>
                  <a:pt x="427" y="486"/>
                  <a:pt x="433" y="488"/>
                </a:cubicBezTo>
                <a:cubicBezTo>
                  <a:pt x="439" y="490"/>
                  <a:pt x="445" y="492"/>
                  <a:pt x="451" y="493"/>
                </a:cubicBezTo>
                <a:cubicBezTo>
                  <a:pt x="455" y="492"/>
                  <a:pt x="467" y="497"/>
                  <a:pt x="479" y="501"/>
                </a:cubicBezTo>
                <a:cubicBezTo>
                  <a:pt x="484" y="503"/>
                  <a:pt x="490" y="506"/>
                  <a:pt x="495" y="507"/>
                </a:cubicBezTo>
                <a:cubicBezTo>
                  <a:pt x="500" y="509"/>
                  <a:pt x="503" y="510"/>
                  <a:pt x="507" y="511"/>
                </a:cubicBezTo>
                <a:cubicBezTo>
                  <a:pt x="508" y="510"/>
                  <a:pt x="514" y="512"/>
                  <a:pt x="520" y="516"/>
                </a:cubicBezTo>
                <a:cubicBezTo>
                  <a:pt x="525" y="520"/>
                  <a:pt x="529" y="526"/>
                  <a:pt x="529" y="532"/>
                </a:cubicBezTo>
                <a:cubicBezTo>
                  <a:pt x="530" y="541"/>
                  <a:pt x="531" y="546"/>
                  <a:pt x="535" y="550"/>
                </a:cubicBezTo>
                <a:cubicBezTo>
                  <a:pt x="539" y="555"/>
                  <a:pt x="544" y="555"/>
                  <a:pt x="548" y="555"/>
                </a:cubicBezTo>
                <a:cubicBezTo>
                  <a:pt x="549" y="555"/>
                  <a:pt x="550" y="555"/>
                  <a:pt x="550" y="555"/>
                </a:cubicBezTo>
                <a:cubicBezTo>
                  <a:pt x="552" y="555"/>
                  <a:pt x="558" y="556"/>
                  <a:pt x="562" y="558"/>
                </a:cubicBezTo>
                <a:cubicBezTo>
                  <a:pt x="564" y="559"/>
                  <a:pt x="565" y="561"/>
                  <a:pt x="566" y="562"/>
                </a:cubicBezTo>
                <a:cubicBezTo>
                  <a:pt x="567" y="562"/>
                  <a:pt x="567" y="562"/>
                  <a:pt x="567" y="563"/>
                </a:cubicBezTo>
                <a:cubicBezTo>
                  <a:pt x="567" y="565"/>
                  <a:pt x="566" y="573"/>
                  <a:pt x="566" y="580"/>
                </a:cubicBezTo>
                <a:cubicBezTo>
                  <a:pt x="567" y="590"/>
                  <a:pt x="567" y="602"/>
                  <a:pt x="577" y="609"/>
                </a:cubicBezTo>
                <a:cubicBezTo>
                  <a:pt x="582" y="612"/>
                  <a:pt x="587" y="616"/>
                  <a:pt x="591" y="619"/>
                </a:cubicBezTo>
                <a:cubicBezTo>
                  <a:pt x="596" y="622"/>
                  <a:pt x="599" y="625"/>
                  <a:pt x="605" y="625"/>
                </a:cubicBezTo>
                <a:cubicBezTo>
                  <a:pt x="607" y="625"/>
                  <a:pt x="608" y="625"/>
                  <a:pt x="610" y="624"/>
                </a:cubicBezTo>
                <a:cubicBezTo>
                  <a:pt x="615" y="620"/>
                  <a:pt x="614" y="616"/>
                  <a:pt x="615" y="613"/>
                </a:cubicBezTo>
                <a:cubicBezTo>
                  <a:pt x="615" y="610"/>
                  <a:pt x="614" y="607"/>
                  <a:pt x="614" y="604"/>
                </a:cubicBezTo>
                <a:cubicBezTo>
                  <a:pt x="614" y="605"/>
                  <a:pt x="615" y="605"/>
                  <a:pt x="616" y="606"/>
                </a:cubicBezTo>
                <a:cubicBezTo>
                  <a:pt x="618" y="608"/>
                  <a:pt x="620" y="611"/>
                  <a:pt x="625" y="611"/>
                </a:cubicBezTo>
                <a:cubicBezTo>
                  <a:pt x="625" y="611"/>
                  <a:pt x="626" y="612"/>
                  <a:pt x="627" y="613"/>
                </a:cubicBezTo>
                <a:cubicBezTo>
                  <a:pt x="630" y="616"/>
                  <a:pt x="635" y="624"/>
                  <a:pt x="635" y="628"/>
                </a:cubicBezTo>
                <a:cubicBezTo>
                  <a:pt x="635" y="628"/>
                  <a:pt x="635" y="629"/>
                  <a:pt x="634" y="629"/>
                </a:cubicBezTo>
                <a:cubicBezTo>
                  <a:pt x="634" y="632"/>
                  <a:pt x="633" y="634"/>
                  <a:pt x="633" y="637"/>
                </a:cubicBezTo>
                <a:cubicBezTo>
                  <a:pt x="633" y="648"/>
                  <a:pt x="641" y="660"/>
                  <a:pt x="654" y="661"/>
                </a:cubicBezTo>
                <a:cubicBezTo>
                  <a:pt x="655" y="660"/>
                  <a:pt x="661" y="664"/>
                  <a:pt x="666" y="669"/>
                </a:cubicBezTo>
                <a:cubicBezTo>
                  <a:pt x="668" y="671"/>
                  <a:pt x="670" y="674"/>
                  <a:pt x="672" y="676"/>
                </a:cubicBezTo>
                <a:cubicBezTo>
                  <a:pt x="675" y="678"/>
                  <a:pt x="676" y="680"/>
                  <a:pt x="680" y="681"/>
                </a:cubicBezTo>
                <a:cubicBezTo>
                  <a:pt x="680" y="681"/>
                  <a:pt x="682" y="683"/>
                  <a:pt x="684" y="684"/>
                </a:cubicBezTo>
                <a:cubicBezTo>
                  <a:pt x="685" y="685"/>
                  <a:pt x="685" y="686"/>
                  <a:pt x="685" y="687"/>
                </a:cubicBezTo>
                <a:cubicBezTo>
                  <a:pt x="686" y="687"/>
                  <a:pt x="686" y="688"/>
                  <a:pt x="686" y="688"/>
                </a:cubicBezTo>
                <a:cubicBezTo>
                  <a:pt x="686" y="688"/>
                  <a:pt x="686" y="688"/>
                  <a:pt x="686" y="688"/>
                </a:cubicBezTo>
                <a:cubicBezTo>
                  <a:pt x="686" y="692"/>
                  <a:pt x="687" y="698"/>
                  <a:pt x="689" y="706"/>
                </a:cubicBezTo>
                <a:cubicBezTo>
                  <a:pt x="690" y="713"/>
                  <a:pt x="692" y="721"/>
                  <a:pt x="692" y="725"/>
                </a:cubicBezTo>
                <a:cubicBezTo>
                  <a:pt x="692" y="734"/>
                  <a:pt x="688" y="773"/>
                  <a:pt x="687" y="788"/>
                </a:cubicBezTo>
                <a:cubicBezTo>
                  <a:pt x="687" y="789"/>
                  <a:pt x="687" y="790"/>
                  <a:pt x="687" y="791"/>
                </a:cubicBezTo>
                <a:cubicBezTo>
                  <a:pt x="687" y="809"/>
                  <a:pt x="697" y="833"/>
                  <a:pt x="709" y="847"/>
                </a:cubicBezTo>
                <a:cubicBezTo>
                  <a:pt x="714" y="854"/>
                  <a:pt x="720" y="863"/>
                  <a:pt x="725" y="872"/>
                </a:cubicBezTo>
                <a:cubicBezTo>
                  <a:pt x="730" y="881"/>
                  <a:pt x="733" y="889"/>
                  <a:pt x="739" y="894"/>
                </a:cubicBezTo>
                <a:cubicBezTo>
                  <a:pt x="741" y="895"/>
                  <a:pt x="744" y="900"/>
                  <a:pt x="747" y="904"/>
                </a:cubicBezTo>
                <a:cubicBezTo>
                  <a:pt x="750" y="909"/>
                  <a:pt x="755" y="914"/>
                  <a:pt x="763" y="915"/>
                </a:cubicBezTo>
                <a:cubicBezTo>
                  <a:pt x="764" y="915"/>
                  <a:pt x="764" y="914"/>
                  <a:pt x="765" y="914"/>
                </a:cubicBezTo>
                <a:cubicBezTo>
                  <a:pt x="766" y="914"/>
                  <a:pt x="766" y="914"/>
                  <a:pt x="766" y="914"/>
                </a:cubicBezTo>
                <a:cubicBezTo>
                  <a:pt x="769" y="914"/>
                  <a:pt x="771" y="915"/>
                  <a:pt x="774" y="919"/>
                </a:cubicBezTo>
                <a:cubicBezTo>
                  <a:pt x="777" y="923"/>
                  <a:pt x="781" y="930"/>
                  <a:pt x="785" y="939"/>
                </a:cubicBezTo>
                <a:cubicBezTo>
                  <a:pt x="790" y="948"/>
                  <a:pt x="794" y="961"/>
                  <a:pt x="799" y="971"/>
                </a:cubicBezTo>
                <a:cubicBezTo>
                  <a:pt x="801" y="977"/>
                  <a:pt x="803" y="982"/>
                  <a:pt x="805" y="986"/>
                </a:cubicBezTo>
                <a:cubicBezTo>
                  <a:pt x="808" y="990"/>
                  <a:pt x="809" y="993"/>
                  <a:pt x="814" y="995"/>
                </a:cubicBezTo>
                <a:cubicBezTo>
                  <a:pt x="816" y="996"/>
                  <a:pt x="819" y="998"/>
                  <a:pt x="821" y="1000"/>
                </a:cubicBezTo>
                <a:cubicBezTo>
                  <a:pt x="824" y="1002"/>
                  <a:pt x="824" y="1005"/>
                  <a:pt x="824" y="1005"/>
                </a:cubicBezTo>
                <a:cubicBezTo>
                  <a:pt x="824" y="1005"/>
                  <a:pt x="824" y="1005"/>
                  <a:pt x="824" y="1005"/>
                </a:cubicBezTo>
                <a:cubicBezTo>
                  <a:pt x="820" y="1011"/>
                  <a:pt x="814" y="1018"/>
                  <a:pt x="813" y="1027"/>
                </a:cubicBezTo>
                <a:cubicBezTo>
                  <a:pt x="813" y="1029"/>
                  <a:pt x="814" y="1032"/>
                  <a:pt x="816" y="1034"/>
                </a:cubicBezTo>
                <a:cubicBezTo>
                  <a:pt x="819" y="1037"/>
                  <a:pt x="822" y="1037"/>
                  <a:pt x="824" y="1037"/>
                </a:cubicBezTo>
                <a:cubicBezTo>
                  <a:pt x="831" y="1037"/>
                  <a:pt x="836" y="1035"/>
                  <a:pt x="836" y="1035"/>
                </a:cubicBezTo>
                <a:cubicBezTo>
                  <a:pt x="837" y="1035"/>
                  <a:pt x="837" y="1035"/>
                  <a:pt x="841" y="1040"/>
                </a:cubicBezTo>
                <a:cubicBezTo>
                  <a:pt x="845" y="1046"/>
                  <a:pt x="849" y="1051"/>
                  <a:pt x="852" y="1055"/>
                </a:cubicBezTo>
                <a:cubicBezTo>
                  <a:pt x="856" y="1059"/>
                  <a:pt x="856" y="1062"/>
                  <a:pt x="856" y="1063"/>
                </a:cubicBezTo>
                <a:cubicBezTo>
                  <a:pt x="856" y="1063"/>
                  <a:pt x="856" y="1063"/>
                  <a:pt x="856" y="1063"/>
                </a:cubicBezTo>
                <a:cubicBezTo>
                  <a:pt x="856" y="1064"/>
                  <a:pt x="856" y="1065"/>
                  <a:pt x="856" y="1065"/>
                </a:cubicBezTo>
                <a:cubicBezTo>
                  <a:pt x="856" y="1072"/>
                  <a:pt x="861" y="1076"/>
                  <a:pt x="865" y="1079"/>
                </a:cubicBezTo>
                <a:cubicBezTo>
                  <a:pt x="869" y="1080"/>
                  <a:pt x="872" y="1082"/>
                  <a:pt x="875" y="1082"/>
                </a:cubicBezTo>
                <a:cubicBezTo>
                  <a:pt x="875" y="1082"/>
                  <a:pt x="875" y="1082"/>
                  <a:pt x="875" y="1083"/>
                </a:cubicBezTo>
                <a:cubicBezTo>
                  <a:pt x="877" y="1084"/>
                  <a:pt x="879" y="1088"/>
                  <a:pt x="883" y="1092"/>
                </a:cubicBezTo>
                <a:cubicBezTo>
                  <a:pt x="886" y="1096"/>
                  <a:pt x="890" y="1100"/>
                  <a:pt x="897" y="1101"/>
                </a:cubicBezTo>
                <a:cubicBezTo>
                  <a:pt x="901" y="1101"/>
                  <a:pt x="904" y="1099"/>
                  <a:pt x="907" y="1096"/>
                </a:cubicBezTo>
                <a:cubicBezTo>
                  <a:pt x="910" y="1093"/>
                  <a:pt x="911" y="1089"/>
                  <a:pt x="911" y="1086"/>
                </a:cubicBezTo>
                <a:cubicBezTo>
                  <a:pt x="911" y="1077"/>
                  <a:pt x="905" y="1071"/>
                  <a:pt x="900" y="1065"/>
                </a:cubicBezTo>
                <a:cubicBezTo>
                  <a:pt x="894" y="1060"/>
                  <a:pt x="888" y="1055"/>
                  <a:pt x="886" y="1053"/>
                </a:cubicBezTo>
                <a:cubicBezTo>
                  <a:pt x="885" y="1052"/>
                  <a:pt x="884" y="1048"/>
                  <a:pt x="883" y="1041"/>
                </a:cubicBezTo>
                <a:cubicBezTo>
                  <a:pt x="882" y="1034"/>
                  <a:pt x="879" y="1024"/>
                  <a:pt x="870" y="1016"/>
                </a:cubicBezTo>
                <a:cubicBezTo>
                  <a:pt x="863" y="1009"/>
                  <a:pt x="860" y="1004"/>
                  <a:pt x="857" y="999"/>
                </a:cubicBezTo>
                <a:cubicBezTo>
                  <a:pt x="866" y="1010"/>
                  <a:pt x="877" y="1020"/>
                  <a:pt x="883" y="1027"/>
                </a:cubicBezTo>
                <a:cubicBezTo>
                  <a:pt x="887" y="1031"/>
                  <a:pt x="895" y="1044"/>
                  <a:pt x="901" y="1055"/>
                </a:cubicBezTo>
                <a:cubicBezTo>
                  <a:pt x="905" y="1060"/>
                  <a:pt x="908" y="1066"/>
                  <a:pt x="911" y="1070"/>
                </a:cubicBezTo>
                <a:cubicBezTo>
                  <a:pt x="912" y="1072"/>
                  <a:pt x="914" y="1074"/>
                  <a:pt x="915" y="1075"/>
                </a:cubicBezTo>
                <a:cubicBezTo>
                  <a:pt x="917" y="1076"/>
                  <a:pt x="918" y="1078"/>
                  <a:pt x="921" y="1078"/>
                </a:cubicBezTo>
                <a:cubicBezTo>
                  <a:pt x="923" y="1079"/>
                  <a:pt x="928" y="1084"/>
                  <a:pt x="931" y="1088"/>
                </a:cubicBezTo>
                <a:cubicBezTo>
                  <a:pt x="935" y="1092"/>
                  <a:pt x="938" y="1096"/>
                  <a:pt x="939" y="1098"/>
                </a:cubicBezTo>
                <a:cubicBezTo>
                  <a:pt x="939" y="1099"/>
                  <a:pt x="940" y="1101"/>
                  <a:pt x="942" y="1104"/>
                </a:cubicBezTo>
                <a:cubicBezTo>
                  <a:pt x="943" y="1108"/>
                  <a:pt x="944" y="1113"/>
                  <a:pt x="944" y="1114"/>
                </a:cubicBezTo>
                <a:cubicBezTo>
                  <a:pt x="944" y="1115"/>
                  <a:pt x="944" y="1115"/>
                  <a:pt x="944" y="1115"/>
                </a:cubicBezTo>
                <a:cubicBezTo>
                  <a:pt x="943" y="1117"/>
                  <a:pt x="943" y="1120"/>
                  <a:pt x="943" y="1122"/>
                </a:cubicBezTo>
                <a:cubicBezTo>
                  <a:pt x="943" y="1133"/>
                  <a:pt x="949" y="1147"/>
                  <a:pt x="959" y="1155"/>
                </a:cubicBezTo>
                <a:cubicBezTo>
                  <a:pt x="968" y="1161"/>
                  <a:pt x="999" y="1178"/>
                  <a:pt x="1004" y="1181"/>
                </a:cubicBezTo>
                <a:cubicBezTo>
                  <a:pt x="1005" y="1182"/>
                  <a:pt x="1009" y="1188"/>
                  <a:pt x="1013" y="1193"/>
                </a:cubicBezTo>
                <a:cubicBezTo>
                  <a:pt x="1018" y="1199"/>
                  <a:pt x="1024" y="1205"/>
                  <a:pt x="1034" y="1205"/>
                </a:cubicBezTo>
                <a:cubicBezTo>
                  <a:pt x="1046" y="1205"/>
                  <a:pt x="1054" y="1208"/>
                  <a:pt x="1054" y="1209"/>
                </a:cubicBezTo>
                <a:cubicBezTo>
                  <a:pt x="1055" y="1210"/>
                  <a:pt x="1058" y="1214"/>
                  <a:pt x="1061" y="1217"/>
                </a:cubicBezTo>
                <a:cubicBezTo>
                  <a:pt x="1064" y="1220"/>
                  <a:pt x="1068" y="1224"/>
                  <a:pt x="1075" y="1225"/>
                </a:cubicBezTo>
                <a:cubicBezTo>
                  <a:pt x="1079" y="1225"/>
                  <a:pt x="1082" y="1223"/>
                  <a:pt x="1085" y="1219"/>
                </a:cubicBezTo>
                <a:cubicBezTo>
                  <a:pt x="1088" y="1214"/>
                  <a:pt x="1090" y="1211"/>
                  <a:pt x="1092" y="1210"/>
                </a:cubicBezTo>
                <a:cubicBezTo>
                  <a:pt x="1093" y="1209"/>
                  <a:pt x="1094" y="1208"/>
                  <a:pt x="1098" y="1208"/>
                </a:cubicBezTo>
                <a:cubicBezTo>
                  <a:pt x="1101" y="1208"/>
                  <a:pt x="1103" y="1209"/>
                  <a:pt x="1106" y="1212"/>
                </a:cubicBezTo>
                <a:cubicBezTo>
                  <a:pt x="1108" y="1215"/>
                  <a:pt x="1111" y="1219"/>
                  <a:pt x="1114" y="1222"/>
                </a:cubicBezTo>
                <a:cubicBezTo>
                  <a:pt x="1117" y="1226"/>
                  <a:pt x="1122" y="1232"/>
                  <a:pt x="1128" y="1237"/>
                </a:cubicBezTo>
                <a:cubicBezTo>
                  <a:pt x="1134" y="1243"/>
                  <a:pt x="1140" y="1248"/>
                  <a:pt x="1148" y="1248"/>
                </a:cubicBezTo>
                <a:cubicBezTo>
                  <a:pt x="1148" y="1248"/>
                  <a:pt x="1149" y="1248"/>
                  <a:pt x="1150" y="1248"/>
                </a:cubicBezTo>
                <a:cubicBezTo>
                  <a:pt x="1150" y="1248"/>
                  <a:pt x="1150" y="1248"/>
                  <a:pt x="1150" y="1248"/>
                </a:cubicBezTo>
                <a:cubicBezTo>
                  <a:pt x="1151" y="1248"/>
                  <a:pt x="1154" y="1249"/>
                  <a:pt x="1158" y="1251"/>
                </a:cubicBezTo>
                <a:cubicBezTo>
                  <a:pt x="1161" y="1253"/>
                  <a:pt x="1165" y="1256"/>
                  <a:pt x="1170" y="1256"/>
                </a:cubicBezTo>
                <a:cubicBezTo>
                  <a:pt x="1172" y="1256"/>
                  <a:pt x="1175" y="1255"/>
                  <a:pt x="1176" y="1254"/>
                </a:cubicBezTo>
                <a:cubicBezTo>
                  <a:pt x="1177" y="1254"/>
                  <a:pt x="1177" y="1254"/>
                  <a:pt x="1177" y="1254"/>
                </a:cubicBezTo>
                <a:cubicBezTo>
                  <a:pt x="1179" y="1253"/>
                  <a:pt x="1186" y="1257"/>
                  <a:pt x="1189" y="1260"/>
                </a:cubicBezTo>
                <a:cubicBezTo>
                  <a:pt x="1194" y="1262"/>
                  <a:pt x="1206" y="1271"/>
                  <a:pt x="1206" y="1282"/>
                </a:cubicBezTo>
                <a:cubicBezTo>
                  <a:pt x="1206" y="1282"/>
                  <a:pt x="1206" y="1283"/>
                  <a:pt x="1206" y="1283"/>
                </a:cubicBezTo>
                <a:cubicBezTo>
                  <a:pt x="1206" y="1284"/>
                  <a:pt x="1206" y="1285"/>
                  <a:pt x="1206" y="1286"/>
                </a:cubicBezTo>
                <a:cubicBezTo>
                  <a:pt x="1206" y="1304"/>
                  <a:pt x="1219" y="1310"/>
                  <a:pt x="1225" y="1313"/>
                </a:cubicBezTo>
                <a:cubicBezTo>
                  <a:pt x="1231" y="1317"/>
                  <a:pt x="1240" y="1326"/>
                  <a:pt x="1245" y="1333"/>
                </a:cubicBezTo>
                <a:cubicBezTo>
                  <a:pt x="1250" y="1338"/>
                  <a:pt x="1255" y="1340"/>
                  <a:pt x="1260" y="1342"/>
                </a:cubicBezTo>
                <a:cubicBezTo>
                  <a:pt x="1262" y="1343"/>
                  <a:pt x="1264" y="1343"/>
                  <a:pt x="1265" y="1344"/>
                </a:cubicBezTo>
                <a:cubicBezTo>
                  <a:pt x="1266" y="1344"/>
                  <a:pt x="1267" y="1345"/>
                  <a:pt x="1267" y="1345"/>
                </a:cubicBezTo>
                <a:cubicBezTo>
                  <a:pt x="1267" y="1345"/>
                  <a:pt x="1267" y="1345"/>
                  <a:pt x="1267" y="1345"/>
                </a:cubicBezTo>
                <a:cubicBezTo>
                  <a:pt x="1268" y="1346"/>
                  <a:pt x="1269" y="1348"/>
                  <a:pt x="1271" y="1350"/>
                </a:cubicBezTo>
                <a:cubicBezTo>
                  <a:pt x="1273" y="1353"/>
                  <a:pt x="1276" y="1355"/>
                  <a:pt x="1281" y="1355"/>
                </a:cubicBezTo>
                <a:cubicBezTo>
                  <a:pt x="1285" y="1355"/>
                  <a:pt x="1288" y="1354"/>
                  <a:pt x="1291" y="1351"/>
                </a:cubicBezTo>
                <a:cubicBezTo>
                  <a:pt x="1299" y="1346"/>
                  <a:pt x="1302" y="1340"/>
                  <a:pt x="1302" y="1332"/>
                </a:cubicBezTo>
                <a:cubicBezTo>
                  <a:pt x="1302" y="1332"/>
                  <a:pt x="1302" y="1332"/>
                  <a:pt x="1302" y="1332"/>
                </a:cubicBezTo>
                <a:cubicBezTo>
                  <a:pt x="1305" y="1332"/>
                  <a:pt x="1308" y="1333"/>
                  <a:pt x="1309" y="1334"/>
                </a:cubicBezTo>
                <a:cubicBezTo>
                  <a:pt x="1310" y="1335"/>
                  <a:pt x="1313" y="1341"/>
                  <a:pt x="1315" y="1346"/>
                </a:cubicBezTo>
                <a:cubicBezTo>
                  <a:pt x="1316" y="1349"/>
                  <a:pt x="1317" y="1352"/>
                  <a:pt x="1318" y="1354"/>
                </a:cubicBezTo>
                <a:cubicBezTo>
                  <a:pt x="1319" y="1357"/>
                  <a:pt x="1319" y="1359"/>
                  <a:pt x="1322" y="1361"/>
                </a:cubicBezTo>
                <a:cubicBezTo>
                  <a:pt x="1322" y="1361"/>
                  <a:pt x="1322" y="1361"/>
                  <a:pt x="1322" y="1361"/>
                </a:cubicBezTo>
                <a:cubicBezTo>
                  <a:pt x="1322" y="1362"/>
                  <a:pt x="1324" y="1365"/>
                  <a:pt x="1325" y="1369"/>
                </a:cubicBezTo>
                <a:cubicBezTo>
                  <a:pt x="1326" y="1373"/>
                  <a:pt x="1327" y="1378"/>
                  <a:pt x="1327" y="1384"/>
                </a:cubicBezTo>
                <a:cubicBezTo>
                  <a:pt x="1327" y="1387"/>
                  <a:pt x="1327" y="1390"/>
                  <a:pt x="1326" y="1393"/>
                </a:cubicBezTo>
                <a:cubicBezTo>
                  <a:pt x="1323" y="1402"/>
                  <a:pt x="1323" y="1409"/>
                  <a:pt x="1322" y="1415"/>
                </a:cubicBezTo>
                <a:cubicBezTo>
                  <a:pt x="1321" y="1417"/>
                  <a:pt x="1321" y="1419"/>
                  <a:pt x="1321" y="1420"/>
                </a:cubicBezTo>
                <a:cubicBezTo>
                  <a:pt x="1318" y="1421"/>
                  <a:pt x="1316" y="1423"/>
                  <a:pt x="1315" y="1425"/>
                </a:cubicBezTo>
                <a:cubicBezTo>
                  <a:pt x="1313" y="1428"/>
                  <a:pt x="1311" y="1432"/>
                  <a:pt x="1308" y="1435"/>
                </a:cubicBezTo>
                <a:cubicBezTo>
                  <a:pt x="1306" y="1439"/>
                  <a:pt x="1304" y="1442"/>
                  <a:pt x="1303" y="1442"/>
                </a:cubicBezTo>
                <a:cubicBezTo>
                  <a:pt x="1299" y="1445"/>
                  <a:pt x="1293" y="1451"/>
                  <a:pt x="1287" y="1457"/>
                </a:cubicBezTo>
                <a:cubicBezTo>
                  <a:pt x="1282" y="1464"/>
                  <a:pt x="1277" y="1469"/>
                  <a:pt x="1276" y="1477"/>
                </a:cubicBezTo>
                <a:cubicBezTo>
                  <a:pt x="1276" y="1478"/>
                  <a:pt x="1276" y="1478"/>
                  <a:pt x="1276" y="1479"/>
                </a:cubicBezTo>
                <a:cubicBezTo>
                  <a:pt x="1277" y="1483"/>
                  <a:pt x="1279" y="1489"/>
                  <a:pt x="1282" y="1495"/>
                </a:cubicBezTo>
                <a:cubicBezTo>
                  <a:pt x="1284" y="1501"/>
                  <a:pt x="1286" y="1508"/>
                  <a:pt x="1286" y="1512"/>
                </a:cubicBezTo>
                <a:cubicBezTo>
                  <a:pt x="1286" y="1513"/>
                  <a:pt x="1286" y="1513"/>
                  <a:pt x="1286" y="1514"/>
                </a:cubicBezTo>
                <a:cubicBezTo>
                  <a:pt x="1285" y="1516"/>
                  <a:pt x="1282" y="1520"/>
                  <a:pt x="1278" y="1526"/>
                </a:cubicBezTo>
                <a:cubicBezTo>
                  <a:pt x="1275" y="1531"/>
                  <a:pt x="1271" y="1538"/>
                  <a:pt x="1271" y="1546"/>
                </a:cubicBezTo>
                <a:cubicBezTo>
                  <a:pt x="1271" y="1548"/>
                  <a:pt x="1271" y="1550"/>
                  <a:pt x="1272" y="1552"/>
                </a:cubicBezTo>
                <a:cubicBezTo>
                  <a:pt x="1274" y="1563"/>
                  <a:pt x="1283" y="1568"/>
                  <a:pt x="1289" y="1573"/>
                </a:cubicBezTo>
                <a:cubicBezTo>
                  <a:pt x="1296" y="1577"/>
                  <a:pt x="1300" y="1581"/>
                  <a:pt x="1300" y="1584"/>
                </a:cubicBezTo>
                <a:cubicBezTo>
                  <a:pt x="1301" y="1593"/>
                  <a:pt x="1306" y="1604"/>
                  <a:pt x="1311" y="1615"/>
                </a:cubicBezTo>
                <a:cubicBezTo>
                  <a:pt x="1316" y="1626"/>
                  <a:pt x="1320" y="1637"/>
                  <a:pt x="1321" y="1643"/>
                </a:cubicBezTo>
                <a:cubicBezTo>
                  <a:pt x="1323" y="1652"/>
                  <a:pt x="1329" y="1659"/>
                  <a:pt x="1334" y="1667"/>
                </a:cubicBezTo>
                <a:cubicBezTo>
                  <a:pt x="1339" y="1675"/>
                  <a:pt x="1343" y="1682"/>
                  <a:pt x="1343" y="1690"/>
                </a:cubicBezTo>
                <a:cubicBezTo>
                  <a:pt x="1343" y="1703"/>
                  <a:pt x="1352" y="1712"/>
                  <a:pt x="1360" y="1718"/>
                </a:cubicBezTo>
                <a:cubicBezTo>
                  <a:pt x="1368" y="1724"/>
                  <a:pt x="1377" y="1728"/>
                  <a:pt x="1381" y="1729"/>
                </a:cubicBezTo>
                <a:cubicBezTo>
                  <a:pt x="1381" y="1729"/>
                  <a:pt x="1385" y="1732"/>
                  <a:pt x="1390" y="1736"/>
                </a:cubicBezTo>
                <a:cubicBezTo>
                  <a:pt x="1394" y="1739"/>
                  <a:pt x="1399" y="1744"/>
                  <a:pt x="1404" y="1746"/>
                </a:cubicBezTo>
                <a:cubicBezTo>
                  <a:pt x="1410" y="1750"/>
                  <a:pt x="1416" y="1757"/>
                  <a:pt x="1422" y="1767"/>
                </a:cubicBezTo>
                <a:cubicBezTo>
                  <a:pt x="1425" y="1773"/>
                  <a:pt x="1426" y="1784"/>
                  <a:pt x="1426" y="1790"/>
                </a:cubicBezTo>
                <a:cubicBezTo>
                  <a:pt x="1426" y="1793"/>
                  <a:pt x="1426" y="1795"/>
                  <a:pt x="1426" y="1796"/>
                </a:cubicBezTo>
                <a:cubicBezTo>
                  <a:pt x="1426" y="1799"/>
                  <a:pt x="1422" y="1843"/>
                  <a:pt x="1419" y="1867"/>
                </a:cubicBezTo>
                <a:cubicBezTo>
                  <a:pt x="1418" y="1872"/>
                  <a:pt x="1418" y="1877"/>
                  <a:pt x="1418" y="1882"/>
                </a:cubicBezTo>
                <a:cubicBezTo>
                  <a:pt x="1418" y="1893"/>
                  <a:pt x="1420" y="1902"/>
                  <a:pt x="1419" y="1909"/>
                </a:cubicBezTo>
                <a:cubicBezTo>
                  <a:pt x="1420" y="1913"/>
                  <a:pt x="1419" y="1914"/>
                  <a:pt x="1418" y="1915"/>
                </a:cubicBezTo>
                <a:cubicBezTo>
                  <a:pt x="1414" y="1920"/>
                  <a:pt x="1406" y="1925"/>
                  <a:pt x="1405" y="1935"/>
                </a:cubicBezTo>
                <a:cubicBezTo>
                  <a:pt x="1405" y="1938"/>
                  <a:pt x="1406" y="1942"/>
                  <a:pt x="1409" y="1945"/>
                </a:cubicBezTo>
                <a:cubicBezTo>
                  <a:pt x="1409" y="1945"/>
                  <a:pt x="1409" y="1945"/>
                  <a:pt x="1409" y="1945"/>
                </a:cubicBezTo>
                <a:cubicBezTo>
                  <a:pt x="1409" y="1946"/>
                  <a:pt x="1407" y="1948"/>
                  <a:pt x="1405" y="1949"/>
                </a:cubicBezTo>
                <a:cubicBezTo>
                  <a:pt x="1404" y="1950"/>
                  <a:pt x="1403" y="1951"/>
                  <a:pt x="1402" y="1952"/>
                </a:cubicBezTo>
                <a:cubicBezTo>
                  <a:pt x="1401" y="1954"/>
                  <a:pt x="1399" y="1955"/>
                  <a:pt x="1399" y="1959"/>
                </a:cubicBezTo>
                <a:cubicBezTo>
                  <a:pt x="1399" y="1963"/>
                  <a:pt x="1401" y="1966"/>
                  <a:pt x="1402" y="1972"/>
                </a:cubicBezTo>
                <a:cubicBezTo>
                  <a:pt x="1404" y="1977"/>
                  <a:pt x="1405" y="1983"/>
                  <a:pt x="1405" y="1988"/>
                </a:cubicBezTo>
                <a:cubicBezTo>
                  <a:pt x="1405" y="1990"/>
                  <a:pt x="1405" y="1991"/>
                  <a:pt x="1404" y="1992"/>
                </a:cubicBezTo>
                <a:cubicBezTo>
                  <a:pt x="1399" y="2003"/>
                  <a:pt x="1396" y="2016"/>
                  <a:pt x="1393" y="2024"/>
                </a:cubicBezTo>
                <a:cubicBezTo>
                  <a:pt x="1391" y="2030"/>
                  <a:pt x="1383" y="2038"/>
                  <a:pt x="1383" y="2051"/>
                </a:cubicBezTo>
                <a:cubicBezTo>
                  <a:pt x="1383" y="2053"/>
                  <a:pt x="1383" y="2055"/>
                  <a:pt x="1383" y="2056"/>
                </a:cubicBezTo>
                <a:cubicBezTo>
                  <a:pt x="1383" y="2057"/>
                  <a:pt x="1384" y="2058"/>
                  <a:pt x="1384" y="2058"/>
                </a:cubicBezTo>
                <a:cubicBezTo>
                  <a:pt x="1383" y="2060"/>
                  <a:pt x="1384" y="2059"/>
                  <a:pt x="1381" y="2062"/>
                </a:cubicBezTo>
                <a:cubicBezTo>
                  <a:pt x="1378" y="2063"/>
                  <a:pt x="1374" y="2069"/>
                  <a:pt x="1374" y="2076"/>
                </a:cubicBezTo>
                <a:cubicBezTo>
                  <a:pt x="1374" y="2083"/>
                  <a:pt x="1378" y="2088"/>
                  <a:pt x="1380" y="2090"/>
                </a:cubicBezTo>
                <a:cubicBezTo>
                  <a:pt x="1382" y="2092"/>
                  <a:pt x="1382" y="2091"/>
                  <a:pt x="1382" y="2094"/>
                </a:cubicBezTo>
                <a:cubicBezTo>
                  <a:pt x="1382" y="2095"/>
                  <a:pt x="1382" y="2096"/>
                  <a:pt x="1382" y="2097"/>
                </a:cubicBezTo>
                <a:cubicBezTo>
                  <a:pt x="1381" y="2104"/>
                  <a:pt x="1379" y="2108"/>
                  <a:pt x="1378" y="2113"/>
                </a:cubicBezTo>
                <a:cubicBezTo>
                  <a:pt x="1376" y="2117"/>
                  <a:pt x="1374" y="2122"/>
                  <a:pt x="1374" y="2128"/>
                </a:cubicBezTo>
                <a:cubicBezTo>
                  <a:pt x="1374" y="2135"/>
                  <a:pt x="1376" y="2142"/>
                  <a:pt x="1377" y="2148"/>
                </a:cubicBezTo>
                <a:cubicBezTo>
                  <a:pt x="1379" y="2153"/>
                  <a:pt x="1380" y="2159"/>
                  <a:pt x="1380" y="2159"/>
                </a:cubicBezTo>
                <a:cubicBezTo>
                  <a:pt x="1380" y="2159"/>
                  <a:pt x="1379" y="2163"/>
                  <a:pt x="1376" y="2168"/>
                </a:cubicBezTo>
                <a:cubicBezTo>
                  <a:pt x="1374" y="2173"/>
                  <a:pt x="1371" y="2179"/>
                  <a:pt x="1367" y="2184"/>
                </a:cubicBezTo>
                <a:cubicBezTo>
                  <a:pt x="1360" y="2194"/>
                  <a:pt x="1354" y="2201"/>
                  <a:pt x="1353" y="2211"/>
                </a:cubicBezTo>
                <a:cubicBezTo>
                  <a:pt x="1353" y="2212"/>
                  <a:pt x="1353" y="2213"/>
                  <a:pt x="1353" y="2214"/>
                </a:cubicBezTo>
                <a:cubicBezTo>
                  <a:pt x="1354" y="2218"/>
                  <a:pt x="1357" y="2222"/>
                  <a:pt x="1359" y="2226"/>
                </a:cubicBezTo>
                <a:cubicBezTo>
                  <a:pt x="1360" y="2227"/>
                  <a:pt x="1360" y="2229"/>
                  <a:pt x="1361" y="2230"/>
                </a:cubicBezTo>
                <a:cubicBezTo>
                  <a:pt x="1361" y="2230"/>
                  <a:pt x="1361" y="2231"/>
                  <a:pt x="1361" y="2231"/>
                </a:cubicBezTo>
                <a:cubicBezTo>
                  <a:pt x="1361" y="2232"/>
                  <a:pt x="1358" y="2236"/>
                  <a:pt x="1356" y="2240"/>
                </a:cubicBezTo>
                <a:cubicBezTo>
                  <a:pt x="1354" y="2245"/>
                  <a:pt x="1351" y="2251"/>
                  <a:pt x="1351" y="2258"/>
                </a:cubicBezTo>
                <a:cubicBezTo>
                  <a:pt x="1351" y="2259"/>
                  <a:pt x="1351" y="2259"/>
                  <a:pt x="1351" y="2260"/>
                </a:cubicBezTo>
                <a:cubicBezTo>
                  <a:pt x="1352" y="2268"/>
                  <a:pt x="1358" y="2272"/>
                  <a:pt x="1361" y="2272"/>
                </a:cubicBezTo>
                <a:cubicBezTo>
                  <a:pt x="1363" y="2273"/>
                  <a:pt x="1364" y="2273"/>
                  <a:pt x="1365" y="2273"/>
                </a:cubicBezTo>
                <a:cubicBezTo>
                  <a:pt x="1364" y="2274"/>
                  <a:pt x="1363" y="2276"/>
                  <a:pt x="1361" y="2277"/>
                </a:cubicBezTo>
                <a:cubicBezTo>
                  <a:pt x="1359" y="2279"/>
                  <a:pt x="1356" y="2282"/>
                  <a:pt x="1356" y="2287"/>
                </a:cubicBezTo>
                <a:cubicBezTo>
                  <a:pt x="1356" y="2290"/>
                  <a:pt x="1358" y="2293"/>
                  <a:pt x="1360" y="2295"/>
                </a:cubicBezTo>
                <a:cubicBezTo>
                  <a:pt x="1364" y="2299"/>
                  <a:pt x="1368" y="2301"/>
                  <a:pt x="1370" y="2302"/>
                </a:cubicBezTo>
                <a:cubicBezTo>
                  <a:pt x="1371" y="2304"/>
                  <a:pt x="1372" y="2304"/>
                  <a:pt x="1372" y="2308"/>
                </a:cubicBezTo>
                <a:cubicBezTo>
                  <a:pt x="1372" y="2310"/>
                  <a:pt x="1372" y="2311"/>
                  <a:pt x="1372" y="2312"/>
                </a:cubicBezTo>
                <a:cubicBezTo>
                  <a:pt x="1372" y="2314"/>
                  <a:pt x="1371" y="2315"/>
                  <a:pt x="1371" y="2317"/>
                </a:cubicBezTo>
                <a:cubicBezTo>
                  <a:pt x="1371" y="2335"/>
                  <a:pt x="1390" y="2341"/>
                  <a:pt x="1389" y="2342"/>
                </a:cubicBezTo>
                <a:cubicBezTo>
                  <a:pt x="1391" y="2344"/>
                  <a:pt x="1393" y="2347"/>
                  <a:pt x="1397" y="2351"/>
                </a:cubicBezTo>
                <a:cubicBezTo>
                  <a:pt x="1400" y="2354"/>
                  <a:pt x="1403" y="2357"/>
                  <a:pt x="1409" y="2358"/>
                </a:cubicBezTo>
                <a:cubicBezTo>
                  <a:pt x="1409" y="2359"/>
                  <a:pt x="1410" y="2361"/>
                  <a:pt x="1412" y="2362"/>
                </a:cubicBezTo>
                <a:cubicBezTo>
                  <a:pt x="1413" y="2363"/>
                  <a:pt x="1414" y="2363"/>
                  <a:pt x="1415" y="2363"/>
                </a:cubicBezTo>
                <a:cubicBezTo>
                  <a:pt x="1416" y="2364"/>
                  <a:pt x="1422" y="2366"/>
                  <a:pt x="1427" y="2369"/>
                </a:cubicBezTo>
                <a:cubicBezTo>
                  <a:pt x="1433" y="2371"/>
                  <a:pt x="1439" y="2374"/>
                  <a:pt x="1446" y="2374"/>
                </a:cubicBezTo>
                <a:cubicBezTo>
                  <a:pt x="1457" y="2374"/>
                  <a:pt x="1474" y="2369"/>
                  <a:pt x="1479" y="2367"/>
                </a:cubicBezTo>
                <a:cubicBezTo>
                  <a:pt x="1479" y="2367"/>
                  <a:pt x="1487" y="2365"/>
                  <a:pt x="1494" y="2363"/>
                </a:cubicBezTo>
                <a:cubicBezTo>
                  <a:pt x="1498" y="2363"/>
                  <a:pt x="1501" y="2362"/>
                  <a:pt x="1504" y="2360"/>
                </a:cubicBezTo>
                <a:cubicBezTo>
                  <a:pt x="1508" y="2359"/>
                  <a:pt x="1510" y="2359"/>
                  <a:pt x="1513" y="2355"/>
                </a:cubicBezTo>
                <a:cubicBezTo>
                  <a:pt x="1514" y="2354"/>
                  <a:pt x="1514" y="2352"/>
                  <a:pt x="1514" y="2351"/>
                </a:cubicBezTo>
                <a:cubicBezTo>
                  <a:pt x="1514" y="2347"/>
                  <a:pt x="1511" y="2345"/>
                  <a:pt x="1510" y="2345"/>
                </a:cubicBezTo>
                <a:cubicBezTo>
                  <a:pt x="1505" y="2343"/>
                  <a:pt x="1501" y="2343"/>
                  <a:pt x="1495" y="2342"/>
                </a:cubicBezTo>
                <a:cubicBezTo>
                  <a:pt x="1489" y="2341"/>
                  <a:pt x="1483" y="2340"/>
                  <a:pt x="1480" y="2339"/>
                </a:cubicBezTo>
                <a:cubicBezTo>
                  <a:pt x="1477" y="2338"/>
                  <a:pt x="1469" y="2332"/>
                  <a:pt x="1464" y="2326"/>
                </a:cubicBezTo>
                <a:cubicBezTo>
                  <a:pt x="1458" y="2320"/>
                  <a:pt x="1453" y="2312"/>
                  <a:pt x="1453" y="2310"/>
                </a:cubicBezTo>
                <a:cubicBezTo>
                  <a:pt x="1452" y="2308"/>
                  <a:pt x="1451" y="2304"/>
                  <a:pt x="1451" y="2301"/>
                </a:cubicBezTo>
                <a:cubicBezTo>
                  <a:pt x="1451" y="2294"/>
                  <a:pt x="1454" y="2288"/>
                  <a:pt x="1456" y="2286"/>
                </a:cubicBezTo>
                <a:cubicBezTo>
                  <a:pt x="1465" y="2280"/>
                  <a:pt x="1484" y="2261"/>
                  <a:pt x="1489" y="2257"/>
                </a:cubicBezTo>
                <a:cubicBezTo>
                  <a:pt x="1492" y="2254"/>
                  <a:pt x="1494" y="2249"/>
                  <a:pt x="1496" y="2244"/>
                </a:cubicBezTo>
                <a:cubicBezTo>
                  <a:pt x="1498" y="2239"/>
                  <a:pt x="1500" y="2234"/>
                  <a:pt x="1500" y="2229"/>
                </a:cubicBezTo>
                <a:cubicBezTo>
                  <a:pt x="1500" y="2227"/>
                  <a:pt x="1500" y="2225"/>
                  <a:pt x="1497" y="2221"/>
                </a:cubicBezTo>
                <a:cubicBezTo>
                  <a:pt x="1493" y="2219"/>
                  <a:pt x="1491" y="2219"/>
                  <a:pt x="1489" y="2219"/>
                </a:cubicBezTo>
                <a:cubicBezTo>
                  <a:pt x="1485" y="2219"/>
                  <a:pt x="1481" y="2219"/>
                  <a:pt x="1478" y="2219"/>
                </a:cubicBezTo>
                <a:cubicBezTo>
                  <a:pt x="1477" y="2218"/>
                  <a:pt x="1476" y="2218"/>
                  <a:pt x="1476" y="2218"/>
                </a:cubicBezTo>
                <a:cubicBezTo>
                  <a:pt x="1476" y="2218"/>
                  <a:pt x="1476" y="2218"/>
                  <a:pt x="1476" y="2218"/>
                </a:cubicBezTo>
                <a:cubicBezTo>
                  <a:pt x="1476" y="2217"/>
                  <a:pt x="1476" y="2214"/>
                  <a:pt x="1484" y="2208"/>
                </a:cubicBezTo>
                <a:cubicBezTo>
                  <a:pt x="1490" y="2202"/>
                  <a:pt x="1494" y="2196"/>
                  <a:pt x="1498" y="2190"/>
                </a:cubicBezTo>
                <a:cubicBezTo>
                  <a:pt x="1501" y="2185"/>
                  <a:pt x="1504" y="2180"/>
                  <a:pt x="1505" y="2180"/>
                </a:cubicBezTo>
                <a:cubicBezTo>
                  <a:pt x="1510" y="2176"/>
                  <a:pt x="1520" y="2167"/>
                  <a:pt x="1524" y="2155"/>
                </a:cubicBezTo>
                <a:cubicBezTo>
                  <a:pt x="1525" y="2153"/>
                  <a:pt x="1525" y="2152"/>
                  <a:pt x="1525" y="2149"/>
                </a:cubicBezTo>
                <a:cubicBezTo>
                  <a:pt x="1525" y="2148"/>
                  <a:pt x="1525" y="2145"/>
                  <a:pt x="1523" y="2143"/>
                </a:cubicBezTo>
                <a:cubicBezTo>
                  <a:pt x="1521" y="2142"/>
                  <a:pt x="1519" y="2141"/>
                  <a:pt x="1517" y="2141"/>
                </a:cubicBezTo>
                <a:cubicBezTo>
                  <a:pt x="1513" y="2142"/>
                  <a:pt x="1510" y="2143"/>
                  <a:pt x="1508" y="2143"/>
                </a:cubicBezTo>
                <a:cubicBezTo>
                  <a:pt x="1508" y="2143"/>
                  <a:pt x="1508" y="2142"/>
                  <a:pt x="1507" y="2142"/>
                </a:cubicBezTo>
                <a:cubicBezTo>
                  <a:pt x="1506" y="2139"/>
                  <a:pt x="1504" y="2135"/>
                  <a:pt x="1504" y="2131"/>
                </a:cubicBezTo>
                <a:cubicBezTo>
                  <a:pt x="1506" y="2132"/>
                  <a:pt x="1508" y="2133"/>
                  <a:pt x="1510" y="2133"/>
                </a:cubicBezTo>
                <a:cubicBezTo>
                  <a:pt x="1515" y="2135"/>
                  <a:pt x="1521" y="2137"/>
                  <a:pt x="1526" y="2138"/>
                </a:cubicBezTo>
                <a:cubicBezTo>
                  <a:pt x="1528" y="2139"/>
                  <a:pt x="1529" y="2139"/>
                  <a:pt x="1531" y="2139"/>
                </a:cubicBezTo>
                <a:cubicBezTo>
                  <a:pt x="1534" y="2139"/>
                  <a:pt x="1537" y="2138"/>
                  <a:pt x="1539" y="2136"/>
                </a:cubicBezTo>
                <a:cubicBezTo>
                  <a:pt x="1541" y="2134"/>
                  <a:pt x="1541" y="2131"/>
                  <a:pt x="1541" y="2129"/>
                </a:cubicBezTo>
                <a:cubicBezTo>
                  <a:pt x="1541" y="2124"/>
                  <a:pt x="1539" y="2120"/>
                  <a:pt x="1539" y="2117"/>
                </a:cubicBezTo>
                <a:cubicBezTo>
                  <a:pt x="1539" y="2116"/>
                  <a:pt x="1539" y="2115"/>
                  <a:pt x="1539" y="2114"/>
                </a:cubicBezTo>
                <a:cubicBezTo>
                  <a:pt x="1539" y="2111"/>
                  <a:pt x="1539" y="2108"/>
                  <a:pt x="1540" y="2106"/>
                </a:cubicBezTo>
                <a:cubicBezTo>
                  <a:pt x="1540" y="2106"/>
                  <a:pt x="1540" y="2106"/>
                  <a:pt x="1541" y="2105"/>
                </a:cubicBezTo>
                <a:cubicBezTo>
                  <a:pt x="1544" y="2107"/>
                  <a:pt x="1548" y="2107"/>
                  <a:pt x="1553" y="2107"/>
                </a:cubicBezTo>
                <a:cubicBezTo>
                  <a:pt x="1567" y="2107"/>
                  <a:pt x="1586" y="2104"/>
                  <a:pt x="1591" y="2103"/>
                </a:cubicBezTo>
                <a:cubicBezTo>
                  <a:pt x="1596" y="2101"/>
                  <a:pt x="1597" y="2098"/>
                  <a:pt x="1599" y="2095"/>
                </a:cubicBezTo>
                <a:cubicBezTo>
                  <a:pt x="1605" y="2087"/>
                  <a:pt x="1613" y="2072"/>
                  <a:pt x="1616" y="2067"/>
                </a:cubicBezTo>
                <a:cubicBezTo>
                  <a:pt x="1619" y="2063"/>
                  <a:pt x="1621" y="2058"/>
                  <a:pt x="1621" y="2053"/>
                </a:cubicBezTo>
                <a:cubicBezTo>
                  <a:pt x="1621" y="2049"/>
                  <a:pt x="1619" y="2044"/>
                  <a:pt x="1615" y="2041"/>
                </a:cubicBezTo>
                <a:cubicBezTo>
                  <a:pt x="1614" y="2041"/>
                  <a:pt x="1614" y="2040"/>
                  <a:pt x="1613" y="2039"/>
                </a:cubicBezTo>
                <a:cubicBezTo>
                  <a:pt x="1618" y="2041"/>
                  <a:pt x="1624" y="2042"/>
                  <a:pt x="1629" y="2042"/>
                </a:cubicBezTo>
                <a:cubicBezTo>
                  <a:pt x="1639" y="2042"/>
                  <a:pt x="1647" y="2038"/>
                  <a:pt x="1656" y="2028"/>
                </a:cubicBezTo>
                <a:cubicBezTo>
                  <a:pt x="1671" y="2011"/>
                  <a:pt x="1683" y="2000"/>
                  <a:pt x="1685" y="1986"/>
                </a:cubicBezTo>
                <a:cubicBezTo>
                  <a:pt x="1686" y="1977"/>
                  <a:pt x="1689" y="1968"/>
                  <a:pt x="1692" y="1965"/>
                </a:cubicBezTo>
                <a:cubicBezTo>
                  <a:pt x="1693" y="1965"/>
                  <a:pt x="1695" y="1967"/>
                  <a:pt x="1699" y="1967"/>
                </a:cubicBezTo>
                <a:cubicBezTo>
                  <a:pt x="1702" y="1967"/>
                  <a:pt x="1705" y="1965"/>
                  <a:pt x="1707" y="1963"/>
                </a:cubicBezTo>
                <a:cubicBezTo>
                  <a:pt x="1708" y="1961"/>
                  <a:pt x="1710" y="1958"/>
                  <a:pt x="1711" y="1954"/>
                </a:cubicBezTo>
                <a:cubicBezTo>
                  <a:pt x="1715" y="1946"/>
                  <a:pt x="1717" y="1943"/>
                  <a:pt x="1720" y="1939"/>
                </a:cubicBezTo>
                <a:cubicBezTo>
                  <a:pt x="1724" y="1936"/>
                  <a:pt x="1728" y="1931"/>
                  <a:pt x="1732" y="1923"/>
                </a:cubicBezTo>
                <a:cubicBezTo>
                  <a:pt x="1733" y="1919"/>
                  <a:pt x="1734" y="1916"/>
                  <a:pt x="1734" y="1912"/>
                </a:cubicBezTo>
                <a:cubicBezTo>
                  <a:pt x="1734" y="1902"/>
                  <a:pt x="1729" y="1892"/>
                  <a:pt x="1729" y="1886"/>
                </a:cubicBezTo>
                <a:cubicBezTo>
                  <a:pt x="1730" y="1883"/>
                  <a:pt x="1730" y="1882"/>
                  <a:pt x="1732" y="1880"/>
                </a:cubicBezTo>
                <a:cubicBezTo>
                  <a:pt x="1746" y="1869"/>
                  <a:pt x="1770" y="1855"/>
                  <a:pt x="1770" y="1855"/>
                </a:cubicBezTo>
                <a:cubicBezTo>
                  <a:pt x="1770" y="1855"/>
                  <a:pt x="1771" y="1854"/>
                  <a:pt x="1774" y="1853"/>
                </a:cubicBezTo>
                <a:cubicBezTo>
                  <a:pt x="1778" y="1851"/>
                  <a:pt x="1782" y="1849"/>
                  <a:pt x="1789" y="1847"/>
                </a:cubicBezTo>
                <a:cubicBezTo>
                  <a:pt x="1795" y="1846"/>
                  <a:pt x="1802" y="1845"/>
                  <a:pt x="1808" y="1844"/>
                </a:cubicBezTo>
                <a:cubicBezTo>
                  <a:pt x="1815" y="1844"/>
                  <a:pt x="1822" y="1842"/>
                  <a:pt x="1826" y="1835"/>
                </a:cubicBezTo>
                <a:cubicBezTo>
                  <a:pt x="1831" y="1825"/>
                  <a:pt x="1836" y="1808"/>
                  <a:pt x="1842" y="1800"/>
                </a:cubicBezTo>
                <a:cubicBezTo>
                  <a:pt x="1848" y="1791"/>
                  <a:pt x="1855" y="1779"/>
                  <a:pt x="1855" y="1769"/>
                </a:cubicBezTo>
                <a:cubicBezTo>
                  <a:pt x="1855" y="1766"/>
                  <a:pt x="1855" y="1764"/>
                  <a:pt x="1854" y="1762"/>
                </a:cubicBezTo>
                <a:cubicBezTo>
                  <a:pt x="1854" y="1762"/>
                  <a:pt x="1854" y="1761"/>
                  <a:pt x="1854" y="1761"/>
                </a:cubicBezTo>
                <a:cubicBezTo>
                  <a:pt x="1854" y="1758"/>
                  <a:pt x="1856" y="1749"/>
                  <a:pt x="1858" y="1742"/>
                </a:cubicBezTo>
                <a:cubicBezTo>
                  <a:pt x="1860" y="1734"/>
                  <a:pt x="1862" y="1726"/>
                  <a:pt x="1863" y="1720"/>
                </a:cubicBezTo>
                <a:cubicBezTo>
                  <a:pt x="1863" y="1720"/>
                  <a:pt x="1862" y="1719"/>
                  <a:pt x="1862" y="1718"/>
                </a:cubicBezTo>
                <a:cubicBezTo>
                  <a:pt x="1861" y="1712"/>
                  <a:pt x="1858" y="1705"/>
                  <a:pt x="1858" y="1697"/>
                </a:cubicBezTo>
                <a:cubicBezTo>
                  <a:pt x="1858" y="1691"/>
                  <a:pt x="1860" y="1686"/>
                  <a:pt x="1866" y="1679"/>
                </a:cubicBezTo>
                <a:cubicBezTo>
                  <a:pt x="1875" y="1671"/>
                  <a:pt x="1884" y="1660"/>
                  <a:pt x="1891" y="1651"/>
                </a:cubicBezTo>
                <a:cubicBezTo>
                  <a:pt x="1899" y="1641"/>
                  <a:pt x="1904" y="1634"/>
                  <a:pt x="1905" y="1628"/>
                </a:cubicBezTo>
                <a:cubicBezTo>
                  <a:pt x="1905" y="1626"/>
                  <a:pt x="1909" y="1617"/>
                  <a:pt x="1913" y="1608"/>
                </a:cubicBezTo>
                <a:cubicBezTo>
                  <a:pt x="1916" y="1598"/>
                  <a:pt x="1920" y="1588"/>
                  <a:pt x="1920" y="1579"/>
                </a:cubicBezTo>
                <a:cubicBezTo>
                  <a:pt x="1920" y="1578"/>
                  <a:pt x="1920" y="1577"/>
                  <a:pt x="1920" y="1577"/>
                </a:cubicBezTo>
                <a:cubicBezTo>
                  <a:pt x="1916" y="1560"/>
                  <a:pt x="1905" y="1543"/>
                  <a:pt x="1894" y="1537"/>
                </a:cubicBezTo>
                <a:close/>
                <a:moveTo>
                  <a:pt x="1322" y="737"/>
                </a:moveTo>
                <a:cubicBezTo>
                  <a:pt x="1322" y="736"/>
                  <a:pt x="1322" y="736"/>
                  <a:pt x="1322" y="736"/>
                </a:cubicBezTo>
                <a:cubicBezTo>
                  <a:pt x="1322" y="737"/>
                  <a:pt x="1322" y="737"/>
                  <a:pt x="1322" y="737"/>
                </a:cubicBezTo>
                <a:close/>
                <a:moveTo>
                  <a:pt x="1311" y="755"/>
                </a:moveTo>
                <a:cubicBezTo>
                  <a:pt x="1314" y="751"/>
                  <a:pt x="1318" y="748"/>
                  <a:pt x="1320" y="745"/>
                </a:cubicBezTo>
                <a:cubicBezTo>
                  <a:pt x="1321" y="744"/>
                  <a:pt x="1322" y="743"/>
                  <a:pt x="1323" y="743"/>
                </a:cubicBezTo>
                <a:cubicBezTo>
                  <a:pt x="1324" y="743"/>
                  <a:pt x="1325" y="743"/>
                  <a:pt x="1326" y="743"/>
                </a:cubicBezTo>
                <a:cubicBezTo>
                  <a:pt x="1331" y="743"/>
                  <a:pt x="1338" y="742"/>
                  <a:pt x="1344" y="742"/>
                </a:cubicBezTo>
                <a:cubicBezTo>
                  <a:pt x="1345" y="742"/>
                  <a:pt x="1347" y="742"/>
                  <a:pt x="1348" y="742"/>
                </a:cubicBezTo>
                <a:cubicBezTo>
                  <a:pt x="1345" y="743"/>
                  <a:pt x="1341" y="745"/>
                  <a:pt x="1336" y="747"/>
                </a:cubicBezTo>
                <a:cubicBezTo>
                  <a:pt x="1331" y="750"/>
                  <a:pt x="1327" y="751"/>
                  <a:pt x="1324" y="752"/>
                </a:cubicBezTo>
                <a:cubicBezTo>
                  <a:pt x="1320" y="753"/>
                  <a:pt x="1317" y="756"/>
                  <a:pt x="1314" y="760"/>
                </a:cubicBezTo>
                <a:cubicBezTo>
                  <a:pt x="1313" y="762"/>
                  <a:pt x="1309" y="764"/>
                  <a:pt x="1304" y="767"/>
                </a:cubicBezTo>
                <a:cubicBezTo>
                  <a:pt x="1303" y="767"/>
                  <a:pt x="1302" y="768"/>
                  <a:pt x="1301" y="768"/>
                </a:cubicBezTo>
                <a:cubicBezTo>
                  <a:pt x="1303" y="765"/>
                  <a:pt x="1307" y="760"/>
                  <a:pt x="1311" y="755"/>
                </a:cubicBezTo>
                <a:close/>
                <a:moveTo>
                  <a:pt x="1293" y="718"/>
                </a:moveTo>
                <a:cubicBezTo>
                  <a:pt x="1294" y="720"/>
                  <a:pt x="1295" y="722"/>
                  <a:pt x="1296" y="724"/>
                </a:cubicBezTo>
                <a:cubicBezTo>
                  <a:pt x="1296" y="724"/>
                  <a:pt x="1296" y="724"/>
                  <a:pt x="1296" y="724"/>
                </a:cubicBezTo>
                <a:cubicBezTo>
                  <a:pt x="1294" y="722"/>
                  <a:pt x="1293" y="720"/>
                  <a:pt x="1293" y="717"/>
                </a:cubicBezTo>
                <a:cubicBezTo>
                  <a:pt x="1293" y="718"/>
                  <a:pt x="1293" y="718"/>
                  <a:pt x="1293" y="718"/>
                </a:cubicBezTo>
                <a:close/>
                <a:moveTo>
                  <a:pt x="1290" y="776"/>
                </a:moveTo>
                <a:cubicBezTo>
                  <a:pt x="1289" y="776"/>
                  <a:pt x="1289" y="777"/>
                  <a:pt x="1288" y="778"/>
                </a:cubicBezTo>
                <a:cubicBezTo>
                  <a:pt x="1285" y="781"/>
                  <a:pt x="1280" y="784"/>
                  <a:pt x="1277" y="785"/>
                </a:cubicBezTo>
                <a:cubicBezTo>
                  <a:pt x="1278" y="784"/>
                  <a:pt x="1278" y="784"/>
                  <a:pt x="1279" y="783"/>
                </a:cubicBezTo>
                <a:cubicBezTo>
                  <a:pt x="1279" y="783"/>
                  <a:pt x="1279" y="782"/>
                  <a:pt x="1279" y="782"/>
                </a:cubicBezTo>
                <a:cubicBezTo>
                  <a:pt x="1281" y="781"/>
                  <a:pt x="1286" y="778"/>
                  <a:pt x="1290" y="776"/>
                </a:cubicBezTo>
                <a:close/>
                <a:moveTo>
                  <a:pt x="1259" y="711"/>
                </a:moveTo>
                <a:cubicBezTo>
                  <a:pt x="1260" y="711"/>
                  <a:pt x="1261" y="711"/>
                  <a:pt x="1262" y="710"/>
                </a:cubicBezTo>
                <a:cubicBezTo>
                  <a:pt x="1260" y="704"/>
                  <a:pt x="1260" y="704"/>
                  <a:pt x="1260" y="704"/>
                </a:cubicBezTo>
                <a:cubicBezTo>
                  <a:pt x="1263" y="710"/>
                  <a:pt x="1263" y="710"/>
                  <a:pt x="1263" y="710"/>
                </a:cubicBezTo>
                <a:cubicBezTo>
                  <a:pt x="1263" y="710"/>
                  <a:pt x="1263" y="710"/>
                  <a:pt x="1263" y="710"/>
                </a:cubicBezTo>
                <a:cubicBezTo>
                  <a:pt x="1264" y="710"/>
                  <a:pt x="1268" y="709"/>
                  <a:pt x="1272" y="709"/>
                </a:cubicBezTo>
                <a:cubicBezTo>
                  <a:pt x="1276" y="709"/>
                  <a:pt x="1280" y="710"/>
                  <a:pt x="1283" y="710"/>
                </a:cubicBezTo>
                <a:cubicBezTo>
                  <a:pt x="1281" y="711"/>
                  <a:pt x="1281" y="712"/>
                  <a:pt x="1281" y="712"/>
                </a:cubicBezTo>
                <a:cubicBezTo>
                  <a:pt x="1279" y="715"/>
                  <a:pt x="1278" y="718"/>
                  <a:pt x="1277" y="722"/>
                </a:cubicBezTo>
                <a:cubicBezTo>
                  <a:pt x="1277" y="726"/>
                  <a:pt x="1276" y="731"/>
                  <a:pt x="1276" y="735"/>
                </a:cubicBezTo>
                <a:cubicBezTo>
                  <a:pt x="1276" y="739"/>
                  <a:pt x="1276" y="742"/>
                  <a:pt x="1278" y="746"/>
                </a:cubicBezTo>
                <a:cubicBezTo>
                  <a:pt x="1278" y="746"/>
                  <a:pt x="1278" y="746"/>
                  <a:pt x="1278" y="747"/>
                </a:cubicBezTo>
                <a:cubicBezTo>
                  <a:pt x="1278" y="747"/>
                  <a:pt x="1277" y="751"/>
                  <a:pt x="1274" y="753"/>
                </a:cubicBezTo>
                <a:cubicBezTo>
                  <a:pt x="1273" y="754"/>
                  <a:pt x="1272" y="752"/>
                  <a:pt x="1271" y="756"/>
                </a:cubicBezTo>
                <a:cubicBezTo>
                  <a:pt x="1271" y="756"/>
                  <a:pt x="1271" y="756"/>
                  <a:pt x="1271" y="756"/>
                </a:cubicBezTo>
                <a:cubicBezTo>
                  <a:pt x="1270" y="752"/>
                  <a:pt x="1268" y="747"/>
                  <a:pt x="1268" y="742"/>
                </a:cubicBezTo>
                <a:cubicBezTo>
                  <a:pt x="1268" y="740"/>
                  <a:pt x="1269" y="739"/>
                  <a:pt x="1269" y="737"/>
                </a:cubicBezTo>
                <a:cubicBezTo>
                  <a:pt x="1269" y="736"/>
                  <a:pt x="1269" y="735"/>
                  <a:pt x="1269" y="734"/>
                </a:cubicBezTo>
                <a:cubicBezTo>
                  <a:pt x="1269" y="724"/>
                  <a:pt x="1264" y="714"/>
                  <a:pt x="1255" y="710"/>
                </a:cubicBezTo>
                <a:cubicBezTo>
                  <a:pt x="1257" y="711"/>
                  <a:pt x="1258" y="711"/>
                  <a:pt x="1259" y="711"/>
                </a:cubicBezTo>
                <a:close/>
                <a:moveTo>
                  <a:pt x="1246" y="708"/>
                </a:moveTo>
                <a:cubicBezTo>
                  <a:pt x="1246" y="708"/>
                  <a:pt x="1246" y="708"/>
                  <a:pt x="1245" y="708"/>
                </a:cubicBezTo>
                <a:cubicBezTo>
                  <a:pt x="1244" y="708"/>
                  <a:pt x="1243" y="708"/>
                  <a:pt x="1242" y="708"/>
                </a:cubicBezTo>
                <a:cubicBezTo>
                  <a:pt x="1226" y="710"/>
                  <a:pt x="1219" y="726"/>
                  <a:pt x="1216" y="727"/>
                </a:cubicBezTo>
                <a:cubicBezTo>
                  <a:pt x="1212" y="731"/>
                  <a:pt x="1212" y="736"/>
                  <a:pt x="1211" y="740"/>
                </a:cubicBezTo>
                <a:cubicBezTo>
                  <a:pt x="1210" y="745"/>
                  <a:pt x="1210" y="750"/>
                  <a:pt x="1210" y="755"/>
                </a:cubicBezTo>
                <a:cubicBezTo>
                  <a:pt x="1210" y="760"/>
                  <a:pt x="1210" y="764"/>
                  <a:pt x="1211" y="766"/>
                </a:cubicBezTo>
                <a:cubicBezTo>
                  <a:pt x="1211" y="767"/>
                  <a:pt x="1211" y="769"/>
                  <a:pt x="1211" y="771"/>
                </a:cubicBezTo>
                <a:cubicBezTo>
                  <a:pt x="1211" y="774"/>
                  <a:pt x="1211" y="779"/>
                  <a:pt x="1210" y="781"/>
                </a:cubicBezTo>
                <a:cubicBezTo>
                  <a:pt x="1208" y="783"/>
                  <a:pt x="1208" y="784"/>
                  <a:pt x="1207" y="784"/>
                </a:cubicBezTo>
                <a:cubicBezTo>
                  <a:pt x="1207" y="784"/>
                  <a:pt x="1207" y="784"/>
                  <a:pt x="1207" y="784"/>
                </a:cubicBezTo>
                <a:cubicBezTo>
                  <a:pt x="1207" y="784"/>
                  <a:pt x="1207" y="783"/>
                  <a:pt x="1206" y="781"/>
                </a:cubicBezTo>
                <a:cubicBezTo>
                  <a:pt x="1205" y="778"/>
                  <a:pt x="1204" y="774"/>
                  <a:pt x="1204" y="770"/>
                </a:cubicBezTo>
                <a:cubicBezTo>
                  <a:pt x="1204" y="765"/>
                  <a:pt x="1205" y="759"/>
                  <a:pt x="1205" y="756"/>
                </a:cubicBezTo>
                <a:cubicBezTo>
                  <a:pt x="1206" y="755"/>
                  <a:pt x="1206" y="754"/>
                  <a:pt x="1206" y="752"/>
                </a:cubicBezTo>
                <a:cubicBezTo>
                  <a:pt x="1206" y="746"/>
                  <a:pt x="1204" y="737"/>
                  <a:pt x="1204" y="730"/>
                </a:cubicBezTo>
                <a:cubicBezTo>
                  <a:pt x="1204" y="725"/>
                  <a:pt x="1205" y="720"/>
                  <a:pt x="1206" y="718"/>
                </a:cubicBezTo>
                <a:cubicBezTo>
                  <a:pt x="1209" y="710"/>
                  <a:pt x="1220" y="706"/>
                  <a:pt x="1229" y="705"/>
                </a:cubicBezTo>
                <a:cubicBezTo>
                  <a:pt x="1229" y="705"/>
                  <a:pt x="1230" y="705"/>
                  <a:pt x="1230" y="705"/>
                </a:cubicBezTo>
                <a:cubicBezTo>
                  <a:pt x="1234" y="705"/>
                  <a:pt x="1239" y="706"/>
                  <a:pt x="1245" y="708"/>
                </a:cubicBezTo>
                <a:cubicBezTo>
                  <a:pt x="1245" y="708"/>
                  <a:pt x="1246" y="708"/>
                  <a:pt x="1246" y="708"/>
                </a:cubicBezTo>
                <a:close/>
                <a:moveTo>
                  <a:pt x="1157" y="679"/>
                </a:moveTo>
                <a:cubicBezTo>
                  <a:pt x="1158" y="679"/>
                  <a:pt x="1158" y="679"/>
                  <a:pt x="1158" y="679"/>
                </a:cubicBezTo>
                <a:cubicBezTo>
                  <a:pt x="1158" y="678"/>
                  <a:pt x="1164" y="677"/>
                  <a:pt x="1173" y="673"/>
                </a:cubicBezTo>
                <a:cubicBezTo>
                  <a:pt x="1171" y="667"/>
                  <a:pt x="1171" y="667"/>
                  <a:pt x="1171" y="667"/>
                </a:cubicBezTo>
                <a:cubicBezTo>
                  <a:pt x="1173" y="673"/>
                  <a:pt x="1173" y="673"/>
                  <a:pt x="1173" y="673"/>
                </a:cubicBezTo>
                <a:cubicBezTo>
                  <a:pt x="1180" y="669"/>
                  <a:pt x="1187" y="664"/>
                  <a:pt x="1193" y="660"/>
                </a:cubicBezTo>
                <a:cubicBezTo>
                  <a:pt x="1198" y="656"/>
                  <a:pt x="1203" y="653"/>
                  <a:pt x="1204" y="653"/>
                </a:cubicBezTo>
                <a:cubicBezTo>
                  <a:pt x="1211" y="662"/>
                  <a:pt x="1222" y="671"/>
                  <a:pt x="1233" y="674"/>
                </a:cubicBezTo>
                <a:cubicBezTo>
                  <a:pt x="1232" y="675"/>
                  <a:pt x="1232" y="677"/>
                  <a:pt x="1231" y="679"/>
                </a:cubicBezTo>
                <a:cubicBezTo>
                  <a:pt x="1230" y="680"/>
                  <a:pt x="1229" y="681"/>
                  <a:pt x="1228" y="682"/>
                </a:cubicBezTo>
                <a:cubicBezTo>
                  <a:pt x="1228" y="682"/>
                  <a:pt x="1228" y="682"/>
                  <a:pt x="1228" y="682"/>
                </a:cubicBezTo>
                <a:cubicBezTo>
                  <a:pt x="1224" y="682"/>
                  <a:pt x="1214" y="679"/>
                  <a:pt x="1204" y="679"/>
                </a:cubicBezTo>
                <a:cubicBezTo>
                  <a:pt x="1201" y="679"/>
                  <a:pt x="1201" y="679"/>
                  <a:pt x="1201" y="678"/>
                </a:cubicBezTo>
                <a:cubicBezTo>
                  <a:pt x="1200" y="678"/>
                  <a:pt x="1200" y="677"/>
                  <a:pt x="1199" y="675"/>
                </a:cubicBezTo>
                <a:cubicBezTo>
                  <a:pt x="1198" y="674"/>
                  <a:pt x="1195" y="672"/>
                  <a:pt x="1192" y="672"/>
                </a:cubicBezTo>
                <a:cubicBezTo>
                  <a:pt x="1191" y="672"/>
                  <a:pt x="1190" y="672"/>
                  <a:pt x="1189" y="672"/>
                </a:cubicBezTo>
                <a:cubicBezTo>
                  <a:pt x="1185" y="674"/>
                  <a:pt x="1174" y="677"/>
                  <a:pt x="1166" y="681"/>
                </a:cubicBezTo>
                <a:cubicBezTo>
                  <a:pt x="1165" y="682"/>
                  <a:pt x="1162" y="683"/>
                  <a:pt x="1160" y="683"/>
                </a:cubicBezTo>
                <a:cubicBezTo>
                  <a:pt x="1159" y="683"/>
                  <a:pt x="1157" y="682"/>
                  <a:pt x="1157" y="682"/>
                </a:cubicBezTo>
                <a:cubicBezTo>
                  <a:pt x="1157" y="680"/>
                  <a:pt x="1157" y="679"/>
                  <a:pt x="1157" y="679"/>
                </a:cubicBezTo>
                <a:close/>
                <a:moveTo>
                  <a:pt x="1239" y="392"/>
                </a:moveTo>
                <a:cubicBezTo>
                  <a:pt x="1238" y="392"/>
                  <a:pt x="1238" y="392"/>
                  <a:pt x="1237" y="393"/>
                </a:cubicBezTo>
                <a:cubicBezTo>
                  <a:pt x="1236" y="393"/>
                  <a:pt x="1235" y="393"/>
                  <a:pt x="1234" y="393"/>
                </a:cubicBezTo>
                <a:cubicBezTo>
                  <a:pt x="1233" y="393"/>
                  <a:pt x="1233" y="393"/>
                  <a:pt x="1232" y="392"/>
                </a:cubicBezTo>
                <a:cubicBezTo>
                  <a:pt x="1232" y="392"/>
                  <a:pt x="1232" y="392"/>
                  <a:pt x="1231" y="391"/>
                </a:cubicBezTo>
                <a:cubicBezTo>
                  <a:pt x="1234" y="391"/>
                  <a:pt x="1236" y="392"/>
                  <a:pt x="1239" y="392"/>
                </a:cubicBezTo>
                <a:close/>
                <a:moveTo>
                  <a:pt x="1190" y="333"/>
                </a:moveTo>
                <a:cubicBezTo>
                  <a:pt x="1192" y="333"/>
                  <a:pt x="1194" y="333"/>
                  <a:pt x="1196" y="333"/>
                </a:cubicBezTo>
                <a:cubicBezTo>
                  <a:pt x="1198" y="333"/>
                  <a:pt x="1200" y="332"/>
                  <a:pt x="1202" y="332"/>
                </a:cubicBezTo>
                <a:cubicBezTo>
                  <a:pt x="1208" y="332"/>
                  <a:pt x="1213" y="333"/>
                  <a:pt x="1217" y="334"/>
                </a:cubicBezTo>
                <a:cubicBezTo>
                  <a:pt x="1218" y="334"/>
                  <a:pt x="1219" y="334"/>
                  <a:pt x="1219" y="334"/>
                </a:cubicBezTo>
                <a:cubicBezTo>
                  <a:pt x="1219" y="335"/>
                  <a:pt x="1219" y="336"/>
                  <a:pt x="1219" y="337"/>
                </a:cubicBezTo>
                <a:cubicBezTo>
                  <a:pt x="1219" y="339"/>
                  <a:pt x="1218" y="341"/>
                  <a:pt x="1218" y="342"/>
                </a:cubicBezTo>
                <a:cubicBezTo>
                  <a:pt x="1218" y="343"/>
                  <a:pt x="1217" y="343"/>
                  <a:pt x="1217" y="343"/>
                </a:cubicBezTo>
                <a:cubicBezTo>
                  <a:pt x="1215" y="344"/>
                  <a:pt x="1212" y="345"/>
                  <a:pt x="1208" y="347"/>
                </a:cubicBezTo>
                <a:cubicBezTo>
                  <a:pt x="1204" y="348"/>
                  <a:pt x="1199" y="352"/>
                  <a:pt x="1197" y="358"/>
                </a:cubicBezTo>
                <a:cubicBezTo>
                  <a:pt x="1197" y="358"/>
                  <a:pt x="1197" y="359"/>
                  <a:pt x="1197" y="359"/>
                </a:cubicBezTo>
                <a:cubicBezTo>
                  <a:pt x="1197" y="357"/>
                  <a:pt x="1197" y="356"/>
                  <a:pt x="1197" y="354"/>
                </a:cubicBezTo>
                <a:cubicBezTo>
                  <a:pt x="1197" y="349"/>
                  <a:pt x="1196" y="343"/>
                  <a:pt x="1191" y="339"/>
                </a:cubicBezTo>
                <a:cubicBezTo>
                  <a:pt x="1188" y="336"/>
                  <a:pt x="1185" y="334"/>
                  <a:pt x="1182" y="332"/>
                </a:cubicBezTo>
                <a:cubicBezTo>
                  <a:pt x="1184" y="333"/>
                  <a:pt x="1187" y="333"/>
                  <a:pt x="1190" y="333"/>
                </a:cubicBezTo>
                <a:close/>
                <a:moveTo>
                  <a:pt x="1102" y="289"/>
                </a:moveTo>
                <a:cubicBezTo>
                  <a:pt x="1101" y="287"/>
                  <a:pt x="1101" y="287"/>
                  <a:pt x="1101" y="287"/>
                </a:cubicBezTo>
                <a:cubicBezTo>
                  <a:pt x="1102" y="289"/>
                  <a:pt x="1102" y="289"/>
                  <a:pt x="1102" y="289"/>
                </a:cubicBezTo>
                <a:cubicBezTo>
                  <a:pt x="1102" y="289"/>
                  <a:pt x="1102" y="289"/>
                  <a:pt x="1102" y="289"/>
                </a:cubicBezTo>
                <a:close/>
                <a:moveTo>
                  <a:pt x="190" y="423"/>
                </a:moveTo>
                <a:cubicBezTo>
                  <a:pt x="188" y="425"/>
                  <a:pt x="186" y="427"/>
                  <a:pt x="184" y="427"/>
                </a:cubicBezTo>
                <a:cubicBezTo>
                  <a:pt x="183" y="427"/>
                  <a:pt x="183" y="427"/>
                  <a:pt x="183" y="427"/>
                </a:cubicBezTo>
                <a:cubicBezTo>
                  <a:pt x="181" y="427"/>
                  <a:pt x="180" y="427"/>
                  <a:pt x="179" y="426"/>
                </a:cubicBezTo>
                <a:cubicBezTo>
                  <a:pt x="180" y="426"/>
                  <a:pt x="182" y="425"/>
                  <a:pt x="183" y="423"/>
                </a:cubicBezTo>
                <a:cubicBezTo>
                  <a:pt x="186" y="420"/>
                  <a:pt x="188" y="420"/>
                  <a:pt x="191" y="420"/>
                </a:cubicBezTo>
                <a:cubicBezTo>
                  <a:pt x="192" y="420"/>
                  <a:pt x="192" y="420"/>
                  <a:pt x="193" y="420"/>
                </a:cubicBezTo>
                <a:cubicBezTo>
                  <a:pt x="192" y="421"/>
                  <a:pt x="191" y="422"/>
                  <a:pt x="190" y="423"/>
                </a:cubicBezTo>
                <a:close/>
                <a:moveTo>
                  <a:pt x="692" y="653"/>
                </a:moveTo>
                <a:cubicBezTo>
                  <a:pt x="692" y="653"/>
                  <a:pt x="692" y="652"/>
                  <a:pt x="692" y="652"/>
                </a:cubicBezTo>
                <a:cubicBezTo>
                  <a:pt x="692" y="652"/>
                  <a:pt x="692" y="652"/>
                  <a:pt x="692" y="652"/>
                </a:cubicBezTo>
                <a:cubicBezTo>
                  <a:pt x="692" y="653"/>
                  <a:pt x="693" y="653"/>
                  <a:pt x="693" y="653"/>
                </a:cubicBezTo>
                <a:cubicBezTo>
                  <a:pt x="693" y="653"/>
                  <a:pt x="692" y="653"/>
                  <a:pt x="692" y="653"/>
                </a:cubicBezTo>
                <a:close/>
                <a:moveTo>
                  <a:pt x="714" y="672"/>
                </a:moveTo>
                <a:cubicBezTo>
                  <a:pt x="714" y="673"/>
                  <a:pt x="716" y="676"/>
                  <a:pt x="716" y="680"/>
                </a:cubicBezTo>
                <a:cubicBezTo>
                  <a:pt x="715" y="677"/>
                  <a:pt x="714" y="675"/>
                  <a:pt x="714" y="672"/>
                </a:cubicBezTo>
                <a:close/>
                <a:moveTo>
                  <a:pt x="832" y="962"/>
                </a:moveTo>
                <a:cubicBezTo>
                  <a:pt x="832" y="961"/>
                  <a:pt x="832" y="960"/>
                  <a:pt x="835" y="957"/>
                </a:cubicBezTo>
                <a:cubicBezTo>
                  <a:pt x="835" y="957"/>
                  <a:pt x="836" y="957"/>
                  <a:pt x="836" y="956"/>
                </a:cubicBezTo>
                <a:cubicBezTo>
                  <a:pt x="837" y="957"/>
                  <a:pt x="838" y="960"/>
                  <a:pt x="839" y="963"/>
                </a:cubicBezTo>
                <a:cubicBezTo>
                  <a:pt x="840" y="967"/>
                  <a:pt x="841" y="972"/>
                  <a:pt x="843" y="977"/>
                </a:cubicBezTo>
                <a:cubicBezTo>
                  <a:pt x="843" y="977"/>
                  <a:pt x="843" y="977"/>
                  <a:pt x="843" y="977"/>
                </a:cubicBezTo>
                <a:cubicBezTo>
                  <a:pt x="836" y="970"/>
                  <a:pt x="831" y="964"/>
                  <a:pt x="832" y="962"/>
                </a:cubicBezTo>
                <a:close/>
                <a:moveTo>
                  <a:pt x="897" y="270"/>
                </a:moveTo>
                <a:cubicBezTo>
                  <a:pt x="897" y="270"/>
                  <a:pt x="896" y="270"/>
                  <a:pt x="896" y="270"/>
                </a:cubicBezTo>
                <a:cubicBezTo>
                  <a:pt x="892" y="270"/>
                  <a:pt x="888" y="270"/>
                  <a:pt x="883" y="271"/>
                </a:cubicBezTo>
                <a:cubicBezTo>
                  <a:pt x="873" y="272"/>
                  <a:pt x="857" y="275"/>
                  <a:pt x="850" y="275"/>
                </a:cubicBezTo>
                <a:cubicBezTo>
                  <a:pt x="849" y="275"/>
                  <a:pt x="849" y="275"/>
                  <a:pt x="849" y="275"/>
                </a:cubicBezTo>
                <a:cubicBezTo>
                  <a:pt x="848" y="275"/>
                  <a:pt x="847" y="275"/>
                  <a:pt x="847" y="275"/>
                </a:cubicBezTo>
                <a:cubicBezTo>
                  <a:pt x="846" y="274"/>
                  <a:pt x="844" y="271"/>
                  <a:pt x="836" y="268"/>
                </a:cubicBezTo>
                <a:cubicBezTo>
                  <a:pt x="824" y="261"/>
                  <a:pt x="818" y="261"/>
                  <a:pt x="812" y="258"/>
                </a:cubicBezTo>
                <a:cubicBezTo>
                  <a:pt x="816" y="256"/>
                  <a:pt x="818" y="254"/>
                  <a:pt x="821" y="252"/>
                </a:cubicBezTo>
                <a:cubicBezTo>
                  <a:pt x="823" y="251"/>
                  <a:pt x="824" y="250"/>
                  <a:pt x="825" y="249"/>
                </a:cubicBezTo>
                <a:cubicBezTo>
                  <a:pt x="826" y="249"/>
                  <a:pt x="827" y="249"/>
                  <a:pt x="827" y="249"/>
                </a:cubicBezTo>
                <a:cubicBezTo>
                  <a:pt x="828" y="250"/>
                  <a:pt x="829" y="253"/>
                  <a:pt x="831" y="256"/>
                </a:cubicBezTo>
                <a:cubicBezTo>
                  <a:pt x="832" y="259"/>
                  <a:pt x="834" y="264"/>
                  <a:pt x="839" y="267"/>
                </a:cubicBezTo>
                <a:cubicBezTo>
                  <a:pt x="844" y="269"/>
                  <a:pt x="849" y="270"/>
                  <a:pt x="855" y="270"/>
                </a:cubicBezTo>
                <a:cubicBezTo>
                  <a:pt x="860" y="270"/>
                  <a:pt x="866" y="269"/>
                  <a:pt x="871" y="268"/>
                </a:cubicBezTo>
                <a:cubicBezTo>
                  <a:pt x="873" y="267"/>
                  <a:pt x="881" y="266"/>
                  <a:pt x="887" y="266"/>
                </a:cubicBezTo>
                <a:cubicBezTo>
                  <a:pt x="893" y="266"/>
                  <a:pt x="899" y="266"/>
                  <a:pt x="902" y="267"/>
                </a:cubicBezTo>
                <a:cubicBezTo>
                  <a:pt x="904" y="267"/>
                  <a:pt x="908" y="268"/>
                  <a:pt x="913" y="269"/>
                </a:cubicBezTo>
                <a:cubicBezTo>
                  <a:pt x="913" y="270"/>
                  <a:pt x="913" y="271"/>
                  <a:pt x="913" y="272"/>
                </a:cubicBezTo>
                <a:cubicBezTo>
                  <a:pt x="913" y="273"/>
                  <a:pt x="913" y="274"/>
                  <a:pt x="913" y="276"/>
                </a:cubicBezTo>
                <a:cubicBezTo>
                  <a:pt x="908" y="272"/>
                  <a:pt x="902" y="270"/>
                  <a:pt x="897" y="270"/>
                </a:cubicBezTo>
                <a:close/>
                <a:moveTo>
                  <a:pt x="1692" y="1468"/>
                </a:moveTo>
                <a:cubicBezTo>
                  <a:pt x="1691" y="1470"/>
                  <a:pt x="1691" y="1471"/>
                  <a:pt x="1682" y="1473"/>
                </a:cubicBezTo>
                <a:cubicBezTo>
                  <a:pt x="1680" y="1474"/>
                  <a:pt x="1679" y="1474"/>
                  <a:pt x="1678" y="1474"/>
                </a:cubicBezTo>
                <a:cubicBezTo>
                  <a:pt x="1677" y="1474"/>
                  <a:pt x="1676" y="1474"/>
                  <a:pt x="1676" y="1474"/>
                </a:cubicBezTo>
                <a:cubicBezTo>
                  <a:pt x="1676" y="1473"/>
                  <a:pt x="1677" y="1473"/>
                  <a:pt x="1678" y="1473"/>
                </a:cubicBezTo>
                <a:cubicBezTo>
                  <a:pt x="1683" y="1472"/>
                  <a:pt x="1688" y="1470"/>
                  <a:pt x="1692" y="1467"/>
                </a:cubicBezTo>
                <a:cubicBezTo>
                  <a:pt x="1692" y="1467"/>
                  <a:pt x="1692" y="1468"/>
                  <a:pt x="1692" y="1468"/>
                </a:cubicBezTo>
                <a:close/>
                <a:moveTo>
                  <a:pt x="1712" y="1500"/>
                </a:moveTo>
                <a:cubicBezTo>
                  <a:pt x="1712" y="1500"/>
                  <a:pt x="1712" y="1500"/>
                  <a:pt x="1712" y="1500"/>
                </a:cubicBezTo>
                <a:cubicBezTo>
                  <a:pt x="1712" y="1500"/>
                  <a:pt x="1712" y="1500"/>
                  <a:pt x="1712" y="1500"/>
                </a:cubicBezTo>
                <a:cubicBezTo>
                  <a:pt x="1712" y="1500"/>
                  <a:pt x="1712" y="1500"/>
                  <a:pt x="1712" y="1500"/>
                </a:cubicBezTo>
                <a:cubicBezTo>
                  <a:pt x="1712" y="1500"/>
                  <a:pt x="1712" y="1500"/>
                  <a:pt x="1712" y="1500"/>
                </a:cubicBezTo>
                <a:close/>
                <a:moveTo>
                  <a:pt x="1024" y="266"/>
                </a:moveTo>
                <a:cubicBezTo>
                  <a:pt x="1021" y="266"/>
                  <a:pt x="1014" y="264"/>
                  <a:pt x="1008" y="264"/>
                </a:cubicBezTo>
                <a:cubicBezTo>
                  <a:pt x="1003" y="264"/>
                  <a:pt x="998" y="265"/>
                  <a:pt x="994" y="268"/>
                </a:cubicBezTo>
                <a:cubicBezTo>
                  <a:pt x="990" y="271"/>
                  <a:pt x="989" y="276"/>
                  <a:pt x="989" y="279"/>
                </a:cubicBezTo>
                <a:cubicBezTo>
                  <a:pt x="989" y="287"/>
                  <a:pt x="993" y="296"/>
                  <a:pt x="1003" y="297"/>
                </a:cubicBezTo>
                <a:cubicBezTo>
                  <a:pt x="1004" y="297"/>
                  <a:pt x="1005" y="297"/>
                  <a:pt x="1005" y="297"/>
                </a:cubicBezTo>
                <a:cubicBezTo>
                  <a:pt x="1012" y="297"/>
                  <a:pt x="1019" y="295"/>
                  <a:pt x="1023" y="294"/>
                </a:cubicBezTo>
                <a:cubicBezTo>
                  <a:pt x="1024" y="297"/>
                  <a:pt x="1025" y="302"/>
                  <a:pt x="1027" y="307"/>
                </a:cubicBezTo>
                <a:cubicBezTo>
                  <a:pt x="1030" y="312"/>
                  <a:pt x="1034" y="320"/>
                  <a:pt x="1044" y="320"/>
                </a:cubicBezTo>
                <a:cubicBezTo>
                  <a:pt x="1047" y="320"/>
                  <a:pt x="1049" y="319"/>
                  <a:pt x="1052" y="318"/>
                </a:cubicBezTo>
                <a:cubicBezTo>
                  <a:pt x="1060" y="313"/>
                  <a:pt x="1064" y="308"/>
                  <a:pt x="1066" y="305"/>
                </a:cubicBezTo>
                <a:cubicBezTo>
                  <a:pt x="1067" y="303"/>
                  <a:pt x="1068" y="302"/>
                  <a:pt x="1068" y="301"/>
                </a:cubicBezTo>
                <a:cubicBezTo>
                  <a:pt x="1071" y="300"/>
                  <a:pt x="1072" y="298"/>
                  <a:pt x="1073" y="297"/>
                </a:cubicBezTo>
                <a:cubicBezTo>
                  <a:pt x="1073" y="295"/>
                  <a:pt x="1073" y="294"/>
                  <a:pt x="1073" y="292"/>
                </a:cubicBezTo>
                <a:cubicBezTo>
                  <a:pt x="1073" y="284"/>
                  <a:pt x="1070" y="272"/>
                  <a:pt x="1063" y="265"/>
                </a:cubicBezTo>
                <a:cubicBezTo>
                  <a:pt x="1058" y="262"/>
                  <a:pt x="1053" y="262"/>
                  <a:pt x="1047" y="262"/>
                </a:cubicBezTo>
                <a:cubicBezTo>
                  <a:pt x="1039" y="262"/>
                  <a:pt x="1030" y="263"/>
                  <a:pt x="1025" y="266"/>
                </a:cubicBezTo>
                <a:cubicBezTo>
                  <a:pt x="1025" y="266"/>
                  <a:pt x="1025" y="266"/>
                  <a:pt x="1025" y="266"/>
                </a:cubicBezTo>
                <a:cubicBezTo>
                  <a:pt x="1025" y="266"/>
                  <a:pt x="1024" y="266"/>
                  <a:pt x="1024" y="266"/>
                </a:cubicBezTo>
                <a:close/>
                <a:moveTo>
                  <a:pt x="2576" y="835"/>
                </a:moveTo>
                <a:cubicBezTo>
                  <a:pt x="2575" y="835"/>
                  <a:pt x="2567" y="833"/>
                  <a:pt x="2559" y="833"/>
                </a:cubicBezTo>
                <a:cubicBezTo>
                  <a:pt x="2556" y="833"/>
                  <a:pt x="2552" y="833"/>
                  <a:pt x="2548" y="836"/>
                </a:cubicBezTo>
                <a:cubicBezTo>
                  <a:pt x="2546" y="837"/>
                  <a:pt x="2544" y="840"/>
                  <a:pt x="2544" y="843"/>
                </a:cubicBezTo>
                <a:cubicBezTo>
                  <a:pt x="2545" y="849"/>
                  <a:pt x="2548" y="851"/>
                  <a:pt x="2551" y="854"/>
                </a:cubicBezTo>
                <a:cubicBezTo>
                  <a:pt x="2555" y="857"/>
                  <a:pt x="2558" y="860"/>
                  <a:pt x="2562" y="862"/>
                </a:cubicBezTo>
                <a:cubicBezTo>
                  <a:pt x="2563" y="862"/>
                  <a:pt x="2565" y="864"/>
                  <a:pt x="2568" y="867"/>
                </a:cubicBezTo>
                <a:cubicBezTo>
                  <a:pt x="2570" y="869"/>
                  <a:pt x="2572" y="873"/>
                  <a:pt x="2577" y="874"/>
                </a:cubicBezTo>
                <a:cubicBezTo>
                  <a:pt x="2577" y="874"/>
                  <a:pt x="2577" y="874"/>
                  <a:pt x="2577" y="874"/>
                </a:cubicBezTo>
                <a:cubicBezTo>
                  <a:pt x="2577" y="874"/>
                  <a:pt x="2577" y="874"/>
                  <a:pt x="2577" y="874"/>
                </a:cubicBezTo>
                <a:cubicBezTo>
                  <a:pt x="2577" y="874"/>
                  <a:pt x="2577" y="874"/>
                  <a:pt x="2577" y="874"/>
                </a:cubicBezTo>
                <a:cubicBezTo>
                  <a:pt x="2579" y="875"/>
                  <a:pt x="2581" y="875"/>
                  <a:pt x="2583" y="875"/>
                </a:cubicBezTo>
                <a:cubicBezTo>
                  <a:pt x="2586" y="875"/>
                  <a:pt x="2590" y="874"/>
                  <a:pt x="2594" y="872"/>
                </a:cubicBezTo>
                <a:cubicBezTo>
                  <a:pt x="2598" y="870"/>
                  <a:pt x="2601" y="865"/>
                  <a:pt x="2601" y="859"/>
                </a:cubicBezTo>
                <a:cubicBezTo>
                  <a:pt x="2601" y="857"/>
                  <a:pt x="2600" y="855"/>
                  <a:pt x="2600" y="853"/>
                </a:cubicBezTo>
                <a:cubicBezTo>
                  <a:pt x="2594" y="836"/>
                  <a:pt x="2579" y="834"/>
                  <a:pt x="2576" y="835"/>
                </a:cubicBezTo>
                <a:close/>
                <a:moveTo>
                  <a:pt x="4079" y="1252"/>
                </a:moveTo>
                <a:cubicBezTo>
                  <a:pt x="4079" y="1252"/>
                  <a:pt x="4079" y="1252"/>
                  <a:pt x="4078" y="1252"/>
                </a:cubicBezTo>
                <a:cubicBezTo>
                  <a:pt x="4074" y="1252"/>
                  <a:pt x="4073" y="1255"/>
                  <a:pt x="4071" y="1256"/>
                </a:cubicBezTo>
                <a:cubicBezTo>
                  <a:pt x="4067" y="1261"/>
                  <a:pt x="4063" y="1269"/>
                  <a:pt x="4063" y="1277"/>
                </a:cubicBezTo>
                <a:cubicBezTo>
                  <a:pt x="4063" y="1280"/>
                  <a:pt x="4063" y="1282"/>
                  <a:pt x="4064" y="1284"/>
                </a:cubicBezTo>
                <a:cubicBezTo>
                  <a:pt x="4064" y="1284"/>
                  <a:pt x="4064" y="1284"/>
                  <a:pt x="4064" y="1284"/>
                </a:cubicBezTo>
                <a:cubicBezTo>
                  <a:pt x="4059" y="1279"/>
                  <a:pt x="4054" y="1273"/>
                  <a:pt x="4045" y="1272"/>
                </a:cubicBezTo>
                <a:cubicBezTo>
                  <a:pt x="4042" y="1272"/>
                  <a:pt x="4040" y="1273"/>
                  <a:pt x="4038" y="1274"/>
                </a:cubicBezTo>
                <a:cubicBezTo>
                  <a:pt x="4035" y="1275"/>
                  <a:pt x="4034" y="1277"/>
                  <a:pt x="4033" y="1278"/>
                </a:cubicBezTo>
                <a:cubicBezTo>
                  <a:pt x="4030" y="1283"/>
                  <a:pt x="4027" y="1290"/>
                  <a:pt x="4027" y="1298"/>
                </a:cubicBezTo>
                <a:cubicBezTo>
                  <a:pt x="4027" y="1301"/>
                  <a:pt x="4027" y="1304"/>
                  <a:pt x="4030" y="1307"/>
                </a:cubicBezTo>
                <a:cubicBezTo>
                  <a:pt x="4032" y="1310"/>
                  <a:pt x="4036" y="1312"/>
                  <a:pt x="4039" y="1311"/>
                </a:cubicBezTo>
                <a:cubicBezTo>
                  <a:pt x="4046" y="1311"/>
                  <a:pt x="4055" y="1313"/>
                  <a:pt x="4062" y="1313"/>
                </a:cubicBezTo>
                <a:cubicBezTo>
                  <a:pt x="4065" y="1313"/>
                  <a:pt x="4067" y="1313"/>
                  <a:pt x="4069" y="1312"/>
                </a:cubicBezTo>
                <a:cubicBezTo>
                  <a:pt x="4071" y="1312"/>
                  <a:pt x="4072" y="1311"/>
                  <a:pt x="4073" y="1310"/>
                </a:cubicBezTo>
                <a:cubicBezTo>
                  <a:pt x="4075" y="1309"/>
                  <a:pt x="4076" y="1307"/>
                  <a:pt x="4076" y="1304"/>
                </a:cubicBezTo>
                <a:cubicBezTo>
                  <a:pt x="4076" y="1302"/>
                  <a:pt x="4075" y="1301"/>
                  <a:pt x="4074" y="1299"/>
                </a:cubicBezTo>
                <a:cubicBezTo>
                  <a:pt x="4073" y="1297"/>
                  <a:pt x="4070" y="1293"/>
                  <a:pt x="4067" y="1289"/>
                </a:cubicBezTo>
                <a:cubicBezTo>
                  <a:pt x="4070" y="1291"/>
                  <a:pt x="4074" y="1292"/>
                  <a:pt x="4078" y="1292"/>
                </a:cubicBezTo>
                <a:cubicBezTo>
                  <a:pt x="4079" y="1292"/>
                  <a:pt x="4079" y="1292"/>
                  <a:pt x="4080" y="1292"/>
                </a:cubicBezTo>
                <a:cubicBezTo>
                  <a:pt x="4092" y="1292"/>
                  <a:pt x="4099" y="1283"/>
                  <a:pt x="4099" y="1274"/>
                </a:cubicBezTo>
                <a:cubicBezTo>
                  <a:pt x="4099" y="1264"/>
                  <a:pt x="4091" y="1252"/>
                  <a:pt x="4079" y="1252"/>
                </a:cubicBezTo>
                <a:close/>
                <a:moveTo>
                  <a:pt x="4392" y="2119"/>
                </a:moveTo>
                <a:cubicBezTo>
                  <a:pt x="4385" y="2120"/>
                  <a:pt x="4381" y="2124"/>
                  <a:pt x="4375" y="2127"/>
                </a:cubicBezTo>
                <a:cubicBezTo>
                  <a:pt x="4372" y="2129"/>
                  <a:pt x="4369" y="2131"/>
                  <a:pt x="4367" y="2132"/>
                </a:cubicBezTo>
                <a:cubicBezTo>
                  <a:pt x="4366" y="2133"/>
                  <a:pt x="4365" y="2133"/>
                  <a:pt x="4365" y="2133"/>
                </a:cubicBezTo>
                <a:cubicBezTo>
                  <a:pt x="4365" y="2133"/>
                  <a:pt x="4364" y="2133"/>
                  <a:pt x="4364" y="2133"/>
                </a:cubicBezTo>
                <a:cubicBezTo>
                  <a:pt x="4359" y="2132"/>
                  <a:pt x="4348" y="2127"/>
                  <a:pt x="4348" y="2127"/>
                </a:cubicBezTo>
                <a:cubicBezTo>
                  <a:pt x="4345" y="2126"/>
                  <a:pt x="4343" y="2127"/>
                  <a:pt x="4341" y="2129"/>
                </a:cubicBezTo>
                <a:cubicBezTo>
                  <a:pt x="4338" y="2132"/>
                  <a:pt x="4336" y="2136"/>
                  <a:pt x="4336" y="2140"/>
                </a:cubicBezTo>
                <a:cubicBezTo>
                  <a:pt x="4336" y="2148"/>
                  <a:pt x="4342" y="2151"/>
                  <a:pt x="4344" y="2154"/>
                </a:cubicBezTo>
                <a:cubicBezTo>
                  <a:pt x="4348" y="2157"/>
                  <a:pt x="4349" y="2158"/>
                  <a:pt x="4349" y="2160"/>
                </a:cubicBezTo>
                <a:cubicBezTo>
                  <a:pt x="4349" y="2161"/>
                  <a:pt x="4349" y="2161"/>
                  <a:pt x="4349" y="2162"/>
                </a:cubicBezTo>
                <a:cubicBezTo>
                  <a:pt x="4348" y="2163"/>
                  <a:pt x="4348" y="2165"/>
                  <a:pt x="4348" y="2166"/>
                </a:cubicBezTo>
                <a:cubicBezTo>
                  <a:pt x="4348" y="2170"/>
                  <a:pt x="4350" y="2175"/>
                  <a:pt x="4354" y="2177"/>
                </a:cubicBezTo>
                <a:cubicBezTo>
                  <a:pt x="4357" y="2179"/>
                  <a:pt x="4360" y="2179"/>
                  <a:pt x="4363" y="2179"/>
                </a:cubicBezTo>
                <a:cubicBezTo>
                  <a:pt x="4370" y="2179"/>
                  <a:pt x="4376" y="2177"/>
                  <a:pt x="4380" y="2175"/>
                </a:cubicBezTo>
                <a:cubicBezTo>
                  <a:pt x="4384" y="2173"/>
                  <a:pt x="4385" y="2171"/>
                  <a:pt x="4388" y="2167"/>
                </a:cubicBezTo>
                <a:cubicBezTo>
                  <a:pt x="4394" y="2157"/>
                  <a:pt x="4401" y="2140"/>
                  <a:pt x="4401" y="2129"/>
                </a:cubicBezTo>
                <a:cubicBezTo>
                  <a:pt x="4401" y="2128"/>
                  <a:pt x="4401" y="2127"/>
                  <a:pt x="4401" y="2125"/>
                </a:cubicBezTo>
                <a:cubicBezTo>
                  <a:pt x="4400" y="2122"/>
                  <a:pt x="4395" y="2119"/>
                  <a:pt x="4392" y="2119"/>
                </a:cubicBezTo>
                <a:close/>
                <a:moveTo>
                  <a:pt x="4086" y="1305"/>
                </a:moveTo>
                <a:cubicBezTo>
                  <a:pt x="4085" y="1304"/>
                  <a:pt x="4083" y="1303"/>
                  <a:pt x="4081" y="1304"/>
                </a:cubicBezTo>
                <a:cubicBezTo>
                  <a:pt x="4079" y="1304"/>
                  <a:pt x="4078" y="1305"/>
                  <a:pt x="4077" y="1306"/>
                </a:cubicBezTo>
                <a:cubicBezTo>
                  <a:pt x="4072" y="1313"/>
                  <a:pt x="4069" y="1318"/>
                  <a:pt x="4067" y="1320"/>
                </a:cubicBezTo>
                <a:cubicBezTo>
                  <a:pt x="4066" y="1321"/>
                  <a:pt x="4066" y="1322"/>
                  <a:pt x="4065" y="1322"/>
                </a:cubicBezTo>
                <a:cubicBezTo>
                  <a:pt x="4064" y="1321"/>
                  <a:pt x="4062" y="1320"/>
                  <a:pt x="4058" y="1318"/>
                </a:cubicBezTo>
                <a:cubicBezTo>
                  <a:pt x="4056" y="1317"/>
                  <a:pt x="4053" y="1316"/>
                  <a:pt x="4051" y="1316"/>
                </a:cubicBezTo>
                <a:cubicBezTo>
                  <a:pt x="4043" y="1316"/>
                  <a:pt x="4037" y="1320"/>
                  <a:pt x="4032" y="1324"/>
                </a:cubicBezTo>
                <a:cubicBezTo>
                  <a:pt x="4027" y="1329"/>
                  <a:pt x="4023" y="1334"/>
                  <a:pt x="4022" y="1341"/>
                </a:cubicBezTo>
                <a:cubicBezTo>
                  <a:pt x="4022" y="1342"/>
                  <a:pt x="4023" y="1344"/>
                  <a:pt x="4024" y="1346"/>
                </a:cubicBezTo>
                <a:cubicBezTo>
                  <a:pt x="4026" y="1350"/>
                  <a:pt x="4031" y="1351"/>
                  <a:pt x="4034" y="1352"/>
                </a:cubicBezTo>
                <a:cubicBezTo>
                  <a:pt x="4040" y="1352"/>
                  <a:pt x="4045" y="1352"/>
                  <a:pt x="4050" y="1353"/>
                </a:cubicBezTo>
                <a:cubicBezTo>
                  <a:pt x="4055" y="1353"/>
                  <a:pt x="4057" y="1355"/>
                  <a:pt x="4058" y="1356"/>
                </a:cubicBezTo>
                <a:cubicBezTo>
                  <a:pt x="4060" y="1361"/>
                  <a:pt x="4061" y="1364"/>
                  <a:pt x="4063" y="1367"/>
                </a:cubicBezTo>
                <a:cubicBezTo>
                  <a:pt x="4065" y="1370"/>
                  <a:pt x="4069" y="1372"/>
                  <a:pt x="4073" y="1372"/>
                </a:cubicBezTo>
                <a:cubicBezTo>
                  <a:pt x="4073" y="1372"/>
                  <a:pt x="4073" y="1372"/>
                  <a:pt x="4074" y="1372"/>
                </a:cubicBezTo>
                <a:cubicBezTo>
                  <a:pt x="4076" y="1372"/>
                  <a:pt x="4079" y="1371"/>
                  <a:pt x="4082" y="1371"/>
                </a:cubicBezTo>
                <a:cubicBezTo>
                  <a:pt x="4090" y="1369"/>
                  <a:pt x="4095" y="1363"/>
                  <a:pt x="4100" y="1357"/>
                </a:cubicBezTo>
                <a:cubicBezTo>
                  <a:pt x="4104" y="1351"/>
                  <a:pt x="4107" y="1344"/>
                  <a:pt x="4107" y="1337"/>
                </a:cubicBezTo>
                <a:cubicBezTo>
                  <a:pt x="4107" y="1335"/>
                  <a:pt x="4107" y="1333"/>
                  <a:pt x="4106" y="1331"/>
                </a:cubicBezTo>
                <a:cubicBezTo>
                  <a:pt x="4101" y="1319"/>
                  <a:pt x="4086" y="1306"/>
                  <a:pt x="4086" y="1305"/>
                </a:cubicBezTo>
                <a:close/>
                <a:moveTo>
                  <a:pt x="4425" y="1824"/>
                </a:moveTo>
                <a:cubicBezTo>
                  <a:pt x="4417" y="1815"/>
                  <a:pt x="4412" y="1805"/>
                  <a:pt x="4412" y="1803"/>
                </a:cubicBezTo>
                <a:cubicBezTo>
                  <a:pt x="4412" y="1803"/>
                  <a:pt x="4412" y="1803"/>
                  <a:pt x="4412" y="1803"/>
                </a:cubicBezTo>
                <a:cubicBezTo>
                  <a:pt x="4412" y="1802"/>
                  <a:pt x="4412" y="1802"/>
                  <a:pt x="4412" y="1802"/>
                </a:cubicBezTo>
                <a:cubicBezTo>
                  <a:pt x="4412" y="1802"/>
                  <a:pt x="4412" y="1801"/>
                  <a:pt x="4412" y="1801"/>
                </a:cubicBezTo>
                <a:cubicBezTo>
                  <a:pt x="4413" y="1796"/>
                  <a:pt x="4410" y="1792"/>
                  <a:pt x="4407" y="1789"/>
                </a:cubicBezTo>
                <a:cubicBezTo>
                  <a:pt x="4398" y="1782"/>
                  <a:pt x="4386" y="1781"/>
                  <a:pt x="4381" y="1775"/>
                </a:cubicBezTo>
                <a:cubicBezTo>
                  <a:pt x="4377" y="1772"/>
                  <a:pt x="4374" y="1764"/>
                  <a:pt x="4372" y="1753"/>
                </a:cubicBezTo>
                <a:cubicBezTo>
                  <a:pt x="4370" y="1743"/>
                  <a:pt x="4368" y="1732"/>
                  <a:pt x="4365" y="1722"/>
                </a:cubicBezTo>
                <a:cubicBezTo>
                  <a:pt x="4359" y="1704"/>
                  <a:pt x="4346" y="1693"/>
                  <a:pt x="4335" y="1678"/>
                </a:cubicBezTo>
                <a:cubicBezTo>
                  <a:pt x="4331" y="1672"/>
                  <a:pt x="4326" y="1661"/>
                  <a:pt x="4323" y="1651"/>
                </a:cubicBezTo>
                <a:cubicBezTo>
                  <a:pt x="4322" y="1646"/>
                  <a:pt x="4320" y="1642"/>
                  <a:pt x="4319" y="1638"/>
                </a:cubicBezTo>
                <a:cubicBezTo>
                  <a:pt x="4318" y="1636"/>
                  <a:pt x="4318" y="1635"/>
                  <a:pt x="4317" y="1633"/>
                </a:cubicBezTo>
                <a:cubicBezTo>
                  <a:pt x="4316" y="1633"/>
                  <a:pt x="4316" y="1631"/>
                  <a:pt x="4315" y="1630"/>
                </a:cubicBezTo>
                <a:cubicBezTo>
                  <a:pt x="4320" y="1627"/>
                  <a:pt x="4324" y="1621"/>
                  <a:pt x="4327" y="1615"/>
                </a:cubicBezTo>
                <a:cubicBezTo>
                  <a:pt x="4331" y="1607"/>
                  <a:pt x="4335" y="1599"/>
                  <a:pt x="4336" y="1597"/>
                </a:cubicBezTo>
                <a:cubicBezTo>
                  <a:pt x="4337" y="1596"/>
                  <a:pt x="4344" y="1593"/>
                  <a:pt x="4350" y="1593"/>
                </a:cubicBezTo>
                <a:cubicBezTo>
                  <a:pt x="4352" y="1593"/>
                  <a:pt x="4354" y="1594"/>
                  <a:pt x="4355" y="1594"/>
                </a:cubicBezTo>
                <a:cubicBezTo>
                  <a:pt x="4356" y="1595"/>
                  <a:pt x="4356" y="1595"/>
                  <a:pt x="4357" y="1596"/>
                </a:cubicBezTo>
                <a:cubicBezTo>
                  <a:pt x="4359" y="1610"/>
                  <a:pt x="4367" y="1624"/>
                  <a:pt x="4383" y="1633"/>
                </a:cubicBezTo>
                <a:cubicBezTo>
                  <a:pt x="4393" y="1639"/>
                  <a:pt x="4404" y="1646"/>
                  <a:pt x="4413" y="1646"/>
                </a:cubicBezTo>
                <a:cubicBezTo>
                  <a:pt x="4416" y="1647"/>
                  <a:pt x="4422" y="1644"/>
                  <a:pt x="4423" y="1639"/>
                </a:cubicBezTo>
                <a:cubicBezTo>
                  <a:pt x="4423" y="1638"/>
                  <a:pt x="4423" y="1637"/>
                  <a:pt x="4423" y="1636"/>
                </a:cubicBezTo>
                <a:cubicBezTo>
                  <a:pt x="4423" y="1630"/>
                  <a:pt x="4421" y="1622"/>
                  <a:pt x="4418" y="1614"/>
                </a:cubicBezTo>
                <a:cubicBezTo>
                  <a:pt x="4414" y="1606"/>
                  <a:pt x="4411" y="1599"/>
                  <a:pt x="4403" y="1595"/>
                </a:cubicBezTo>
                <a:cubicBezTo>
                  <a:pt x="4401" y="1594"/>
                  <a:pt x="4394" y="1588"/>
                  <a:pt x="4390" y="1580"/>
                </a:cubicBezTo>
                <a:cubicBezTo>
                  <a:pt x="4385" y="1574"/>
                  <a:pt x="4381" y="1565"/>
                  <a:pt x="4381" y="1563"/>
                </a:cubicBezTo>
                <a:cubicBezTo>
                  <a:pt x="4381" y="1555"/>
                  <a:pt x="4375" y="1550"/>
                  <a:pt x="4371" y="1547"/>
                </a:cubicBezTo>
                <a:cubicBezTo>
                  <a:pt x="4366" y="1544"/>
                  <a:pt x="4361" y="1542"/>
                  <a:pt x="4359" y="1540"/>
                </a:cubicBezTo>
                <a:cubicBezTo>
                  <a:pt x="4354" y="1536"/>
                  <a:pt x="4347" y="1513"/>
                  <a:pt x="4326" y="1508"/>
                </a:cubicBezTo>
                <a:cubicBezTo>
                  <a:pt x="4310" y="1504"/>
                  <a:pt x="4307" y="1498"/>
                  <a:pt x="4288" y="1486"/>
                </a:cubicBezTo>
                <a:cubicBezTo>
                  <a:pt x="4275" y="1479"/>
                  <a:pt x="4258" y="1477"/>
                  <a:pt x="4243" y="1477"/>
                </a:cubicBezTo>
                <a:cubicBezTo>
                  <a:pt x="4237" y="1477"/>
                  <a:pt x="4232" y="1477"/>
                  <a:pt x="4228" y="1478"/>
                </a:cubicBezTo>
                <a:cubicBezTo>
                  <a:pt x="4226" y="1478"/>
                  <a:pt x="4224" y="1479"/>
                  <a:pt x="4222" y="1480"/>
                </a:cubicBezTo>
                <a:cubicBezTo>
                  <a:pt x="4222" y="1480"/>
                  <a:pt x="4221" y="1481"/>
                  <a:pt x="4221" y="1481"/>
                </a:cubicBezTo>
                <a:cubicBezTo>
                  <a:pt x="4219" y="1479"/>
                  <a:pt x="4216" y="1478"/>
                  <a:pt x="4212" y="1476"/>
                </a:cubicBezTo>
                <a:cubicBezTo>
                  <a:pt x="4204" y="1473"/>
                  <a:pt x="4197" y="1473"/>
                  <a:pt x="4193" y="1473"/>
                </a:cubicBezTo>
                <a:cubicBezTo>
                  <a:pt x="4191" y="1472"/>
                  <a:pt x="4189" y="1472"/>
                  <a:pt x="4189" y="1472"/>
                </a:cubicBezTo>
                <a:cubicBezTo>
                  <a:pt x="4188" y="1471"/>
                  <a:pt x="4188" y="1472"/>
                  <a:pt x="4188" y="1470"/>
                </a:cubicBezTo>
                <a:cubicBezTo>
                  <a:pt x="4186" y="1464"/>
                  <a:pt x="4181" y="1458"/>
                  <a:pt x="4173" y="1458"/>
                </a:cubicBezTo>
                <a:cubicBezTo>
                  <a:pt x="4166" y="1458"/>
                  <a:pt x="4161" y="1462"/>
                  <a:pt x="4156" y="1468"/>
                </a:cubicBezTo>
                <a:cubicBezTo>
                  <a:pt x="4154" y="1471"/>
                  <a:pt x="4152" y="1473"/>
                  <a:pt x="4150" y="1474"/>
                </a:cubicBezTo>
                <a:cubicBezTo>
                  <a:pt x="4149" y="1476"/>
                  <a:pt x="4147" y="1478"/>
                  <a:pt x="4147" y="1482"/>
                </a:cubicBezTo>
                <a:cubicBezTo>
                  <a:pt x="4147" y="1484"/>
                  <a:pt x="4148" y="1487"/>
                  <a:pt x="4150" y="1488"/>
                </a:cubicBezTo>
                <a:cubicBezTo>
                  <a:pt x="4154" y="1491"/>
                  <a:pt x="4158" y="1491"/>
                  <a:pt x="4166" y="1493"/>
                </a:cubicBezTo>
                <a:cubicBezTo>
                  <a:pt x="4173" y="1495"/>
                  <a:pt x="4178" y="1496"/>
                  <a:pt x="4181" y="1497"/>
                </a:cubicBezTo>
                <a:cubicBezTo>
                  <a:pt x="4181" y="1497"/>
                  <a:pt x="4181" y="1497"/>
                  <a:pt x="4181" y="1497"/>
                </a:cubicBezTo>
                <a:cubicBezTo>
                  <a:pt x="4181" y="1497"/>
                  <a:pt x="4180" y="1498"/>
                  <a:pt x="4179" y="1499"/>
                </a:cubicBezTo>
                <a:cubicBezTo>
                  <a:pt x="4174" y="1507"/>
                  <a:pt x="4169" y="1516"/>
                  <a:pt x="4168" y="1524"/>
                </a:cubicBezTo>
                <a:cubicBezTo>
                  <a:pt x="4168" y="1528"/>
                  <a:pt x="4171" y="1534"/>
                  <a:pt x="4176" y="1535"/>
                </a:cubicBezTo>
                <a:cubicBezTo>
                  <a:pt x="4177" y="1535"/>
                  <a:pt x="4179" y="1535"/>
                  <a:pt x="4180" y="1535"/>
                </a:cubicBezTo>
                <a:cubicBezTo>
                  <a:pt x="4187" y="1535"/>
                  <a:pt x="4196" y="1533"/>
                  <a:pt x="4201" y="1533"/>
                </a:cubicBezTo>
                <a:cubicBezTo>
                  <a:pt x="4202" y="1533"/>
                  <a:pt x="4202" y="1533"/>
                  <a:pt x="4202" y="1533"/>
                </a:cubicBezTo>
                <a:cubicBezTo>
                  <a:pt x="4202" y="1533"/>
                  <a:pt x="4202" y="1535"/>
                  <a:pt x="4203" y="1537"/>
                </a:cubicBezTo>
                <a:cubicBezTo>
                  <a:pt x="4205" y="1540"/>
                  <a:pt x="4208" y="1541"/>
                  <a:pt x="4211" y="1543"/>
                </a:cubicBezTo>
                <a:cubicBezTo>
                  <a:pt x="4214" y="1544"/>
                  <a:pt x="4218" y="1545"/>
                  <a:pt x="4225" y="1546"/>
                </a:cubicBezTo>
                <a:cubicBezTo>
                  <a:pt x="4246" y="1550"/>
                  <a:pt x="4248" y="1557"/>
                  <a:pt x="4253" y="1563"/>
                </a:cubicBezTo>
                <a:cubicBezTo>
                  <a:pt x="4255" y="1565"/>
                  <a:pt x="4258" y="1569"/>
                  <a:pt x="4260" y="1572"/>
                </a:cubicBezTo>
                <a:cubicBezTo>
                  <a:pt x="4261" y="1574"/>
                  <a:pt x="4262" y="1576"/>
                  <a:pt x="4263" y="1577"/>
                </a:cubicBezTo>
                <a:cubicBezTo>
                  <a:pt x="4259" y="1578"/>
                  <a:pt x="4256" y="1580"/>
                  <a:pt x="4253" y="1583"/>
                </a:cubicBezTo>
                <a:cubicBezTo>
                  <a:pt x="4250" y="1586"/>
                  <a:pt x="4247" y="1590"/>
                  <a:pt x="4246" y="1595"/>
                </a:cubicBezTo>
                <a:cubicBezTo>
                  <a:pt x="4246" y="1599"/>
                  <a:pt x="4250" y="1603"/>
                  <a:pt x="4253" y="1604"/>
                </a:cubicBezTo>
                <a:cubicBezTo>
                  <a:pt x="4255" y="1604"/>
                  <a:pt x="4256" y="1605"/>
                  <a:pt x="4257" y="1605"/>
                </a:cubicBezTo>
                <a:cubicBezTo>
                  <a:pt x="4264" y="1605"/>
                  <a:pt x="4274" y="1604"/>
                  <a:pt x="4278" y="1604"/>
                </a:cubicBezTo>
                <a:cubicBezTo>
                  <a:pt x="4278" y="1604"/>
                  <a:pt x="4278" y="1604"/>
                  <a:pt x="4278" y="1604"/>
                </a:cubicBezTo>
                <a:cubicBezTo>
                  <a:pt x="4280" y="1604"/>
                  <a:pt x="4282" y="1612"/>
                  <a:pt x="4286" y="1618"/>
                </a:cubicBezTo>
                <a:cubicBezTo>
                  <a:pt x="4290" y="1624"/>
                  <a:pt x="4295" y="1631"/>
                  <a:pt x="4304" y="1633"/>
                </a:cubicBezTo>
                <a:cubicBezTo>
                  <a:pt x="4303" y="1635"/>
                  <a:pt x="4303" y="1636"/>
                  <a:pt x="4302" y="1638"/>
                </a:cubicBezTo>
                <a:cubicBezTo>
                  <a:pt x="4299" y="1647"/>
                  <a:pt x="4295" y="1662"/>
                  <a:pt x="4295" y="1675"/>
                </a:cubicBezTo>
                <a:cubicBezTo>
                  <a:pt x="4295" y="1682"/>
                  <a:pt x="4296" y="1688"/>
                  <a:pt x="4299" y="1693"/>
                </a:cubicBezTo>
                <a:cubicBezTo>
                  <a:pt x="4300" y="1695"/>
                  <a:pt x="4301" y="1698"/>
                  <a:pt x="4301" y="1701"/>
                </a:cubicBezTo>
                <a:cubicBezTo>
                  <a:pt x="4301" y="1712"/>
                  <a:pt x="4294" y="1729"/>
                  <a:pt x="4289" y="1742"/>
                </a:cubicBezTo>
                <a:cubicBezTo>
                  <a:pt x="4289" y="1743"/>
                  <a:pt x="4288" y="1744"/>
                  <a:pt x="4288" y="1744"/>
                </a:cubicBezTo>
                <a:cubicBezTo>
                  <a:pt x="4288" y="1744"/>
                  <a:pt x="4287" y="1744"/>
                  <a:pt x="4286" y="1743"/>
                </a:cubicBezTo>
                <a:cubicBezTo>
                  <a:pt x="4281" y="1740"/>
                  <a:pt x="4274" y="1733"/>
                  <a:pt x="4267" y="1728"/>
                </a:cubicBezTo>
                <a:cubicBezTo>
                  <a:pt x="4255" y="1719"/>
                  <a:pt x="4239" y="1713"/>
                  <a:pt x="4233" y="1705"/>
                </a:cubicBezTo>
                <a:cubicBezTo>
                  <a:pt x="4233" y="1705"/>
                  <a:pt x="4232" y="1705"/>
                  <a:pt x="4232" y="1704"/>
                </a:cubicBezTo>
                <a:cubicBezTo>
                  <a:pt x="4232" y="1701"/>
                  <a:pt x="4234" y="1694"/>
                  <a:pt x="4237" y="1688"/>
                </a:cubicBezTo>
                <a:cubicBezTo>
                  <a:pt x="4240" y="1681"/>
                  <a:pt x="4243" y="1675"/>
                  <a:pt x="4243" y="1668"/>
                </a:cubicBezTo>
                <a:cubicBezTo>
                  <a:pt x="4243" y="1666"/>
                  <a:pt x="4243" y="1663"/>
                  <a:pt x="4241" y="1661"/>
                </a:cubicBezTo>
                <a:cubicBezTo>
                  <a:pt x="4236" y="1654"/>
                  <a:pt x="4229" y="1653"/>
                  <a:pt x="4222" y="1653"/>
                </a:cubicBezTo>
                <a:cubicBezTo>
                  <a:pt x="4216" y="1653"/>
                  <a:pt x="4210" y="1654"/>
                  <a:pt x="4205" y="1655"/>
                </a:cubicBezTo>
                <a:cubicBezTo>
                  <a:pt x="4202" y="1655"/>
                  <a:pt x="4200" y="1656"/>
                  <a:pt x="4198" y="1656"/>
                </a:cubicBezTo>
                <a:cubicBezTo>
                  <a:pt x="4198" y="1656"/>
                  <a:pt x="4197" y="1656"/>
                  <a:pt x="4197" y="1656"/>
                </a:cubicBezTo>
                <a:cubicBezTo>
                  <a:pt x="4196" y="1655"/>
                  <a:pt x="4194" y="1653"/>
                  <a:pt x="4192" y="1650"/>
                </a:cubicBezTo>
                <a:cubicBezTo>
                  <a:pt x="4189" y="1647"/>
                  <a:pt x="4185" y="1643"/>
                  <a:pt x="4179" y="1643"/>
                </a:cubicBezTo>
                <a:cubicBezTo>
                  <a:pt x="4174" y="1643"/>
                  <a:pt x="4171" y="1646"/>
                  <a:pt x="4170" y="1649"/>
                </a:cubicBezTo>
                <a:cubicBezTo>
                  <a:pt x="4169" y="1652"/>
                  <a:pt x="4168" y="1655"/>
                  <a:pt x="4167" y="1659"/>
                </a:cubicBezTo>
                <a:cubicBezTo>
                  <a:pt x="4165" y="1656"/>
                  <a:pt x="4163" y="1653"/>
                  <a:pt x="4160" y="1650"/>
                </a:cubicBezTo>
                <a:cubicBezTo>
                  <a:pt x="4159" y="1649"/>
                  <a:pt x="4158" y="1648"/>
                  <a:pt x="4157" y="1647"/>
                </a:cubicBezTo>
                <a:cubicBezTo>
                  <a:pt x="4156" y="1646"/>
                  <a:pt x="4155" y="1645"/>
                  <a:pt x="4151" y="1644"/>
                </a:cubicBezTo>
                <a:cubicBezTo>
                  <a:pt x="4148" y="1644"/>
                  <a:pt x="4145" y="1648"/>
                  <a:pt x="4145" y="1649"/>
                </a:cubicBezTo>
                <a:cubicBezTo>
                  <a:pt x="4145" y="1650"/>
                  <a:pt x="4145" y="1651"/>
                  <a:pt x="4145" y="1652"/>
                </a:cubicBezTo>
                <a:cubicBezTo>
                  <a:pt x="4145" y="1654"/>
                  <a:pt x="4145" y="1657"/>
                  <a:pt x="4145" y="1659"/>
                </a:cubicBezTo>
                <a:cubicBezTo>
                  <a:pt x="4145" y="1663"/>
                  <a:pt x="4144" y="1668"/>
                  <a:pt x="4142" y="1671"/>
                </a:cubicBezTo>
                <a:cubicBezTo>
                  <a:pt x="4137" y="1677"/>
                  <a:pt x="4135" y="1679"/>
                  <a:pt x="4133" y="1683"/>
                </a:cubicBezTo>
                <a:cubicBezTo>
                  <a:pt x="4131" y="1686"/>
                  <a:pt x="4131" y="1688"/>
                  <a:pt x="4129" y="1695"/>
                </a:cubicBezTo>
                <a:cubicBezTo>
                  <a:pt x="4128" y="1697"/>
                  <a:pt x="4128" y="1699"/>
                  <a:pt x="4127" y="1699"/>
                </a:cubicBezTo>
                <a:cubicBezTo>
                  <a:pt x="4127" y="1699"/>
                  <a:pt x="4127" y="1700"/>
                  <a:pt x="4127" y="1700"/>
                </a:cubicBezTo>
                <a:cubicBezTo>
                  <a:pt x="4127" y="1700"/>
                  <a:pt x="4127" y="1700"/>
                  <a:pt x="4127" y="1700"/>
                </a:cubicBezTo>
                <a:cubicBezTo>
                  <a:pt x="4126" y="1700"/>
                  <a:pt x="4120" y="1696"/>
                  <a:pt x="4114" y="1688"/>
                </a:cubicBezTo>
                <a:cubicBezTo>
                  <a:pt x="4110" y="1682"/>
                  <a:pt x="4105" y="1679"/>
                  <a:pt x="4099" y="1678"/>
                </a:cubicBezTo>
                <a:cubicBezTo>
                  <a:pt x="4090" y="1679"/>
                  <a:pt x="4087" y="1685"/>
                  <a:pt x="4083" y="1686"/>
                </a:cubicBezTo>
                <a:cubicBezTo>
                  <a:pt x="4077" y="1691"/>
                  <a:pt x="4074" y="1698"/>
                  <a:pt x="4071" y="1705"/>
                </a:cubicBezTo>
                <a:cubicBezTo>
                  <a:pt x="4068" y="1712"/>
                  <a:pt x="4068" y="1720"/>
                  <a:pt x="4064" y="1721"/>
                </a:cubicBezTo>
                <a:cubicBezTo>
                  <a:pt x="4064" y="1721"/>
                  <a:pt x="4064" y="1721"/>
                  <a:pt x="4064" y="1721"/>
                </a:cubicBezTo>
                <a:cubicBezTo>
                  <a:pt x="4064" y="1722"/>
                  <a:pt x="4057" y="1726"/>
                  <a:pt x="4050" y="1729"/>
                </a:cubicBezTo>
                <a:cubicBezTo>
                  <a:pt x="4043" y="1732"/>
                  <a:pt x="4037" y="1735"/>
                  <a:pt x="4032" y="1740"/>
                </a:cubicBezTo>
                <a:cubicBezTo>
                  <a:pt x="4028" y="1745"/>
                  <a:pt x="4026" y="1753"/>
                  <a:pt x="4025" y="1760"/>
                </a:cubicBezTo>
                <a:cubicBezTo>
                  <a:pt x="4024" y="1766"/>
                  <a:pt x="4023" y="1772"/>
                  <a:pt x="4023" y="1775"/>
                </a:cubicBezTo>
                <a:cubicBezTo>
                  <a:pt x="4021" y="1776"/>
                  <a:pt x="4016" y="1777"/>
                  <a:pt x="4011" y="1777"/>
                </a:cubicBezTo>
                <a:cubicBezTo>
                  <a:pt x="4005" y="1778"/>
                  <a:pt x="3998" y="1779"/>
                  <a:pt x="3993" y="1783"/>
                </a:cubicBezTo>
                <a:cubicBezTo>
                  <a:pt x="3991" y="1785"/>
                  <a:pt x="3988" y="1786"/>
                  <a:pt x="3984" y="1786"/>
                </a:cubicBezTo>
                <a:cubicBezTo>
                  <a:pt x="3979" y="1786"/>
                  <a:pt x="3973" y="1785"/>
                  <a:pt x="3968" y="1785"/>
                </a:cubicBezTo>
                <a:cubicBezTo>
                  <a:pt x="3963" y="1785"/>
                  <a:pt x="3960" y="1787"/>
                  <a:pt x="3956" y="1790"/>
                </a:cubicBezTo>
                <a:cubicBezTo>
                  <a:pt x="3943" y="1798"/>
                  <a:pt x="3926" y="1814"/>
                  <a:pt x="3920" y="1819"/>
                </a:cubicBezTo>
                <a:cubicBezTo>
                  <a:pt x="3911" y="1826"/>
                  <a:pt x="3910" y="1837"/>
                  <a:pt x="3909" y="1847"/>
                </a:cubicBezTo>
                <a:cubicBezTo>
                  <a:pt x="3910" y="1854"/>
                  <a:pt x="3910" y="1861"/>
                  <a:pt x="3914" y="1866"/>
                </a:cubicBezTo>
                <a:cubicBezTo>
                  <a:pt x="3917" y="1870"/>
                  <a:pt x="3922" y="1881"/>
                  <a:pt x="3922" y="1884"/>
                </a:cubicBezTo>
                <a:cubicBezTo>
                  <a:pt x="3917" y="1888"/>
                  <a:pt x="3916" y="1895"/>
                  <a:pt x="3915" y="1902"/>
                </a:cubicBezTo>
                <a:cubicBezTo>
                  <a:pt x="3915" y="1911"/>
                  <a:pt x="3918" y="1921"/>
                  <a:pt x="3927" y="1931"/>
                </a:cubicBezTo>
                <a:cubicBezTo>
                  <a:pt x="3935" y="1942"/>
                  <a:pt x="3935" y="1945"/>
                  <a:pt x="3935" y="1949"/>
                </a:cubicBezTo>
                <a:cubicBezTo>
                  <a:pt x="3935" y="1950"/>
                  <a:pt x="3935" y="1951"/>
                  <a:pt x="3935" y="1953"/>
                </a:cubicBezTo>
                <a:cubicBezTo>
                  <a:pt x="3935" y="1954"/>
                  <a:pt x="3935" y="1955"/>
                  <a:pt x="3936" y="1957"/>
                </a:cubicBezTo>
                <a:cubicBezTo>
                  <a:pt x="3936" y="1962"/>
                  <a:pt x="3939" y="1967"/>
                  <a:pt x="3942" y="1970"/>
                </a:cubicBezTo>
                <a:cubicBezTo>
                  <a:pt x="3945" y="1974"/>
                  <a:pt x="3948" y="1978"/>
                  <a:pt x="3953" y="1984"/>
                </a:cubicBezTo>
                <a:cubicBezTo>
                  <a:pt x="3953" y="1985"/>
                  <a:pt x="3954" y="1986"/>
                  <a:pt x="3954" y="1987"/>
                </a:cubicBezTo>
                <a:cubicBezTo>
                  <a:pt x="3954" y="1989"/>
                  <a:pt x="3951" y="1993"/>
                  <a:pt x="3946" y="1997"/>
                </a:cubicBezTo>
                <a:cubicBezTo>
                  <a:pt x="3941" y="2002"/>
                  <a:pt x="3936" y="2005"/>
                  <a:pt x="3932" y="2012"/>
                </a:cubicBezTo>
                <a:cubicBezTo>
                  <a:pt x="3932" y="2013"/>
                  <a:pt x="3931" y="2015"/>
                  <a:pt x="3931" y="2017"/>
                </a:cubicBezTo>
                <a:cubicBezTo>
                  <a:pt x="3932" y="2030"/>
                  <a:pt x="3943" y="2039"/>
                  <a:pt x="3949" y="2046"/>
                </a:cubicBezTo>
                <a:cubicBezTo>
                  <a:pt x="3953" y="2050"/>
                  <a:pt x="3959" y="2051"/>
                  <a:pt x="3965" y="2051"/>
                </a:cubicBezTo>
                <a:cubicBezTo>
                  <a:pt x="3974" y="2051"/>
                  <a:pt x="3983" y="2049"/>
                  <a:pt x="3990" y="2046"/>
                </a:cubicBezTo>
                <a:cubicBezTo>
                  <a:pt x="3996" y="2043"/>
                  <a:pt x="4002" y="2039"/>
                  <a:pt x="4007" y="2036"/>
                </a:cubicBezTo>
                <a:cubicBezTo>
                  <a:pt x="4012" y="2032"/>
                  <a:pt x="4016" y="2030"/>
                  <a:pt x="4017" y="2030"/>
                </a:cubicBezTo>
                <a:cubicBezTo>
                  <a:pt x="4020" y="2029"/>
                  <a:pt x="4030" y="2028"/>
                  <a:pt x="4039" y="2028"/>
                </a:cubicBezTo>
                <a:cubicBezTo>
                  <a:pt x="4048" y="2027"/>
                  <a:pt x="4056" y="2027"/>
                  <a:pt x="4056" y="2027"/>
                </a:cubicBezTo>
                <a:cubicBezTo>
                  <a:pt x="4058" y="2027"/>
                  <a:pt x="4060" y="2026"/>
                  <a:pt x="4061" y="2024"/>
                </a:cubicBezTo>
                <a:cubicBezTo>
                  <a:pt x="4061" y="2024"/>
                  <a:pt x="4072" y="2003"/>
                  <a:pt x="4080" y="1993"/>
                </a:cubicBezTo>
                <a:cubicBezTo>
                  <a:pt x="4081" y="1991"/>
                  <a:pt x="4084" y="1990"/>
                  <a:pt x="4089" y="1990"/>
                </a:cubicBezTo>
                <a:cubicBezTo>
                  <a:pt x="4093" y="1990"/>
                  <a:pt x="4097" y="1991"/>
                  <a:pt x="4101" y="1992"/>
                </a:cubicBezTo>
                <a:cubicBezTo>
                  <a:pt x="4104" y="1993"/>
                  <a:pt x="4106" y="1993"/>
                  <a:pt x="4106" y="1993"/>
                </a:cubicBezTo>
                <a:cubicBezTo>
                  <a:pt x="4108" y="1994"/>
                  <a:pt x="4110" y="1994"/>
                  <a:pt x="4112" y="1993"/>
                </a:cubicBezTo>
                <a:cubicBezTo>
                  <a:pt x="4112" y="1993"/>
                  <a:pt x="4113" y="1992"/>
                  <a:pt x="4114" y="1992"/>
                </a:cubicBezTo>
                <a:cubicBezTo>
                  <a:pt x="4117" y="1989"/>
                  <a:pt x="4128" y="1984"/>
                  <a:pt x="4148" y="1978"/>
                </a:cubicBezTo>
                <a:cubicBezTo>
                  <a:pt x="4153" y="1977"/>
                  <a:pt x="4156" y="1977"/>
                  <a:pt x="4158" y="1977"/>
                </a:cubicBezTo>
                <a:cubicBezTo>
                  <a:pt x="4161" y="1977"/>
                  <a:pt x="4161" y="1977"/>
                  <a:pt x="4161" y="1977"/>
                </a:cubicBezTo>
                <a:cubicBezTo>
                  <a:pt x="4161" y="1977"/>
                  <a:pt x="4161" y="1977"/>
                  <a:pt x="4161" y="1977"/>
                </a:cubicBezTo>
                <a:cubicBezTo>
                  <a:pt x="4162" y="1978"/>
                  <a:pt x="4163" y="1986"/>
                  <a:pt x="4171" y="1989"/>
                </a:cubicBezTo>
                <a:cubicBezTo>
                  <a:pt x="4182" y="1994"/>
                  <a:pt x="4195" y="1997"/>
                  <a:pt x="4201" y="2002"/>
                </a:cubicBezTo>
                <a:cubicBezTo>
                  <a:pt x="4202" y="2003"/>
                  <a:pt x="4202" y="2004"/>
                  <a:pt x="4203" y="2007"/>
                </a:cubicBezTo>
                <a:cubicBezTo>
                  <a:pt x="4203" y="2012"/>
                  <a:pt x="4199" y="2021"/>
                  <a:pt x="4198" y="2027"/>
                </a:cubicBezTo>
                <a:cubicBezTo>
                  <a:pt x="4198" y="2027"/>
                  <a:pt x="4198" y="2028"/>
                  <a:pt x="4198" y="2028"/>
                </a:cubicBezTo>
                <a:cubicBezTo>
                  <a:pt x="4198" y="2032"/>
                  <a:pt x="4201" y="2036"/>
                  <a:pt x="4203" y="2036"/>
                </a:cubicBezTo>
                <a:cubicBezTo>
                  <a:pt x="4206" y="2038"/>
                  <a:pt x="4208" y="2038"/>
                  <a:pt x="4210" y="2038"/>
                </a:cubicBezTo>
                <a:cubicBezTo>
                  <a:pt x="4214" y="2038"/>
                  <a:pt x="4218" y="2037"/>
                  <a:pt x="4222" y="2036"/>
                </a:cubicBezTo>
                <a:cubicBezTo>
                  <a:pt x="4225" y="2034"/>
                  <a:pt x="4229" y="2032"/>
                  <a:pt x="4231" y="2026"/>
                </a:cubicBezTo>
                <a:cubicBezTo>
                  <a:pt x="4231" y="2022"/>
                  <a:pt x="4234" y="2017"/>
                  <a:pt x="4243" y="2011"/>
                </a:cubicBezTo>
                <a:cubicBezTo>
                  <a:pt x="4243" y="2013"/>
                  <a:pt x="4242" y="2015"/>
                  <a:pt x="4242" y="2018"/>
                </a:cubicBezTo>
                <a:cubicBezTo>
                  <a:pt x="4242" y="2022"/>
                  <a:pt x="4243" y="2026"/>
                  <a:pt x="4244" y="2030"/>
                </a:cubicBezTo>
                <a:cubicBezTo>
                  <a:pt x="4245" y="2032"/>
                  <a:pt x="4246" y="2033"/>
                  <a:pt x="4247" y="2034"/>
                </a:cubicBezTo>
                <a:cubicBezTo>
                  <a:pt x="4248" y="2036"/>
                  <a:pt x="4250" y="2037"/>
                  <a:pt x="4253" y="2037"/>
                </a:cubicBezTo>
                <a:cubicBezTo>
                  <a:pt x="4255" y="2037"/>
                  <a:pt x="4257" y="2036"/>
                  <a:pt x="4258" y="2035"/>
                </a:cubicBezTo>
                <a:cubicBezTo>
                  <a:pt x="4259" y="2037"/>
                  <a:pt x="4260" y="2038"/>
                  <a:pt x="4260" y="2039"/>
                </a:cubicBezTo>
                <a:cubicBezTo>
                  <a:pt x="4262" y="2043"/>
                  <a:pt x="4264" y="2044"/>
                  <a:pt x="4266" y="2045"/>
                </a:cubicBezTo>
                <a:cubicBezTo>
                  <a:pt x="4269" y="2047"/>
                  <a:pt x="4271" y="2048"/>
                  <a:pt x="4273" y="2050"/>
                </a:cubicBezTo>
                <a:cubicBezTo>
                  <a:pt x="4275" y="2052"/>
                  <a:pt x="4276" y="2053"/>
                  <a:pt x="4276" y="2057"/>
                </a:cubicBezTo>
                <a:cubicBezTo>
                  <a:pt x="4276" y="2064"/>
                  <a:pt x="4276" y="2069"/>
                  <a:pt x="4277" y="2074"/>
                </a:cubicBezTo>
                <a:cubicBezTo>
                  <a:pt x="4277" y="2078"/>
                  <a:pt x="4278" y="2083"/>
                  <a:pt x="4282" y="2086"/>
                </a:cubicBezTo>
                <a:cubicBezTo>
                  <a:pt x="4285" y="2089"/>
                  <a:pt x="4287" y="2088"/>
                  <a:pt x="4290" y="2089"/>
                </a:cubicBezTo>
                <a:cubicBezTo>
                  <a:pt x="4297" y="2090"/>
                  <a:pt x="4305" y="2091"/>
                  <a:pt x="4310" y="2101"/>
                </a:cubicBezTo>
                <a:cubicBezTo>
                  <a:pt x="4313" y="2107"/>
                  <a:pt x="4316" y="2111"/>
                  <a:pt x="4323" y="2112"/>
                </a:cubicBezTo>
                <a:cubicBezTo>
                  <a:pt x="4329" y="2111"/>
                  <a:pt x="4332" y="2107"/>
                  <a:pt x="4334" y="2104"/>
                </a:cubicBezTo>
                <a:cubicBezTo>
                  <a:pt x="4336" y="2101"/>
                  <a:pt x="4338" y="2100"/>
                  <a:pt x="4339" y="2096"/>
                </a:cubicBezTo>
                <a:cubicBezTo>
                  <a:pt x="4339" y="2096"/>
                  <a:pt x="4339" y="2096"/>
                  <a:pt x="4339" y="2096"/>
                </a:cubicBezTo>
                <a:cubicBezTo>
                  <a:pt x="4342" y="2096"/>
                  <a:pt x="4353" y="2102"/>
                  <a:pt x="4355" y="2105"/>
                </a:cubicBezTo>
                <a:cubicBezTo>
                  <a:pt x="4356" y="2107"/>
                  <a:pt x="4359" y="2108"/>
                  <a:pt x="4362" y="2108"/>
                </a:cubicBezTo>
                <a:cubicBezTo>
                  <a:pt x="4369" y="2107"/>
                  <a:pt x="4372" y="2103"/>
                  <a:pt x="4378" y="2100"/>
                </a:cubicBezTo>
                <a:cubicBezTo>
                  <a:pt x="4383" y="2096"/>
                  <a:pt x="4389" y="2092"/>
                  <a:pt x="4396" y="2090"/>
                </a:cubicBezTo>
                <a:cubicBezTo>
                  <a:pt x="4404" y="2087"/>
                  <a:pt x="4408" y="2086"/>
                  <a:pt x="4412" y="2084"/>
                </a:cubicBezTo>
                <a:cubicBezTo>
                  <a:pt x="4416" y="2082"/>
                  <a:pt x="4417" y="2078"/>
                  <a:pt x="4419" y="2075"/>
                </a:cubicBezTo>
                <a:cubicBezTo>
                  <a:pt x="4424" y="2064"/>
                  <a:pt x="4427" y="2043"/>
                  <a:pt x="4437" y="2028"/>
                </a:cubicBezTo>
                <a:cubicBezTo>
                  <a:pt x="4447" y="2011"/>
                  <a:pt x="4462" y="1982"/>
                  <a:pt x="4462" y="1957"/>
                </a:cubicBezTo>
                <a:cubicBezTo>
                  <a:pt x="4462" y="1935"/>
                  <a:pt x="4461" y="1884"/>
                  <a:pt x="4447" y="1858"/>
                </a:cubicBezTo>
                <a:cubicBezTo>
                  <a:pt x="4441" y="1846"/>
                  <a:pt x="4432" y="1834"/>
                  <a:pt x="4425" y="1824"/>
                </a:cubicBezTo>
                <a:close/>
                <a:moveTo>
                  <a:pt x="4055" y="1637"/>
                </a:moveTo>
                <a:cubicBezTo>
                  <a:pt x="4057" y="1639"/>
                  <a:pt x="4060" y="1640"/>
                  <a:pt x="4062" y="1640"/>
                </a:cubicBezTo>
                <a:cubicBezTo>
                  <a:pt x="4062" y="1640"/>
                  <a:pt x="4062" y="1640"/>
                  <a:pt x="4062" y="1640"/>
                </a:cubicBezTo>
                <a:cubicBezTo>
                  <a:pt x="4069" y="1640"/>
                  <a:pt x="4074" y="1635"/>
                  <a:pt x="4079" y="1632"/>
                </a:cubicBezTo>
                <a:cubicBezTo>
                  <a:pt x="4082" y="1629"/>
                  <a:pt x="4085" y="1627"/>
                  <a:pt x="4086" y="1626"/>
                </a:cubicBezTo>
                <a:cubicBezTo>
                  <a:pt x="4088" y="1625"/>
                  <a:pt x="4091" y="1624"/>
                  <a:pt x="4095" y="1623"/>
                </a:cubicBezTo>
                <a:cubicBezTo>
                  <a:pt x="4097" y="1622"/>
                  <a:pt x="4100" y="1620"/>
                  <a:pt x="4103" y="1618"/>
                </a:cubicBezTo>
                <a:cubicBezTo>
                  <a:pt x="4105" y="1616"/>
                  <a:pt x="4108" y="1612"/>
                  <a:pt x="4108" y="1607"/>
                </a:cubicBezTo>
                <a:cubicBezTo>
                  <a:pt x="4107" y="1601"/>
                  <a:pt x="4104" y="1596"/>
                  <a:pt x="4100" y="1592"/>
                </a:cubicBezTo>
                <a:cubicBezTo>
                  <a:pt x="4095" y="1589"/>
                  <a:pt x="4090" y="1586"/>
                  <a:pt x="4084" y="1586"/>
                </a:cubicBezTo>
                <a:cubicBezTo>
                  <a:pt x="4079" y="1586"/>
                  <a:pt x="4074" y="1588"/>
                  <a:pt x="4071" y="1593"/>
                </a:cubicBezTo>
                <a:cubicBezTo>
                  <a:pt x="4068" y="1598"/>
                  <a:pt x="4064" y="1603"/>
                  <a:pt x="4060" y="1608"/>
                </a:cubicBezTo>
                <a:cubicBezTo>
                  <a:pt x="4056" y="1614"/>
                  <a:pt x="4052" y="1619"/>
                  <a:pt x="4052" y="1627"/>
                </a:cubicBezTo>
                <a:cubicBezTo>
                  <a:pt x="4052" y="1627"/>
                  <a:pt x="4052" y="1628"/>
                  <a:pt x="4052" y="1629"/>
                </a:cubicBezTo>
                <a:cubicBezTo>
                  <a:pt x="4052" y="1632"/>
                  <a:pt x="4053" y="1634"/>
                  <a:pt x="4055" y="1637"/>
                </a:cubicBezTo>
                <a:close/>
                <a:moveTo>
                  <a:pt x="4022" y="1470"/>
                </a:moveTo>
                <a:cubicBezTo>
                  <a:pt x="4023" y="1470"/>
                  <a:pt x="4024" y="1470"/>
                  <a:pt x="4025" y="1470"/>
                </a:cubicBezTo>
                <a:cubicBezTo>
                  <a:pt x="4038" y="1469"/>
                  <a:pt x="4065" y="1464"/>
                  <a:pt x="4069" y="1464"/>
                </a:cubicBezTo>
                <a:cubicBezTo>
                  <a:pt x="4076" y="1464"/>
                  <a:pt x="4079" y="1459"/>
                  <a:pt x="4081" y="1455"/>
                </a:cubicBezTo>
                <a:cubicBezTo>
                  <a:pt x="4084" y="1451"/>
                  <a:pt x="4086" y="1447"/>
                  <a:pt x="4086" y="1442"/>
                </a:cubicBezTo>
                <a:cubicBezTo>
                  <a:pt x="4086" y="1441"/>
                  <a:pt x="4086" y="1440"/>
                  <a:pt x="4085" y="1438"/>
                </a:cubicBezTo>
                <a:cubicBezTo>
                  <a:pt x="4083" y="1436"/>
                  <a:pt x="4081" y="1434"/>
                  <a:pt x="4078" y="1434"/>
                </a:cubicBezTo>
                <a:cubicBezTo>
                  <a:pt x="4072" y="1435"/>
                  <a:pt x="4043" y="1441"/>
                  <a:pt x="4036" y="1443"/>
                </a:cubicBezTo>
                <a:cubicBezTo>
                  <a:pt x="4036" y="1443"/>
                  <a:pt x="4036" y="1443"/>
                  <a:pt x="4036" y="1443"/>
                </a:cubicBezTo>
                <a:cubicBezTo>
                  <a:pt x="4033" y="1443"/>
                  <a:pt x="4028" y="1442"/>
                  <a:pt x="4023" y="1442"/>
                </a:cubicBezTo>
                <a:cubicBezTo>
                  <a:pt x="4019" y="1441"/>
                  <a:pt x="4015" y="1440"/>
                  <a:pt x="4015" y="1440"/>
                </a:cubicBezTo>
                <a:cubicBezTo>
                  <a:pt x="4013" y="1440"/>
                  <a:pt x="4011" y="1440"/>
                  <a:pt x="4009" y="1442"/>
                </a:cubicBezTo>
                <a:cubicBezTo>
                  <a:pt x="4006" y="1446"/>
                  <a:pt x="4004" y="1450"/>
                  <a:pt x="4004" y="1455"/>
                </a:cubicBezTo>
                <a:cubicBezTo>
                  <a:pt x="4004" y="1459"/>
                  <a:pt x="4006" y="1463"/>
                  <a:pt x="4010" y="1466"/>
                </a:cubicBezTo>
                <a:cubicBezTo>
                  <a:pt x="4013" y="1469"/>
                  <a:pt x="4017" y="1470"/>
                  <a:pt x="4022" y="1470"/>
                </a:cubicBezTo>
                <a:close/>
                <a:moveTo>
                  <a:pt x="4825" y="1720"/>
                </a:moveTo>
                <a:cubicBezTo>
                  <a:pt x="4825" y="1720"/>
                  <a:pt x="4825" y="1720"/>
                  <a:pt x="4825" y="1720"/>
                </a:cubicBezTo>
                <a:cubicBezTo>
                  <a:pt x="4824" y="1720"/>
                  <a:pt x="4822" y="1719"/>
                  <a:pt x="4821" y="1719"/>
                </a:cubicBezTo>
                <a:cubicBezTo>
                  <a:pt x="4816" y="1720"/>
                  <a:pt x="4812" y="1722"/>
                  <a:pt x="4808" y="1725"/>
                </a:cubicBezTo>
                <a:cubicBezTo>
                  <a:pt x="4797" y="1735"/>
                  <a:pt x="4787" y="1751"/>
                  <a:pt x="4787" y="1752"/>
                </a:cubicBezTo>
                <a:cubicBezTo>
                  <a:pt x="4786" y="1753"/>
                  <a:pt x="4786" y="1755"/>
                  <a:pt x="4786" y="1757"/>
                </a:cubicBezTo>
                <a:cubicBezTo>
                  <a:pt x="4787" y="1758"/>
                  <a:pt x="4788" y="1759"/>
                  <a:pt x="4789" y="1759"/>
                </a:cubicBezTo>
                <a:cubicBezTo>
                  <a:pt x="4792" y="1760"/>
                  <a:pt x="4794" y="1760"/>
                  <a:pt x="4796" y="1760"/>
                </a:cubicBezTo>
                <a:cubicBezTo>
                  <a:pt x="4797" y="1760"/>
                  <a:pt x="4797" y="1760"/>
                  <a:pt x="4797" y="1760"/>
                </a:cubicBezTo>
                <a:cubicBezTo>
                  <a:pt x="4806" y="1760"/>
                  <a:pt x="4813" y="1755"/>
                  <a:pt x="4820" y="1749"/>
                </a:cubicBezTo>
                <a:cubicBezTo>
                  <a:pt x="4826" y="1743"/>
                  <a:pt x="4831" y="1737"/>
                  <a:pt x="4831" y="1729"/>
                </a:cubicBezTo>
                <a:cubicBezTo>
                  <a:pt x="4832" y="1726"/>
                  <a:pt x="4829" y="1722"/>
                  <a:pt x="4825" y="1720"/>
                </a:cubicBezTo>
                <a:close/>
                <a:moveTo>
                  <a:pt x="4791" y="2070"/>
                </a:moveTo>
                <a:cubicBezTo>
                  <a:pt x="4787" y="2070"/>
                  <a:pt x="4785" y="2072"/>
                  <a:pt x="4784" y="2072"/>
                </a:cubicBezTo>
                <a:cubicBezTo>
                  <a:pt x="4782" y="2073"/>
                  <a:pt x="4782" y="2073"/>
                  <a:pt x="4782" y="2073"/>
                </a:cubicBezTo>
                <a:cubicBezTo>
                  <a:pt x="4781" y="2073"/>
                  <a:pt x="4780" y="2073"/>
                  <a:pt x="4777" y="2071"/>
                </a:cubicBezTo>
                <a:cubicBezTo>
                  <a:pt x="4771" y="2067"/>
                  <a:pt x="4770" y="2066"/>
                  <a:pt x="4769" y="2066"/>
                </a:cubicBezTo>
                <a:cubicBezTo>
                  <a:pt x="4769" y="2065"/>
                  <a:pt x="4767" y="2062"/>
                  <a:pt x="4764" y="2055"/>
                </a:cubicBezTo>
                <a:cubicBezTo>
                  <a:pt x="4761" y="2050"/>
                  <a:pt x="4759" y="2044"/>
                  <a:pt x="4757" y="2038"/>
                </a:cubicBezTo>
                <a:cubicBezTo>
                  <a:pt x="4756" y="2035"/>
                  <a:pt x="4755" y="2033"/>
                  <a:pt x="4753" y="2030"/>
                </a:cubicBezTo>
                <a:cubicBezTo>
                  <a:pt x="4751" y="2028"/>
                  <a:pt x="4748" y="2026"/>
                  <a:pt x="4744" y="2026"/>
                </a:cubicBezTo>
                <a:cubicBezTo>
                  <a:pt x="4741" y="2026"/>
                  <a:pt x="4738" y="2027"/>
                  <a:pt x="4736" y="2028"/>
                </a:cubicBezTo>
                <a:cubicBezTo>
                  <a:pt x="4731" y="2031"/>
                  <a:pt x="4731" y="2035"/>
                  <a:pt x="4731" y="2038"/>
                </a:cubicBezTo>
                <a:cubicBezTo>
                  <a:pt x="4731" y="2046"/>
                  <a:pt x="4734" y="2055"/>
                  <a:pt x="4739" y="2061"/>
                </a:cubicBezTo>
                <a:cubicBezTo>
                  <a:pt x="4740" y="2061"/>
                  <a:pt x="4741" y="2065"/>
                  <a:pt x="4742" y="2070"/>
                </a:cubicBezTo>
                <a:cubicBezTo>
                  <a:pt x="4743" y="2074"/>
                  <a:pt x="4744" y="2080"/>
                  <a:pt x="4744" y="2083"/>
                </a:cubicBezTo>
                <a:cubicBezTo>
                  <a:pt x="4744" y="2084"/>
                  <a:pt x="4743" y="2085"/>
                  <a:pt x="4743" y="2085"/>
                </a:cubicBezTo>
                <a:cubicBezTo>
                  <a:pt x="4743" y="2086"/>
                  <a:pt x="4740" y="2088"/>
                  <a:pt x="4737" y="2091"/>
                </a:cubicBezTo>
                <a:cubicBezTo>
                  <a:pt x="4734" y="2093"/>
                  <a:pt x="4730" y="2096"/>
                  <a:pt x="4729" y="2102"/>
                </a:cubicBezTo>
                <a:cubicBezTo>
                  <a:pt x="4729" y="2106"/>
                  <a:pt x="4732" y="2109"/>
                  <a:pt x="4734" y="2111"/>
                </a:cubicBezTo>
                <a:cubicBezTo>
                  <a:pt x="4741" y="2116"/>
                  <a:pt x="4748" y="2116"/>
                  <a:pt x="4753" y="2116"/>
                </a:cubicBezTo>
                <a:cubicBezTo>
                  <a:pt x="4754" y="2116"/>
                  <a:pt x="4754" y="2116"/>
                  <a:pt x="4755" y="2116"/>
                </a:cubicBezTo>
                <a:cubicBezTo>
                  <a:pt x="4753" y="2120"/>
                  <a:pt x="4750" y="2125"/>
                  <a:pt x="4750" y="2131"/>
                </a:cubicBezTo>
                <a:cubicBezTo>
                  <a:pt x="4749" y="2129"/>
                  <a:pt x="4747" y="2127"/>
                  <a:pt x="4744" y="2125"/>
                </a:cubicBezTo>
                <a:cubicBezTo>
                  <a:pt x="4743" y="2123"/>
                  <a:pt x="4740" y="2121"/>
                  <a:pt x="4738" y="2119"/>
                </a:cubicBezTo>
                <a:cubicBezTo>
                  <a:pt x="4736" y="2117"/>
                  <a:pt x="4735" y="2115"/>
                  <a:pt x="4730" y="2115"/>
                </a:cubicBezTo>
                <a:cubicBezTo>
                  <a:pt x="4728" y="2114"/>
                  <a:pt x="4724" y="2118"/>
                  <a:pt x="4724" y="2120"/>
                </a:cubicBezTo>
                <a:cubicBezTo>
                  <a:pt x="4724" y="2121"/>
                  <a:pt x="4722" y="2122"/>
                  <a:pt x="4719" y="2124"/>
                </a:cubicBezTo>
                <a:cubicBezTo>
                  <a:pt x="4716" y="2126"/>
                  <a:pt x="4711" y="2128"/>
                  <a:pt x="4707" y="2132"/>
                </a:cubicBezTo>
                <a:cubicBezTo>
                  <a:pt x="4703" y="2137"/>
                  <a:pt x="4702" y="2141"/>
                  <a:pt x="4701" y="2143"/>
                </a:cubicBezTo>
                <a:cubicBezTo>
                  <a:pt x="4700" y="2145"/>
                  <a:pt x="4698" y="2148"/>
                  <a:pt x="4688" y="2155"/>
                </a:cubicBezTo>
                <a:cubicBezTo>
                  <a:pt x="4669" y="2169"/>
                  <a:pt x="4645" y="2183"/>
                  <a:pt x="4638" y="2199"/>
                </a:cubicBezTo>
                <a:cubicBezTo>
                  <a:pt x="4637" y="2202"/>
                  <a:pt x="4636" y="2205"/>
                  <a:pt x="4636" y="2207"/>
                </a:cubicBezTo>
                <a:cubicBezTo>
                  <a:pt x="4636" y="2214"/>
                  <a:pt x="4640" y="2220"/>
                  <a:pt x="4646" y="2223"/>
                </a:cubicBezTo>
                <a:cubicBezTo>
                  <a:pt x="4651" y="2226"/>
                  <a:pt x="4658" y="2228"/>
                  <a:pt x="4666" y="2228"/>
                </a:cubicBezTo>
                <a:cubicBezTo>
                  <a:pt x="4673" y="2229"/>
                  <a:pt x="4676" y="2230"/>
                  <a:pt x="4680" y="2230"/>
                </a:cubicBezTo>
                <a:cubicBezTo>
                  <a:pt x="4680" y="2230"/>
                  <a:pt x="4680" y="2230"/>
                  <a:pt x="4680" y="2230"/>
                </a:cubicBezTo>
                <a:cubicBezTo>
                  <a:pt x="4684" y="2230"/>
                  <a:pt x="4687" y="2228"/>
                  <a:pt x="4689" y="2225"/>
                </a:cubicBezTo>
                <a:cubicBezTo>
                  <a:pt x="4692" y="2223"/>
                  <a:pt x="4694" y="2220"/>
                  <a:pt x="4698" y="2215"/>
                </a:cubicBezTo>
                <a:cubicBezTo>
                  <a:pt x="4710" y="2199"/>
                  <a:pt x="4721" y="2189"/>
                  <a:pt x="4736" y="2176"/>
                </a:cubicBezTo>
                <a:cubicBezTo>
                  <a:pt x="4750" y="2162"/>
                  <a:pt x="4753" y="2145"/>
                  <a:pt x="4753" y="2139"/>
                </a:cubicBezTo>
                <a:cubicBezTo>
                  <a:pt x="4755" y="2141"/>
                  <a:pt x="4757" y="2142"/>
                  <a:pt x="4759" y="2143"/>
                </a:cubicBezTo>
                <a:cubicBezTo>
                  <a:pt x="4761" y="2143"/>
                  <a:pt x="4762" y="2143"/>
                  <a:pt x="4764" y="2143"/>
                </a:cubicBezTo>
                <a:cubicBezTo>
                  <a:pt x="4771" y="2143"/>
                  <a:pt x="4775" y="2138"/>
                  <a:pt x="4778" y="2134"/>
                </a:cubicBezTo>
                <a:cubicBezTo>
                  <a:pt x="4781" y="2129"/>
                  <a:pt x="4783" y="2124"/>
                  <a:pt x="4785" y="2120"/>
                </a:cubicBezTo>
                <a:cubicBezTo>
                  <a:pt x="4789" y="2110"/>
                  <a:pt x="4793" y="2103"/>
                  <a:pt x="4799" y="2099"/>
                </a:cubicBezTo>
                <a:cubicBezTo>
                  <a:pt x="4803" y="2096"/>
                  <a:pt x="4805" y="2091"/>
                  <a:pt x="4805" y="2088"/>
                </a:cubicBezTo>
                <a:cubicBezTo>
                  <a:pt x="4805" y="2083"/>
                  <a:pt x="4803" y="2079"/>
                  <a:pt x="4801" y="2076"/>
                </a:cubicBezTo>
                <a:cubicBezTo>
                  <a:pt x="4798" y="2073"/>
                  <a:pt x="4796" y="2070"/>
                  <a:pt x="4791" y="2070"/>
                </a:cubicBezTo>
                <a:close/>
                <a:moveTo>
                  <a:pt x="4639" y="1836"/>
                </a:moveTo>
                <a:cubicBezTo>
                  <a:pt x="4646" y="1836"/>
                  <a:pt x="4651" y="1831"/>
                  <a:pt x="4652" y="1824"/>
                </a:cubicBezTo>
                <a:cubicBezTo>
                  <a:pt x="4646" y="1823"/>
                  <a:pt x="4646" y="1823"/>
                  <a:pt x="4646" y="1823"/>
                </a:cubicBezTo>
                <a:cubicBezTo>
                  <a:pt x="4652" y="1825"/>
                  <a:pt x="4652" y="1825"/>
                  <a:pt x="4652" y="1825"/>
                </a:cubicBezTo>
                <a:cubicBezTo>
                  <a:pt x="4652" y="1823"/>
                  <a:pt x="4652" y="1822"/>
                  <a:pt x="4652" y="1821"/>
                </a:cubicBezTo>
                <a:cubicBezTo>
                  <a:pt x="4652" y="1811"/>
                  <a:pt x="4644" y="1801"/>
                  <a:pt x="4624" y="1796"/>
                </a:cubicBezTo>
                <a:cubicBezTo>
                  <a:pt x="4620" y="1795"/>
                  <a:pt x="4617" y="1794"/>
                  <a:pt x="4614" y="1794"/>
                </a:cubicBezTo>
                <a:cubicBezTo>
                  <a:pt x="4613" y="1794"/>
                  <a:pt x="4611" y="1794"/>
                  <a:pt x="4609" y="1795"/>
                </a:cubicBezTo>
                <a:cubicBezTo>
                  <a:pt x="4607" y="1796"/>
                  <a:pt x="4606" y="1799"/>
                  <a:pt x="4606" y="1802"/>
                </a:cubicBezTo>
                <a:cubicBezTo>
                  <a:pt x="4606" y="1805"/>
                  <a:pt x="4607" y="1806"/>
                  <a:pt x="4608" y="1807"/>
                </a:cubicBezTo>
                <a:cubicBezTo>
                  <a:pt x="4610" y="1812"/>
                  <a:pt x="4615" y="1816"/>
                  <a:pt x="4617" y="1821"/>
                </a:cubicBezTo>
                <a:cubicBezTo>
                  <a:pt x="4623" y="1829"/>
                  <a:pt x="4630" y="1836"/>
                  <a:pt x="4639" y="1836"/>
                </a:cubicBezTo>
                <a:cubicBezTo>
                  <a:pt x="4639" y="1836"/>
                  <a:pt x="4639" y="1836"/>
                  <a:pt x="4639" y="1836"/>
                </a:cubicBezTo>
                <a:close/>
                <a:moveTo>
                  <a:pt x="2422" y="804"/>
                </a:moveTo>
                <a:cubicBezTo>
                  <a:pt x="2416" y="804"/>
                  <a:pt x="2413" y="808"/>
                  <a:pt x="2409" y="815"/>
                </a:cubicBezTo>
                <a:cubicBezTo>
                  <a:pt x="2409" y="816"/>
                  <a:pt x="2408" y="817"/>
                  <a:pt x="2408" y="819"/>
                </a:cubicBezTo>
                <a:cubicBezTo>
                  <a:pt x="2408" y="823"/>
                  <a:pt x="2411" y="826"/>
                  <a:pt x="2413" y="827"/>
                </a:cubicBezTo>
                <a:cubicBezTo>
                  <a:pt x="2415" y="828"/>
                  <a:pt x="2417" y="828"/>
                  <a:pt x="2420" y="828"/>
                </a:cubicBezTo>
                <a:cubicBezTo>
                  <a:pt x="2424" y="828"/>
                  <a:pt x="2429" y="827"/>
                  <a:pt x="2432" y="821"/>
                </a:cubicBezTo>
                <a:cubicBezTo>
                  <a:pt x="2432" y="821"/>
                  <a:pt x="2432" y="821"/>
                  <a:pt x="2432" y="821"/>
                </a:cubicBezTo>
                <a:cubicBezTo>
                  <a:pt x="2432" y="819"/>
                  <a:pt x="2433" y="818"/>
                  <a:pt x="2433" y="816"/>
                </a:cubicBezTo>
                <a:cubicBezTo>
                  <a:pt x="2433" y="813"/>
                  <a:pt x="2432" y="811"/>
                  <a:pt x="2430" y="809"/>
                </a:cubicBezTo>
                <a:cubicBezTo>
                  <a:pt x="2429" y="806"/>
                  <a:pt x="2426" y="804"/>
                  <a:pt x="2422" y="804"/>
                </a:cubicBezTo>
                <a:close/>
                <a:moveTo>
                  <a:pt x="4023" y="1526"/>
                </a:moveTo>
                <a:cubicBezTo>
                  <a:pt x="4023" y="1530"/>
                  <a:pt x="4024" y="1536"/>
                  <a:pt x="4028" y="1543"/>
                </a:cubicBezTo>
                <a:cubicBezTo>
                  <a:pt x="4037" y="1556"/>
                  <a:pt x="4051" y="1557"/>
                  <a:pt x="4055" y="1557"/>
                </a:cubicBezTo>
                <a:cubicBezTo>
                  <a:pt x="4056" y="1557"/>
                  <a:pt x="4057" y="1557"/>
                  <a:pt x="4057" y="1557"/>
                </a:cubicBezTo>
                <a:cubicBezTo>
                  <a:pt x="4060" y="1557"/>
                  <a:pt x="4063" y="1554"/>
                  <a:pt x="4063" y="1551"/>
                </a:cubicBezTo>
                <a:cubicBezTo>
                  <a:pt x="4063" y="1550"/>
                  <a:pt x="4062" y="1542"/>
                  <a:pt x="4060" y="1532"/>
                </a:cubicBezTo>
                <a:cubicBezTo>
                  <a:pt x="4058" y="1522"/>
                  <a:pt x="4055" y="1511"/>
                  <a:pt x="4046" y="1504"/>
                </a:cubicBezTo>
                <a:cubicBezTo>
                  <a:pt x="4044" y="1503"/>
                  <a:pt x="4043" y="1502"/>
                  <a:pt x="4041" y="1501"/>
                </a:cubicBezTo>
                <a:cubicBezTo>
                  <a:pt x="4042" y="1501"/>
                  <a:pt x="4043" y="1501"/>
                  <a:pt x="4043" y="1501"/>
                </a:cubicBezTo>
                <a:cubicBezTo>
                  <a:pt x="4049" y="1501"/>
                  <a:pt x="4053" y="1500"/>
                  <a:pt x="4057" y="1497"/>
                </a:cubicBezTo>
                <a:cubicBezTo>
                  <a:pt x="4061" y="1495"/>
                  <a:pt x="4063" y="1490"/>
                  <a:pt x="4063" y="1486"/>
                </a:cubicBezTo>
                <a:cubicBezTo>
                  <a:pt x="4063" y="1484"/>
                  <a:pt x="4063" y="1482"/>
                  <a:pt x="4062" y="1480"/>
                </a:cubicBezTo>
                <a:cubicBezTo>
                  <a:pt x="4058" y="1471"/>
                  <a:pt x="4050" y="1471"/>
                  <a:pt x="4043" y="1471"/>
                </a:cubicBezTo>
                <a:cubicBezTo>
                  <a:pt x="4035" y="1471"/>
                  <a:pt x="4027" y="1472"/>
                  <a:pt x="4023" y="1473"/>
                </a:cubicBezTo>
                <a:cubicBezTo>
                  <a:pt x="4023" y="1473"/>
                  <a:pt x="4023" y="1473"/>
                  <a:pt x="4022" y="1473"/>
                </a:cubicBezTo>
                <a:cubicBezTo>
                  <a:pt x="4021" y="1473"/>
                  <a:pt x="4017" y="1472"/>
                  <a:pt x="4015" y="1471"/>
                </a:cubicBezTo>
                <a:cubicBezTo>
                  <a:pt x="4012" y="1470"/>
                  <a:pt x="4010" y="1469"/>
                  <a:pt x="4010" y="1469"/>
                </a:cubicBezTo>
                <a:cubicBezTo>
                  <a:pt x="4009" y="1467"/>
                  <a:pt x="4007" y="1467"/>
                  <a:pt x="4005" y="1468"/>
                </a:cubicBezTo>
                <a:cubicBezTo>
                  <a:pt x="3999" y="1470"/>
                  <a:pt x="3996" y="1475"/>
                  <a:pt x="3995" y="1480"/>
                </a:cubicBezTo>
                <a:cubicBezTo>
                  <a:pt x="3994" y="1485"/>
                  <a:pt x="3994" y="1489"/>
                  <a:pt x="3993" y="1496"/>
                </a:cubicBezTo>
                <a:cubicBezTo>
                  <a:pt x="3992" y="1504"/>
                  <a:pt x="3986" y="1511"/>
                  <a:pt x="3986" y="1520"/>
                </a:cubicBezTo>
                <a:cubicBezTo>
                  <a:pt x="3986" y="1525"/>
                  <a:pt x="3988" y="1529"/>
                  <a:pt x="3992" y="1532"/>
                </a:cubicBezTo>
                <a:cubicBezTo>
                  <a:pt x="3994" y="1534"/>
                  <a:pt x="3996" y="1534"/>
                  <a:pt x="3999" y="1534"/>
                </a:cubicBezTo>
                <a:cubicBezTo>
                  <a:pt x="4007" y="1534"/>
                  <a:pt x="4011" y="1529"/>
                  <a:pt x="4016" y="1525"/>
                </a:cubicBezTo>
                <a:cubicBezTo>
                  <a:pt x="4019" y="1522"/>
                  <a:pt x="4021" y="1520"/>
                  <a:pt x="4022" y="1519"/>
                </a:cubicBezTo>
                <a:cubicBezTo>
                  <a:pt x="4023" y="1521"/>
                  <a:pt x="4023" y="1523"/>
                  <a:pt x="4023" y="1526"/>
                </a:cubicBezTo>
                <a:close/>
                <a:moveTo>
                  <a:pt x="4598" y="517"/>
                </a:moveTo>
                <a:cubicBezTo>
                  <a:pt x="4598" y="516"/>
                  <a:pt x="4598" y="514"/>
                  <a:pt x="4599" y="511"/>
                </a:cubicBezTo>
                <a:cubicBezTo>
                  <a:pt x="4603" y="504"/>
                  <a:pt x="4605" y="498"/>
                  <a:pt x="4608" y="496"/>
                </a:cubicBezTo>
                <a:cubicBezTo>
                  <a:pt x="4611" y="493"/>
                  <a:pt x="4618" y="490"/>
                  <a:pt x="4634" y="490"/>
                </a:cubicBezTo>
                <a:cubicBezTo>
                  <a:pt x="4662" y="490"/>
                  <a:pt x="4659" y="492"/>
                  <a:pt x="4672" y="492"/>
                </a:cubicBezTo>
                <a:cubicBezTo>
                  <a:pt x="4676" y="492"/>
                  <a:pt x="4680" y="492"/>
                  <a:pt x="4685" y="491"/>
                </a:cubicBezTo>
                <a:cubicBezTo>
                  <a:pt x="4700" y="491"/>
                  <a:pt x="4711" y="485"/>
                  <a:pt x="4721" y="480"/>
                </a:cubicBezTo>
                <a:cubicBezTo>
                  <a:pt x="4730" y="474"/>
                  <a:pt x="4739" y="469"/>
                  <a:pt x="4751" y="465"/>
                </a:cubicBezTo>
                <a:cubicBezTo>
                  <a:pt x="4771" y="458"/>
                  <a:pt x="4788" y="454"/>
                  <a:pt x="4797" y="454"/>
                </a:cubicBezTo>
                <a:cubicBezTo>
                  <a:pt x="4800" y="454"/>
                  <a:pt x="4801" y="454"/>
                  <a:pt x="4802" y="455"/>
                </a:cubicBezTo>
                <a:cubicBezTo>
                  <a:pt x="4805" y="456"/>
                  <a:pt x="4809" y="457"/>
                  <a:pt x="4812" y="457"/>
                </a:cubicBezTo>
                <a:cubicBezTo>
                  <a:pt x="4815" y="457"/>
                  <a:pt x="4818" y="457"/>
                  <a:pt x="4821" y="455"/>
                </a:cubicBezTo>
                <a:cubicBezTo>
                  <a:pt x="4823" y="454"/>
                  <a:pt x="4826" y="450"/>
                  <a:pt x="4826" y="447"/>
                </a:cubicBezTo>
                <a:cubicBezTo>
                  <a:pt x="4826" y="443"/>
                  <a:pt x="4824" y="440"/>
                  <a:pt x="4822" y="437"/>
                </a:cubicBezTo>
                <a:cubicBezTo>
                  <a:pt x="4818" y="433"/>
                  <a:pt x="4813" y="428"/>
                  <a:pt x="4809" y="424"/>
                </a:cubicBezTo>
                <a:cubicBezTo>
                  <a:pt x="4808" y="423"/>
                  <a:pt x="4806" y="421"/>
                  <a:pt x="4805" y="420"/>
                </a:cubicBezTo>
                <a:cubicBezTo>
                  <a:pt x="4809" y="419"/>
                  <a:pt x="4812" y="418"/>
                  <a:pt x="4816" y="416"/>
                </a:cubicBezTo>
                <a:cubicBezTo>
                  <a:pt x="4821" y="413"/>
                  <a:pt x="4826" y="409"/>
                  <a:pt x="4828" y="402"/>
                </a:cubicBezTo>
                <a:cubicBezTo>
                  <a:pt x="4828" y="400"/>
                  <a:pt x="4828" y="398"/>
                  <a:pt x="4828" y="396"/>
                </a:cubicBezTo>
                <a:cubicBezTo>
                  <a:pt x="4828" y="385"/>
                  <a:pt x="4821" y="374"/>
                  <a:pt x="4822" y="367"/>
                </a:cubicBezTo>
                <a:cubicBezTo>
                  <a:pt x="4822" y="365"/>
                  <a:pt x="4822" y="364"/>
                  <a:pt x="4823" y="362"/>
                </a:cubicBezTo>
                <a:cubicBezTo>
                  <a:pt x="4826" y="359"/>
                  <a:pt x="4827" y="355"/>
                  <a:pt x="4827" y="351"/>
                </a:cubicBezTo>
                <a:cubicBezTo>
                  <a:pt x="4827" y="344"/>
                  <a:pt x="4823" y="338"/>
                  <a:pt x="4818" y="334"/>
                </a:cubicBezTo>
                <a:cubicBezTo>
                  <a:pt x="4813" y="330"/>
                  <a:pt x="4807" y="326"/>
                  <a:pt x="4801" y="325"/>
                </a:cubicBezTo>
                <a:cubicBezTo>
                  <a:pt x="4798" y="324"/>
                  <a:pt x="4793" y="324"/>
                  <a:pt x="4788" y="324"/>
                </a:cubicBezTo>
                <a:cubicBezTo>
                  <a:pt x="4778" y="324"/>
                  <a:pt x="4766" y="325"/>
                  <a:pt x="4756" y="325"/>
                </a:cubicBezTo>
                <a:cubicBezTo>
                  <a:pt x="4746" y="325"/>
                  <a:pt x="4738" y="323"/>
                  <a:pt x="4737" y="323"/>
                </a:cubicBezTo>
                <a:cubicBezTo>
                  <a:pt x="4730" y="318"/>
                  <a:pt x="4719" y="313"/>
                  <a:pt x="4710" y="312"/>
                </a:cubicBezTo>
                <a:cubicBezTo>
                  <a:pt x="4707" y="312"/>
                  <a:pt x="4704" y="313"/>
                  <a:pt x="4702" y="315"/>
                </a:cubicBezTo>
                <a:cubicBezTo>
                  <a:pt x="4698" y="319"/>
                  <a:pt x="4695" y="325"/>
                  <a:pt x="4691" y="332"/>
                </a:cubicBezTo>
                <a:cubicBezTo>
                  <a:pt x="4689" y="335"/>
                  <a:pt x="4688" y="338"/>
                  <a:pt x="4687" y="340"/>
                </a:cubicBezTo>
                <a:cubicBezTo>
                  <a:pt x="4686" y="339"/>
                  <a:pt x="4684" y="338"/>
                  <a:pt x="4681" y="333"/>
                </a:cubicBezTo>
                <a:cubicBezTo>
                  <a:pt x="4676" y="325"/>
                  <a:pt x="4666" y="323"/>
                  <a:pt x="4657" y="321"/>
                </a:cubicBezTo>
                <a:cubicBezTo>
                  <a:pt x="4647" y="319"/>
                  <a:pt x="4636" y="319"/>
                  <a:pt x="4628" y="319"/>
                </a:cubicBezTo>
                <a:cubicBezTo>
                  <a:pt x="4624" y="319"/>
                  <a:pt x="4621" y="319"/>
                  <a:pt x="4619" y="319"/>
                </a:cubicBezTo>
                <a:cubicBezTo>
                  <a:pt x="4607" y="319"/>
                  <a:pt x="4594" y="322"/>
                  <a:pt x="4582" y="323"/>
                </a:cubicBezTo>
                <a:cubicBezTo>
                  <a:pt x="4575" y="324"/>
                  <a:pt x="4570" y="326"/>
                  <a:pt x="4567" y="325"/>
                </a:cubicBezTo>
                <a:cubicBezTo>
                  <a:pt x="4564" y="325"/>
                  <a:pt x="4562" y="325"/>
                  <a:pt x="4558" y="321"/>
                </a:cubicBezTo>
                <a:cubicBezTo>
                  <a:pt x="4548" y="310"/>
                  <a:pt x="4534" y="306"/>
                  <a:pt x="4531" y="303"/>
                </a:cubicBezTo>
                <a:cubicBezTo>
                  <a:pt x="4528" y="300"/>
                  <a:pt x="4524" y="300"/>
                  <a:pt x="4520" y="299"/>
                </a:cubicBezTo>
                <a:cubicBezTo>
                  <a:pt x="4516" y="298"/>
                  <a:pt x="4511" y="298"/>
                  <a:pt x="4505" y="298"/>
                </a:cubicBezTo>
                <a:cubicBezTo>
                  <a:pt x="4496" y="298"/>
                  <a:pt x="4486" y="299"/>
                  <a:pt x="4477" y="300"/>
                </a:cubicBezTo>
                <a:cubicBezTo>
                  <a:pt x="4461" y="302"/>
                  <a:pt x="4445" y="303"/>
                  <a:pt x="4440" y="303"/>
                </a:cubicBezTo>
                <a:cubicBezTo>
                  <a:pt x="4439" y="302"/>
                  <a:pt x="4437" y="301"/>
                  <a:pt x="4435" y="300"/>
                </a:cubicBezTo>
                <a:cubicBezTo>
                  <a:pt x="4431" y="298"/>
                  <a:pt x="4426" y="295"/>
                  <a:pt x="4419" y="290"/>
                </a:cubicBezTo>
                <a:cubicBezTo>
                  <a:pt x="4412" y="285"/>
                  <a:pt x="4405" y="281"/>
                  <a:pt x="4399" y="278"/>
                </a:cubicBezTo>
                <a:cubicBezTo>
                  <a:pt x="4393" y="275"/>
                  <a:pt x="4388" y="273"/>
                  <a:pt x="4383" y="272"/>
                </a:cubicBezTo>
                <a:cubicBezTo>
                  <a:pt x="4379" y="272"/>
                  <a:pt x="4363" y="275"/>
                  <a:pt x="4350" y="275"/>
                </a:cubicBezTo>
                <a:cubicBezTo>
                  <a:pt x="4344" y="276"/>
                  <a:pt x="4339" y="274"/>
                  <a:pt x="4339" y="274"/>
                </a:cubicBezTo>
                <a:cubicBezTo>
                  <a:pt x="4331" y="267"/>
                  <a:pt x="4324" y="263"/>
                  <a:pt x="4316" y="262"/>
                </a:cubicBezTo>
                <a:cubicBezTo>
                  <a:pt x="4321" y="260"/>
                  <a:pt x="4327" y="259"/>
                  <a:pt x="4334" y="257"/>
                </a:cubicBezTo>
                <a:cubicBezTo>
                  <a:pt x="4343" y="254"/>
                  <a:pt x="4351" y="251"/>
                  <a:pt x="4351" y="251"/>
                </a:cubicBezTo>
                <a:cubicBezTo>
                  <a:pt x="4353" y="250"/>
                  <a:pt x="4354" y="249"/>
                  <a:pt x="4355" y="247"/>
                </a:cubicBezTo>
                <a:cubicBezTo>
                  <a:pt x="4355" y="246"/>
                  <a:pt x="4355" y="244"/>
                  <a:pt x="4354" y="242"/>
                </a:cubicBezTo>
                <a:cubicBezTo>
                  <a:pt x="4354" y="242"/>
                  <a:pt x="4351" y="238"/>
                  <a:pt x="4347" y="234"/>
                </a:cubicBezTo>
                <a:cubicBezTo>
                  <a:pt x="4343" y="229"/>
                  <a:pt x="4337" y="224"/>
                  <a:pt x="4328" y="224"/>
                </a:cubicBezTo>
                <a:cubicBezTo>
                  <a:pt x="4324" y="224"/>
                  <a:pt x="4316" y="223"/>
                  <a:pt x="4308" y="221"/>
                </a:cubicBezTo>
                <a:cubicBezTo>
                  <a:pt x="4301" y="219"/>
                  <a:pt x="4295" y="217"/>
                  <a:pt x="4290" y="217"/>
                </a:cubicBezTo>
                <a:cubicBezTo>
                  <a:pt x="4288" y="217"/>
                  <a:pt x="4285" y="218"/>
                  <a:pt x="4284" y="219"/>
                </a:cubicBezTo>
                <a:cubicBezTo>
                  <a:pt x="4283" y="220"/>
                  <a:pt x="4282" y="221"/>
                  <a:pt x="4282" y="222"/>
                </a:cubicBezTo>
                <a:cubicBezTo>
                  <a:pt x="4281" y="222"/>
                  <a:pt x="4280" y="222"/>
                  <a:pt x="4279" y="222"/>
                </a:cubicBezTo>
                <a:cubicBezTo>
                  <a:pt x="4271" y="220"/>
                  <a:pt x="4264" y="216"/>
                  <a:pt x="4255" y="216"/>
                </a:cubicBezTo>
                <a:cubicBezTo>
                  <a:pt x="4251" y="216"/>
                  <a:pt x="4247" y="217"/>
                  <a:pt x="4244" y="220"/>
                </a:cubicBezTo>
                <a:cubicBezTo>
                  <a:pt x="4242" y="222"/>
                  <a:pt x="4239" y="224"/>
                  <a:pt x="4235" y="226"/>
                </a:cubicBezTo>
                <a:cubicBezTo>
                  <a:pt x="4232" y="229"/>
                  <a:pt x="4229" y="232"/>
                  <a:pt x="4228" y="238"/>
                </a:cubicBezTo>
                <a:cubicBezTo>
                  <a:pt x="4228" y="241"/>
                  <a:pt x="4230" y="244"/>
                  <a:pt x="4232" y="246"/>
                </a:cubicBezTo>
                <a:cubicBezTo>
                  <a:pt x="4234" y="248"/>
                  <a:pt x="4237" y="249"/>
                  <a:pt x="4240" y="250"/>
                </a:cubicBezTo>
                <a:cubicBezTo>
                  <a:pt x="4250" y="253"/>
                  <a:pt x="4259" y="253"/>
                  <a:pt x="4265" y="253"/>
                </a:cubicBezTo>
                <a:cubicBezTo>
                  <a:pt x="4272" y="253"/>
                  <a:pt x="4275" y="255"/>
                  <a:pt x="4275" y="255"/>
                </a:cubicBezTo>
                <a:cubicBezTo>
                  <a:pt x="4276" y="257"/>
                  <a:pt x="4276" y="258"/>
                  <a:pt x="4276" y="259"/>
                </a:cubicBezTo>
                <a:cubicBezTo>
                  <a:pt x="4276" y="261"/>
                  <a:pt x="4274" y="264"/>
                  <a:pt x="4274" y="270"/>
                </a:cubicBezTo>
                <a:cubicBezTo>
                  <a:pt x="4274" y="270"/>
                  <a:pt x="4272" y="276"/>
                  <a:pt x="4269" y="280"/>
                </a:cubicBezTo>
                <a:cubicBezTo>
                  <a:pt x="4267" y="284"/>
                  <a:pt x="4263" y="288"/>
                  <a:pt x="4262" y="288"/>
                </a:cubicBezTo>
                <a:cubicBezTo>
                  <a:pt x="4262" y="288"/>
                  <a:pt x="4262" y="288"/>
                  <a:pt x="4262" y="288"/>
                </a:cubicBezTo>
                <a:cubicBezTo>
                  <a:pt x="4260" y="288"/>
                  <a:pt x="4257" y="287"/>
                  <a:pt x="4251" y="287"/>
                </a:cubicBezTo>
                <a:cubicBezTo>
                  <a:pt x="4248" y="287"/>
                  <a:pt x="4243" y="289"/>
                  <a:pt x="4238" y="292"/>
                </a:cubicBezTo>
                <a:cubicBezTo>
                  <a:pt x="4234" y="294"/>
                  <a:pt x="4224" y="296"/>
                  <a:pt x="4216" y="296"/>
                </a:cubicBezTo>
                <a:cubicBezTo>
                  <a:pt x="4213" y="296"/>
                  <a:pt x="4211" y="296"/>
                  <a:pt x="4210" y="296"/>
                </a:cubicBezTo>
                <a:cubicBezTo>
                  <a:pt x="4206" y="296"/>
                  <a:pt x="4203" y="295"/>
                  <a:pt x="4201" y="295"/>
                </a:cubicBezTo>
                <a:cubicBezTo>
                  <a:pt x="4199" y="296"/>
                  <a:pt x="4197" y="295"/>
                  <a:pt x="4196" y="296"/>
                </a:cubicBezTo>
                <a:cubicBezTo>
                  <a:pt x="4195" y="295"/>
                  <a:pt x="4194" y="294"/>
                  <a:pt x="4193" y="293"/>
                </a:cubicBezTo>
                <a:cubicBezTo>
                  <a:pt x="4190" y="291"/>
                  <a:pt x="4188" y="288"/>
                  <a:pt x="4182" y="287"/>
                </a:cubicBezTo>
                <a:cubicBezTo>
                  <a:pt x="4181" y="287"/>
                  <a:pt x="4180" y="288"/>
                  <a:pt x="4178" y="288"/>
                </a:cubicBezTo>
                <a:cubicBezTo>
                  <a:pt x="4174" y="291"/>
                  <a:pt x="4169" y="295"/>
                  <a:pt x="4164" y="300"/>
                </a:cubicBezTo>
                <a:cubicBezTo>
                  <a:pt x="4159" y="304"/>
                  <a:pt x="4152" y="307"/>
                  <a:pt x="4152" y="307"/>
                </a:cubicBezTo>
                <a:cubicBezTo>
                  <a:pt x="4152" y="307"/>
                  <a:pt x="4152" y="307"/>
                  <a:pt x="4152" y="307"/>
                </a:cubicBezTo>
                <a:cubicBezTo>
                  <a:pt x="4148" y="306"/>
                  <a:pt x="4139" y="298"/>
                  <a:pt x="4139" y="291"/>
                </a:cubicBezTo>
                <a:cubicBezTo>
                  <a:pt x="4139" y="285"/>
                  <a:pt x="4139" y="278"/>
                  <a:pt x="4137" y="272"/>
                </a:cubicBezTo>
                <a:cubicBezTo>
                  <a:pt x="4136" y="267"/>
                  <a:pt x="4135" y="262"/>
                  <a:pt x="4130" y="258"/>
                </a:cubicBezTo>
                <a:cubicBezTo>
                  <a:pt x="4128" y="257"/>
                  <a:pt x="4126" y="257"/>
                  <a:pt x="4124" y="256"/>
                </a:cubicBezTo>
                <a:cubicBezTo>
                  <a:pt x="4118" y="255"/>
                  <a:pt x="4108" y="254"/>
                  <a:pt x="4099" y="254"/>
                </a:cubicBezTo>
                <a:cubicBezTo>
                  <a:pt x="4095" y="254"/>
                  <a:pt x="4091" y="254"/>
                  <a:pt x="4088" y="255"/>
                </a:cubicBezTo>
                <a:cubicBezTo>
                  <a:pt x="4084" y="255"/>
                  <a:pt x="4074" y="256"/>
                  <a:pt x="4065" y="258"/>
                </a:cubicBezTo>
                <a:cubicBezTo>
                  <a:pt x="4060" y="259"/>
                  <a:pt x="4056" y="260"/>
                  <a:pt x="4052" y="261"/>
                </a:cubicBezTo>
                <a:cubicBezTo>
                  <a:pt x="4048" y="262"/>
                  <a:pt x="4045" y="263"/>
                  <a:pt x="4042" y="266"/>
                </a:cubicBezTo>
                <a:cubicBezTo>
                  <a:pt x="4040" y="269"/>
                  <a:pt x="4027" y="274"/>
                  <a:pt x="4021" y="274"/>
                </a:cubicBezTo>
                <a:cubicBezTo>
                  <a:pt x="4020" y="274"/>
                  <a:pt x="4016" y="272"/>
                  <a:pt x="4011" y="269"/>
                </a:cubicBezTo>
                <a:cubicBezTo>
                  <a:pt x="4006" y="267"/>
                  <a:pt x="3999" y="263"/>
                  <a:pt x="3990" y="261"/>
                </a:cubicBezTo>
                <a:cubicBezTo>
                  <a:pt x="3976" y="259"/>
                  <a:pt x="3953" y="259"/>
                  <a:pt x="3939" y="259"/>
                </a:cubicBezTo>
                <a:cubicBezTo>
                  <a:pt x="3933" y="259"/>
                  <a:pt x="3930" y="260"/>
                  <a:pt x="3927" y="260"/>
                </a:cubicBezTo>
                <a:cubicBezTo>
                  <a:pt x="3927" y="260"/>
                  <a:pt x="3927" y="260"/>
                  <a:pt x="3927" y="260"/>
                </a:cubicBezTo>
                <a:cubicBezTo>
                  <a:pt x="3926" y="260"/>
                  <a:pt x="3923" y="259"/>
                  <a:pt x="3922" y="259"/>
                </a:cubicBezTo>
                <a:cubicBezTo>
                  <a:pt x="3924" y="256"/>
                  <a:pt x="3927" y="253"/>
                  <a:pt x="3930" y="250"/>
                </a:cubicBezTo>
                <a:cubicBezTo>
                  <a:pt x="3933" y="244"/>
                  <a:pt x="3937" y="239"/>
                  <a:pt x="3937" y="232"/>
                </a:cubicBezTo>
                <a:cubicBezTo>
                  <a:pt x="3937" y="227"/>
                  <a:pt x="3935" y="223"/>
                  <a:pt x="3931" y="220"/>
                </a:cubicBezTo>
                <a:cubicBezTo>
                  <a:pt x="3918" y="210"/>
                  <a:pt x="3895" y="211"/>
                  <a:pt x="3885" y="209"/>
                </a:cubicBezTo>
                <a:cubicBezTo>
                  <a:pt x="3878" y="208"/>
                  <a:pt x="3870" y="206"/>
                  <a:pt x="3861" y="206"/>
                </a:cubicBezTo>
                <a:cubicBezTo>
                  <a:pt x="3856" y="206"/>
                  <a:pt x="3851" y="207"/>
                  <a:pt x="3846" y="208"/>
                </a:cubicBezTo>
                <a:cubicBezTo>
                  <a:pt x="3840" y="209"/>
                  <a:pt x="3835" y="211"/>
                  <a:pt x="3831" y="213"/>
                </a:cubicBezTo>
                <a:cubicBezTo>
                  <a:pt x="3830" y="213"/>
                  <a:pt x="3830" y="213"/>
                  <a:pt x="3830" y="213"/>
                </a:cubicBezTo>
                <a:cubicBezTo>
                  <a:pt x="3830" y="212"/>
                  <a:pt x="3829" y="211"/>
                  <a:pt x="3829" y="211"/>
                </a:cubicBezTo>
                <a:cubicBezTo>
                  <a:pt x="3828" y="210"/>
                  <a:pt x="3828" y="210"/>
                  <a:pt x="3827" y="210"/>
                </a:cubicBezTo>
                <a:cubicBezTo>
                  <a:pt x="3826" y="209"/>
                  <a:pt x="3823" y="207"/>
                  <a:pt x="3817" y="204"/>
                </a:cubicBezTo>
                <a:cubicBezTo>
                  <a:pt x="3802" y="197"/>
                  <a:pt x="3791" y="194"/>
                  <a:pt x="3783" y="194"/>
                </a:cubicBezTo>
                <a:cubicBezTo>
                  <a:pt x="3777" y="194"/>
                  <a:pt x="3772" y="195"/>
                  <a:pt x="3768" y="197"/>
                </a:cubicBezTo>
                <a:cubicBezTo>
                  <a:pt x="3766" y="199"/>
                  <a:pt x="3765" y="200"/>
                  <a:pt x="3764" y="201"/>
                </a:cubicBezTo>
                <a:cubicBezTo>
                  <a:pt x="3762" y="203"/>
                  <a:pt x="3763" y="202"/>
                  <a:pt x="3762" y="203"/>
                </a:cubicBezTo>
                <a:cubicBezTo>
                  <a:pt x="3761" y="203"/>
                  <a:pt x="3758" y="204"/>
                  <a:pt x="3752" y="207"/>
                </a:cubicBezTo>
                <a:cubicBezTo>
                  <a:pt x="3734" y="215"/>
                  <a:pt x="3723" y="220"/>
                  <a:pt x="3719" y="220"/>
                </a:cubicBezTo>
                <a:cubicBezTo>
                  <a:pt x="3719" y="220"/>
                  <a:pt x="3719" y="220"/>
                  <a:pt x="3719" y="220"/>
                </a:cubicBezTo>
                <a:cubicBezTo>
                  <a:pt x="3717" y="220"/>
                  <a:pt x="3709" y="219"/>
                  <a:pt x="3702" y="217"/>
                </a:cubicBezTo>
                <a:cubicBezTo>
                  <a:pt x="3698" y="216"/>
                  <a:pt x="3694" y="215"/>
                  <a:pt x="3692" y="214"/>
                </a:cubicBezTo>
                <a:cubicBezTo>
                  <a:pt x="3690" y="214"/>
                  <a:pt x="3689" y="214"/>
                  <a:pt x="3689" y="213"/>
                </a:cubicBezTo>
                <a:cubicBezTo>
                  <a:pt x="3688" y="213"/>
                  <a:pt x="3688" y="213"/>
                  <a:pt x="3688" y="213"/>
                </a:cubicBezTo>
                <a:cubicBezTo>
                  <a:pt x="3688" y="213"/>
                  <a:pt x="3688" y="213"/>
                  <a:pt x="3688" y="213"/>
                </a:cubicBezTo>
                <a:cubicBezTo>
                  <a:pt x="3684" y="211"/>
                  <a:pt x="3683" y="211"/>
                  <a:pt x="3681" y="211"/>
                </a:cubicBezTo>
                <a:cubicBezTo>
                  <a:pt x="3673" y="211"/>
                  <a:pt x="3663" y="215"/>
                  <a:pt x="3654" y="219"/>
                </a:cubicBezTo>
                <a:cubicBezTo>
                  <a:pt x="3643" y="225"/>
                  <a:pt x="3636" y="231"/>
                  <a:pt x="3630" y="230"/>
                </a:cubicBezTo>
                <a:cubicBezTo>
                  <a:pt x="3629" y="230"/>
                  <a:pt x="3628" y="230"/>
                  <a:pt x="3626" y="230"/>
                </a:cubicBezTo>
                <a:cubicBezTo>
                  <a:pt x="3621" y="228"/>
                  <a:pt x="3615" y="228"/>
                  <a:pt x="3608" y="228"/>
                </a:cubicBezTo>
                <a:cubicBezTo>
                  <a:pt x="3599" y="228"/>
                  <a:pt x="3589" y="229"/>
                  <a:pt x="3581" y="233"/>
                </a:cubicBezTo>
                <a:cubicBezTo>
                  <a:pt x="3571" y="238"/>
                  <a:pt x="3562" y="238"/>
                  <a:pt x="3549" y="249"/>
                </a:cubicBezTo>
                <a:cubicBezTo>
                  <a:pt x="3544" y="253"/>
                  <a:pt x="3536" y="257"/>
                  <a:pt x="3529" y="259"/>
                </a:cubicBezTo>
                <a:cubicBezTo>
                  <a:pt x="3525" y="261"/>
                  <a:pt x="3520" y="262"/>
                  <a:pt x="3519" y="263"/>
                </a:cubicBezTo>
                <a:cubicBezTo>
                  <a:pt x="3514" y="262"/>
                  <a:pt x="3499" y="261"/>
                  <a:pt x="3489" y="261"/>
                </a:cubicBezTo>
                <a:cubicBezTo>
                  <a:pt x="3485" y="261"/>
                  <a:pt x="3481" y="261"/>
                  <a:pt x="3476" y="262"/>
                </a:cubicBezTo>
                <a:cubicBezTo>
                  <a:pt x="3474" y="262"/>
                  <a:pt x="3472" y="263"/>
                  <a:pt x="3470" y="264"/>
                </a:cubicBezTo>
                <a:cubicBezTo>
                  <a:pt x="3468" y="265"/>
                  <a:pt x="3465" y="268"/>
                  <a:pt x="3465" y="272"/>
                </a:cubicBezTo>
                <a:cubicBezTo>
                  <a:pt x="3465" y="276"/>
                  <a:pt x="3467" y="278"/>
                  <a:pt x="3470" y="281"/>
                </a:cubicBezTo>
                <a:cubicBezTo>
                  <a:pt x="3476" y="287"/>
                  <a:pt x="3485" y="292"/>
                  <a:pt x="3494" y="296"/>
                </a:cubicBezTo>
                <a:cubicBezTo>
                  <a:pt x="3494" y="296"/>
                  <a:pt x="3494" y="297"/>
                  <a:pt x="3494" y="297"/>
                </a:cubicBezTo>
                <a:cubicBezTo>
                  <a:pt x="3492" y="296"/>
                  <a:pt x="3490" y="295"/>
                  <a:pt x="3487" y="293"/>
                </a:cubicBezTo>
                <a:cubicBezTo>
                  <a:pt x="3480" y="291"/>
                  <a:pt x="3476" y="290"/>
                  <a:pt x="3474" y="289"/>
                </a:cubicBezTo>
                <a:cubicBezTo>
                  <a:pt x="3473" y="289"/>
                  <a:pt x="3471" y="287"/>
                  <a:pt x="3465" y="281"/>
                </a:cubicBezTo>
                <a:cubicBezTo>
                  <a:pt x="3458" y="274"/>
                  <a:pt x="3450" y="270"/>
                  <a:pt x="3443" y="270"/>
                </a:cubicBezTo>
                <a:cubicBezTo>
                  <a:pt x="3436" y="270"/>
                  <a:pt x="3429" y="274"/>
                  <a:pt x="3426" y="279"/>
                </a:cubicBezTo>
                <a:cubicBezTo>
                  <a:pt x="3421" y="285"/>
                  <a:pt x="3421" y="292"/>
                  <a:pt x="3420" y="297"/>
                </a:cubicBezTo>
                <a:cubicBezTo>
                  <a:pt x="3420" y="300"/>
                  <a:pt x="3420" y="302"/>
                  <a:pt x="3419" y="303"/>
                </a:cubicBezTo>
                <a:cubicBezTo>
                  <a:pt x="3419" y="303"/>
                  <a:pt x="3419" y="303"/>
                  <a:pt x="3419" y="303"/>
                </a:cubicBezTo>
                <a:cubicBezTo>
                  <a:pt x="3416" y="304"/>
                  <a:pt x="3413" y="305"/>
                  <a:pt x="3412" y="305"/>
                </a:cubicBezTo>
                <a:cubicBezTo>
                  <a:pt x="3412" y="305"/>
                  <a:pt x="3411" y="304"/>
                  <a:pt x="3411" y="303"/>
                </a:cubicBezTo>
                <a:cubicBezTo>
                  <a:pt x="3411" y="298"/>
                  <a:pt x="3411" y="291"/>
                  <a:pt x="3410" y="286"/>
                </a:cubicBezTo>
                <a:cubicBezTo>
                  <a:pt x="3410" y="283"/>
                  <a:pt x="3409" y="280"/>
                  <a:pt x="3408" y="278"/>
                </a:cubicBezTo>
                <a:cubicBezTo>
                  <a:pt x="3408" y="276"/>
                  <a:pt x="3407" y="275"/>
                  <a:pt x="3406" y="274"/>
                </a:cubicBezTo>
                <a:cubicBezTo>
                  <a:pt x="3405" y="273"/>
                  <a:pt x="3403" y="271"/>
                  <a:pt x="3400" y="271"/>
                </a:cubicBezTo>
                <a:cubicBezTo>
                  <a:pt x="3394" y="272"/>
                  <a:pt x="3393" y="275"/>
                  <a:pt x="3391" y="278"/>
                </a:cubicBezTo>
                <a:cubicBezTo>
                  <a:pt x="3387" y="285"/>
                  <a:pt x="3384" y="288"/>
                  <a:pt x="3382" y="291"/>
                </a:cubicBezTo>
                <a:cubicBezTo>
                  <a:pt x="3380" y="293"/>
                  <a:pt x="3378" y="297"/>
                  <a:pt x="3379" y="302"/>
                </a:cubicBezTo>
                <a:cubicBezTo>
                  <a:pt x="3379" y="311"/>
                  <a:pt x="3384" y="316"/>
                  <a:pt x="3384" y="323"/>
                </a:cubicBezTo>
                <a:cubicBezTo>
                  <a:pt x="3384" y="324"/>
                  <a:pt x="3384" y="326"/>
                  <a:pt x="3383" y="327"/>
                </a:cubicBezTo>
                <a:cubicBezTo>
                  <a:pt x="3382" y="333"/>
                  <a:pt x="3382" y="338"/>
                  <a:pt x="3382" y="342"/>
                </a:cubicBezTo>
                <a:cubicBezTo>
                  <a:pt x="3382" y="344"/>
                  <a:pt x="3382" y="347"/>
                  <a:pt x="3383" y="349"/>
                </a:cubicBezTo>
                <a:cubicBezTo>
                  <a:pt x="3383" y="351"/>
                  <a:pt x="3385" y="353"/>
                  <a:pt x="3387" y="354"/>
                </a:cubicBezTo>
                <a:cubicBezTo>
                  <a:pt x="3380" y="363"/>
                  <a:pt x="3372" y="375"/>
                  <a:pt x="3369" y="378"/>
                </a:cubicBezTo>
                <a:cubicBezTo>
                  <a:pt x="3367" y="380"/>
                  <a:pt x="3363" y="382"/>
                  <a:pt x="3358" y="384"/>
                </a:cubicBezTo>
                <a:cubicBezTo>
                  <a:pt x="3356" y="385"/>
                  <a:pt x="3355" y="386"/>
                  <a:pt x="3353" y="387"/>
                </a:cubicBezTo>
                <a:cubicBezTo>
                  <a:pt x="3356" y="382"/>
                  <a:pt x="3361" y="378"/>
                  <a:pt x="3364" y="376"/>
                </a:cubicBezTo>
                <a:cubicBezTo>
                  <a:pt x="3373" y="368"/>
                  <a:pt x="3380" y="357"/>
                  <a:pt x="3380" y="348"/>
                </a:cubicBezTo>
                <a:cubicBezTo>
                  <a:pt x="3380" y="346"/>
                  <a:pt x="3380" y="343"/>
                  <a:pt x="3378" y="341"/>
                </a:cubicBezTo>
                <a:cubicBezTo>
                  <a:pt x="3378" y="341"/>
                  <a:pt x="3378" y="341"/>
                  <a:pt x="3378" y="341"/>
                </a:cubicBezTo>
                <a:cubicBezTo>
                  <a:pt x="3376" y="339"/>
                  <a:pt x="3373" y="321"/>
                  <a:pt x="3373" y="313"/>
                </a:cubicBezTo>
                <a:cubicBezTo>
                  <a:pt x="3373" y="311"/>
                  <a:pt x="3373" y="309"/>
                  <a:pt x="3373" y="309"/>
                </a:cubicBezTo>
                <a:cubicBezTo>
                  <a:pt x="3374" y="306"/>
                  <a:pt x="3379" y="301"/>
                  <a:pt x="3380" y="292"/>
                </a:cubicBezTo>
                <a:cubicBezTo>
                  <a:pt x="3380" y="287"/>
                  <a:pt x="3377" y="282"/>
                  <a:pt x="3372" y="279"/>
                </a:cubicBezTo>
                <a:cubicBezTo>
                  <a:pt x="3361" y="272"/>
                  <a:pt x="3353" y="264"/>
                  <a:pt x="3342" y="259"/>
                </a:cubicBezTo>
                <a:cubicBezTo>
                  <a:pt x="3341" y="258"/>
                  <a:pt x="3339" y="258"/>
                  <a:pt x="3337" y="258"/>
                </a:cubicBezTo>
                <a:cubicBezTo>
                  <a:pt x="3329" y="259"/>
                  <a:pt x="3324" y="265"/>
                  <a:pt x="3320" y="270"/>
                </a:cubicBezTo>
                <a:cubicBezTo>
                  <a:pt x="3315" y="275"/>
                  <a:pt x="3311" y="280"/>
                  <a:pt x="3309" y="282"/>
                </a:cubicBezTo>
                <a:cubicBezTo>
                  <a:pt x="3304" y="285"/>
                  <a:pt x="3301" y="289"/>
                  <a:pt x="3300" y="291"/>
                </a:cubicBezTo>
                <a:cubicBezTo>
                  <a:pt x="3298" y="293"/>
                  <a:pt x="3298" y="294"/>
                  <a:pt x="3294" y="294"/>
                </a:cubicBezTo>
                <a:cubicBezTo>
                  <a:pt x="3285" y="296"/>
                  <a:pt x="3278" y="304"/>
                  <a:pt x="3278" y="313"/>
                </a:cubicBezTo>
                <a:cubicBezTo>
                  <a:pt x="3278" y="321"/>
                  <a:pt x="3283" y="328"/>
                  <a:pt x="3292" y="333"/>
                </a:cubicBezTo>
                <a:cubicBezTo>
                  <a:pt x="3298" y="337"/>
                  <a:pt x="3303" y="340"/>
                  <a:pt x="3306" y="343"/>
                </a:cubicBezTo>
                <a:cubicBezTo>
                  <a:pt x="3307" y="344"/>
                  <a:pt x="3308" y="345"/>
                  <a:pt x="3308" y="346"/>
                </a:cubicBezTo>
                <a:cubicBezTo>
                  <a:pt x="3308" y="346"/>
                  <a:pt x="3308" y="346"/>
                  <a:pt x="3308" y="346"/>
                </a:cubicBezTo>
                <a:cubicBezTo>
                  <a:pt x="3308" y="346"/>
                  <a:pt x="3308" y="346"/>
                  <a:pt x="3307" y="346"/>
                </a:cubicBezTo>
                <a:cubicBezTo>
                  <a:pt x="3305" y="346"/>
                  <a:pt x="3301" y="345"/>
                  <a:pt x="3297" y="344"/>
                </a:cubicBezTo>
                <a:cubicBezTo>
                  <a:pt x="3294" y="343"/>
                  <a:pt x="3291" y="342"/>
                  <a:pt x="3291" y="342"/>
                </a:cubicBezTo>
                <a:cubicBezTo>
                  <a:pt x="3291" y="342"/>
                  <a:pt x="3291" y="342"/>
                  <a:pt x="3291" y="342"/>
                </a:cubicBezTo>
                <a:cubicBezTo>
                  <a:pt x="3289" y="340"/>
                  <a:pt x="3276" y="333"/>
                  <a:pt x="3265" y="333"/>
                </a:cubicBezTo>
                <a:cubicBezTo>
                  <a:pt x="3258" y="333"/>
                  <a:pt x="3247" y="327"/>
                  <a:pt x="3236" y="325"/>
                </a:cubicBezTo>
                <a:cubicBezTo>
                  <a:pt x="3232" y="324"/>
                  <a:pt x="3228" y="324"/>
                  <a:pt x="3223" y="324"/>
                </a:cubicBezTo>
                <a:cubicBezTo>
                  <a:pt x="3214" y="324"/>
                  <a:pt x="3205" y="324"/>
                  <a:pt x="3198" y="331"/>
                </a:cubicBezTo>
                <a:cubicBezTo>
                  <a:pt x="3196" y="334"/>
                  <a:pt x="3193" y="338"/>
                  <a:pt x="3189" y="341"/>
                </a:cubicBezTo>
                <a:cubicBezTo>
                  <a:pt x="3186" y="345"/>
                  <a:pt x="3182" y="347"/>
                  <a:pt x="3181" y="347"/>
                </a:cubicBezTo>
                <a:cubicBezTo>
                  <a:pt x="3181" y="347"/>
                  <a:pt x="3181" y="346"/>
                  <a:pt x="3181" y="346"/>
                </a:cubicBezTo>
                <a:cubicBezTo>
                  <a:pt x="3178" y="345"/>
                  <a:pt x="3176" y="343"/>
                  <a:pt x="3174" y="341"/>
                </a:cubicBezTo>
                <a:cubicBezTo>
                  <a:pt x="3172" y="340"/>
                  <a:pt x="3168" y="338"/>
                  <a:pt x="3164" y="338"/>
                </a:cubicBezTo>
                <a:cubicBezTo>
                  <a:pt x="3161" y="338"/>
                  <a:pt x="3157" y="339"/>
                  <a:pt x="3153" y="340"/>
                </a:cubicBezTo>
                <a:cubicBezTo>
                  <a:pt x="3151" y="341"/>
                  <a:pt x="3149" y="342"/>
                  <a:pt x="3146" y="342"/>
                </a:cubicBezTo>
                <a:cubicBezTo>
                  <a:pt x="3142" y="342"/>
                  <a:pt x="3137" y="341"/>
                  <a:pt x="3132" y="341"/>
                </a:cubicBezTo>
                <a:cubicBezTo>
                  <a:pt x="3128" y="340"/>
                  <a:pt x="3122" y="342"/>
                  <a:pt x="3119" y="346"/>
                </a:cubicBezTo>
                <a:cubicBezTo>
                  <a:pt x="3118" y="348"/>
                  <a:pt x="3117" y="349"/>
                  <a:pt x="3116" y="350"/>
                </a:cubicBezTo>
                <a:cubicBezTo>
                  <a:pt x="3114" y="349"/>
                  <a:pt x="3109" y="347"/>
                  <a:pt x="3102" y="344"/>
                </a:cubicBezTo>
                <a:cubicBezTo>
                  <a:pt x="3097" y="342"/>
                  <a:pt x="3093" y="341"/>
                  <a:pt x="3089" y="341"/>
                </a:cubicBezTo>
                <a:cubicBezTo>
                  <a:pt x="3082" y="341"/>
                  <a:pt x="3077" y="345"/>
                  <a:pt x="3074" y="348"/>
                </a:cubicBezTo>
                <a:cubicBezTo>
                  <a:pt x="3071" y="350"/>
                  <a:pt x="3068" y="352"/>
                  <a:pt x="3061" y="354"/>
                </a:cubicBezTo>
                <a:cubicBezTo>
                  <a:pt x="3057" y="355"/>
                  <a:pt x="3053" y="355"/>
                  <a:pt x="3049" y="355"/>
                </a:cubicBezTo>
                <a:cubicBezTo>
                  <a:pt x="3043" y="355"/>
                  <a:pt x="3038" y="354"/>
                  <a:pt x="3033" y="354"/>
                </a:cubicBezTo>
                <a:cubicBezTo>
                  <a:pt x="3028" y="354"/>
                  <a:pt x="3022" y="355"/>
                  <a:pt x="3018" y="360"/>
                </a:cubicBezTo>
                <a:cubicBezTo>
                  <a:pt x="3016" y="363"/>
                  <a:pt x="3015" y="366"/>
                  <a:pt x="3013" y="369"/>
                </a:cubicBezTo>
                <a:cubicBezTo>
                  <a:pt x="3013" y="367"/>
                  <a:pt x="3014" y="365"/>
                  <a:pt x="3015" y="364"/>
                </a:cubicBezTo>
                <a:cubicBezTo>
                  <a:pt x="3017" y="359"/>
                  <a:pt x="3019" y="355"/>
                  <a:pt x="3019" y="350"/>
                </a:cubicBezTo>
                <a:cubicBezTo>
                  <a:pt x="3019" y="347"/>
                  <a:pt x="3018" y="344"/>
                  <a:pt x="3016" y="342"/>
                </a:cubicBezTo>
                <a:cubicBezTo>
                  <a:pt x="3011" y="337"/>
                  <a:pt x="3005" y="337"/>
                  <a:pt x="2999" y="337"/>
                </a:cubicBezTo>
                <a:cubicBezTo>
                  <a:pt x="2994" y="337"/>
                  <a:pt x="2989" y="337"/>
                  <a:pt x="2985" y="338"/>
                </a:cubicBezTo>
                <a:cubicBezTo>
                  <a:pt x="2980" y="339"/>
                  <a:pt x="2977" y="340"/>
                  <a:pt x="2974" y="343"/>
                </a:cubicBezTo>
                <a:cubicBezTo>
                  <a:pt x="2971" y="348"/>
                  <a:pt x="2971" y="351"/>
                  <a:pt x="2971" y="355"/>
                </a:cubicBezTo>
                <a:cubicBezTo>
                  <a:pt x="2971" y="362"/>
                  <a:pt x="2972" y="370"/>
                  <a:pt x="2974" y="375"/>
                </a:cubicBezTo>
                <a:cubicBezTo>
                  <a:pt x="2974" y="375"/>
                  <a:pt x="2974" y="376"/>
                  <a:pt x="2975" y="377"/>
                </a:cubicBezTo>
                <a:cubicBezTo>
                  <a:pt x="2973" y="375"/>
                  <a:pt x="2970" y="373"/>
                  <a:pt x="2967" y="373"/>
                </a:cubicBezTo>
                <a:cubicBezTo>
                  <a:pt x="2966" y="373"/>
                  <a:pt x="2965" y="373"/>
                  <a:pt x="2964" y="373"/>
                </a:cubicBezTo>
                <a:cubicBezTo>
                  <a:pt x="2961" y="374"/>
                  <a:pt x="2958" y="375"/>
                  <a:pt x="2956" y="376"/>
                </a:cubicBezTo>
                <a:cubicBezTo>
                  <a:pt x="2957" y="375"/>
                  <a:pt x="2957" y="373"/>
                  <a:pt x="2957" y="371"/>
                </a:cubicBezTo>
                <a:cubicBezTo>
                  <a:pt x="2957" y="365"/>
                  <a:pt x="2953" y="363"/>
                  <a:pt x="2950" y="361"/>
                </a:cubicBezTo>
                <a:cubicBezTo>
                  <a:pt x="2940" y="356"/>
                  <a:pt x="2929" y="350"/>
                  <a:pt x="2911" y="347"/>
                </a:cubicBezTo>
                <a:cubicBezTo>
                  <a:pt x="2895" y="344"/>
                  <a:pt x="2874" y="344"/>
                  <a:pt x="2850" y="334"/>
                </a:cubicBezTo>
                <a:cubicBezTo>
                  <a:pt x="2825" y="323"/>
                  <a:pt x="2819" y="318"/>
                  <a:pt x="2807" y="315"/>
                </a:cubicBezTo>
                <a:cubicBezTo>
                  <a:pt x="2798" y="313"/>
                  <a:pt x="2754" y="304"/>
                  <a:pt x="2721" y="304"/>
                </a:cubicBezTo>
                <a:cubicBezTo>
                  <a:pt x="2714" y="304"/>
                  <a:pt x="2708" y="304"/>
                  <a:pt x="2702" y="306"/>
                </a:cubicBezTo>
                <a:cubicBezTo>
                  <a:pt x="2687" y="308"/>
                  <a:pt x="2660" y="316"/>
                  <a:pt x="2636" y="323"/>
                </a:cubicBezTo>
                <a:cubicBezTo>
                  <a:pt x="2624" y="327"/>
                  <a:pt x="2613" y="331"/>
                  <a:pt x="2604" y="334"/>
                </a:cubicBezTo>
                <a:cubicBezTo>
                  <a:pt x="2600" y="335"/>
                  <a:pt x="2596" y="337"/>
                  <a:pt x="2593" y="338"/>
                </a:cubicBezTo>
                <a:cubicBezTo>
                  <a:pt x="2590" y="339"/>
                  <a:pt x="2589" y="340"/>
                  <a:pt x="2586" y="341"/>
                </a:cubicBezTo>
                <a:cubicBezTo>
                  <a:pt x="2583" y="345"/>
                  <a:pt x="2580" y="350"/>
                  <a:pt x="2576" y="356"/>
                </a:cubicBezTo>
                <a:cubicBezTo>
                  <a:pt x="2572" y="362"/>
                  <a:pt x="2567" y="370"/>
                  <a:pt x="2560" y="376"/>
                </a:cubicBezTo>
                <a:cubicBezTo>
                  <a:pt x="2545" y="390"/>
                  <a:pt x="2517" y="421"/>
                  <a:pt x="2498" y="426"/>
                </a:cubicBezTo>
                <a:cubicBezTo>
                  <a:pt x="2486" y="429"/>
                  <a:pt x="2474" y="436"/>
                  <a:pt x="2464" y="443"/>
                </a:cubicBezTo>
                <a:cubicBezTo>
                  <a:pt x="2460" y="447"/>
                  <a:pt x="2455" y="450"/>
                  <a:pt x="2452" y="454"/>
                </a:cubicBezTo>
                <a:cubicBezTo>
                  <a:pt x="2450" y="457"/>
                  <a:pt x="2447" y="459"/>
                  <a:pt x="2446" y="465"/>
                </a:cubicBezTo>
                <a:cubicBezTo>
                  <a:pt x="2447" y="469"/>
                  <a:pt x="2449" y="474"/>
                  <a:pt x="2450" y="480"/>
                </a:cubicBezTo>
                <a:cubicBezTo>
                  <a:pt x="2452" y="485"/>
                  <a:pt x="2454" y="491"/>
                  <a:pt x="2454" y="493"/>
                </a:cubicBezTo>
                <a:cubicBezTo>
                  <a:pt x="2453" y="494"/>
                  <a:pt x="2453" y="496"/>
                  <a:pt x="2453" y="497"/>
                </a:cubicBezTo>
                <a:cubicBezTo>
                  <a:pt x="2453" y="502"/>
                  <a:pt x="2455" y="509"/>
                  <a:pt x="2458" y="515"/>
                </a:cubicBezTo>
                <a:cubicBezTo>
                  <a:pt x="2462" y="521"/>
                  <a:pt x="2467" y="527"/>
                  <a:pt x="2474" y="531"/>
                </a:cubicBezTo>
                <a:cubicBezTo>
                  <a:pt x="2480" y="533"/>
                  <a:pt x="2488" y="534"/>
                  <a:pt x="2494" y="535"/>
                </a:cubicBezTo>
                <a:cubicBezTo>
                  <a:pt x="2498" y="535"/>
                  <a:pt x="2501" y="534"/>
                  <a:pt x="2503" y="534"/>
                </a:cubicBezTo>
                <a:cubicBezTo>
                  <a:pt x="2503" y="534"/>
                  <a:pt x="2503" y="534"/>
                  <a:pt x="2503" y="534"/>
                </a:cubicBezTo>
                <a:cubicBezTo>
                  <a:pt x="2498" y="536"/>
                  <a:pt x="2492" y="539"/>
                  <a:pt x="2489" y="545"/>
                </a:cubicBezTo>
                <a:cubicBezTo>
                  <a:pt x="2487" y="551"/>
                  <a:pt x="2485" y="560"/>
                  <a:pt x="2484" y="568"/>
                </a:cubicBezTo>
                <a:cubicBezTo>
                  <a:pt x="2485" y="572"/>
                  <a:pt x="2485" y="577"/>
                  <a:pt x="2488" y="581"/>
                </a:cubicBezTo>
                <a:cubicBezTo>
                  <a:pt x="2489" y="583"/>
                  <a:pt x="2490" y="584"/>
                  <a:pt x="2492" y="586"/>
                </a:cubicBezTo>
                <a:cubicBezTo>
                  <a:pt x="2488" y="585"/>
                  <a:pt x="2483" y="585"/>
                  <a:pt x="2479" y="585"/>
                </a:cubicBezTo>
                <a:cubicBezTo>
                  <a:pt x="2471" y="585"/>
                  <a:pt x="2463" y="587"/>
                  <a:pt x="2457" y="592"/>
                </a:cubicBezTo>
                <a:cubicBezTo>
                  <a:pt x="2449" y="599"/>
                  <a:pt x="2437" y="613"/>
                  <a:pt x="2432" y="617"/>
                </a:cubicBezTo>
                <a:cubicBezTo>
                  <a:pt x="2429" y="618"/>
                  <a:pt x="2425" y="618"/>
                  <a:pt x="2419" y="620"/>
                </a:cubicBezTo>
                <a:cubicBezTo>
                  <a:pt x="2418" y="620"/>
                  <a:pt x="2416" y="621"/>
                  <a:pt x="2414" y="621"/>
                </a:cubicBezTo>
                <a:cubicBezTo>
                  <a:pt x="2414" y="621"/>
                  <a:pt x="2414" y="620"/>
                  <a:pt x="2414" y="620"/>
                </a:cubicBezTo>
                <a:cubicBezTo>
                  <a:pt x="2412" y="607"/>
                  <a:pt x="2400" y="592"/>
                  <a:pt x="2387" y="585"/>
                </a:cubicBezTo>
                <a:cubicBezTo>
                  <a:pt x="2384" y="583"/>
                  <a:pt x="2379" y="576"/>
                  <a:pt x="2374" y="569"/>
                </a:cubicBezTo>
                <a:cubicBezTo>
                  <a:pt x="2369" y="561"/>
                  <a:pt x="2364" y="554"/>
                  <a:pt x="2360" y="550"/>
                </a:cubicBezTo>
                <a:cubicBezTo>
                  <a:pt x="2360" y="550"/>
                  <a:pt x="2360" y="550"/>
                  <a:pt x="2360" y="550"/>
                </a:cubicBezTo>
                <a:cubicBezTo>
                  <a:pt x="2360" y="548"/>
                  <a:pt x="2363" y="541"/>
                  <a:pt x="2363" y="533"/>
                </a:cubicBezTo>
                <a:cubicBezTo>
                  <a:pt x="2363" y="529"/>
                  <a:pt x="2362" y="525"/>
                  <a:pt x="2359" y="521"/>
                </a:cubicBezTo>
                <a:cubicBezTo>
                  <a:pt x="2355" y="516"/>
                  <a:pt x="2350" y="513"/>
                  <a:pt x="2346" y="511"/>
                </a:cubicBezTo>
                <a:cubicBezTo>
                  <a:pt x="2342" y="509"/>
                  <a:pt x="2339" y="508"/>
                  <a:pt x="2335" y="505"/>
                </a:cubicBezTo>
                <a:cubicBezTo>
                  <a:pt x="2332" y="503"/>
                  <a:pt x="2328" y="501"/>
                  <a:pt x="2325" y="501"/>
                </a:cubicBezTo>
                <a:cubicBezTo>
                  <a:pt x="2314" y="502"/>
                  <a:pt x="2308" y="510"/>
                  <a:pt x="2304" y="516"/>
                </a:cubicBezTo>
                <a:cubicBezTo>
                  <a:pt x="2303" y="517"/>
                  <a:pt x="2303" y="517"/>
                  <a:pt x="2303" y="517"/>
                </a:cubicBezTo>
                <a:cubicBezTo>
                  <a:pt x="2303" y="517"/>
                  <a:pt x="2303" y="517"/>
                  <a:pt x="2303" y="517"/>
                </a:cubicBezTo>
                <a:cubicBezTo>
                  <a:pt x="2302" y="517"/>
                  <a:pt x="2298" y="515"/>
                  <a:pt x="2292" y="514"/>
                </a:cubicBezTo>
                <a:cubicBezTo>
                  <a:pt x="2290" y="514"/>
                  <a:pt x="2289" y="515"/>
                  <a:pt x="2287" y="515"/>
                </a:cubicBezTo>
                <a:cubicBezTo>
                  <a:pt x="2280" y="518"/>
                  <a:pt x="2277" y="525"/>
                  <a:pt x="2277" y="531"/>
                </a:cubicBezTo>
                <a:cubicBezTo>
                  <a:pt x="2277" y="538"/>
                  <a:pt x="2280" y="544"/>
                  <a:pt x="2283" y="549"/>
                </a:cubicBezTo>
                <a:cubicBezTo>
                  <a:pt x="2284" y="551"/>
                  <a:pt x="2286" y="554"/>
                  <a:pt x="2288" y="557"/>
                </a:cubicBezTo>
                <a:cubicBezTo>
                  <a:pt x="2285" y="556"/>
                  <a:pt x="2283" y="556"/>
                  <a:pt x="2281" y="556"/>
                </a:cubicBezTo>
                <a:cubicBezTo>
                  <a:pt x="2279" y="556"/>
                  <a:pt x="2277" y="556"/>
                  <a:pt x="2275" y="557"/>
                </a:cubicBezTo>
                <a:cubicBezTo>
                  <a:pt x="2267" y="558"/>
                  <a:pt x="2263" y="564"/>
                  <a:pt x="2261" y="567"/>
                </a:cubicBezTo>
                <a:cubicBezTo>
                  <a:pt x="2260" y="569"/>
                  <a:pt x="2259" y="571"/>
                  <a:pt x="2258" y="571"/>
                </a:cubicBezTo>
                <a:cubicBezTo>
                  <a:pt x="2258" y="571"/>
                  <a:pt x="2258" y="571"/>
                  <a:pt x="2258" y="572"/>
                </a:cubicBezTo>
                <a:cubicBezTo>
                  <a:pt x="2254" y="572"/>
                  <a:pt x="2250" y="572"/>
                  <a:pt x="2246" y="574"/>
                </a:cubicBezTo>
                <a:cubicBezTo>
                  <a:pt x="2242" y="576"/>
                  <a:pt x="2239" y="581"/>
                  <a:pt x="2239" y="587"/>
                </a:cubicBezTo>
                <a:cubicBezTo>
                  <a:pt x="2239" y="588"/>
                  <a:pt x="2239" y="590"/>
                  <a:pt x="2239" y="591"/>
                </a:cubicBezTo>
                <a:cubicBezTo>
                  <a:pt x="2241" y="598"/>
                  <a:pt x="2243" y="603"/>
                  <a:pt x="2243" y="605"/>
                </a:cubicBezTo>
                <a:cubicBezTo>
                  <a:pt x="2243" y="605"/>
                  <a:pt x="2243" y="605"/>
                  <a:pt x="2243" y="605"/>
                </a:cubicBezTo>
                <a:cubicBezTo>
                  <a:pt x="2243" y="605"/>
                  <a:pt x="2243" y="605"/>
                  <a:pt x="2242" y="605"/>
                </a:cubicBezTo>
                <a:cubicBezTo>
                  <a:pt x="2238" y="608"/>
                  <a:pt x="2237" y="612"/>
                  <a:pt x="2237" y="616"/>
                </a:cubicBezTo>
                <a:cubicBezTo>
                  <a:pt x="2237" y="621"/>
                  <a:pt x="2239" y="626"/>
                  <a:pt x="2242" y="630"/>
                </a:cubicBezTo>
                <a:cubicBezTo>
                  <a:pt x="2245" y="634"/>
                  <a:pt x="2249" y="638"/>
                  <a:pt x="2255" y="639"/>
                </a:cubicBezTo>
                <a:cubicBezTo>
                  <a:pt x="2255" y="639"/>
                  <a:pt x="2255" y="639"/>
                  <a:pt x="2255" y="639"/>
                </a:cubicBezTo>
                <a:cubicBezTo>
                  <a:pt x="2256" y="639"/>
                  <a:pt x="2257" y="639"/>
                  <a:pt x="2258" y="639"/>
                </a:cubicBezTo>
                <a:cubicBezTo>
                  <a:pt x="2270" y="639"/>
                  <a:pt x="2279" y="630"/>
                  <a:pt x="2286" y="627"/>
                </a:cubicBezTo>
                <a:cubicBezTo>
                  <a:pt x="2295" y="623"/>
                  <a:pt x="2309" y="614"/>
                  <a:pt x="2309" y="597"/>
                </a:cubicBezTo>
                <a:cubicBezTo>
                  <a:pt x="2309" y="590"/>
                  <a:pt x="2308" y="583"/>
                  <a:pt x="2307" y="577"/>
                </a:cubicBezTo>
                <a:cubicBezTo>
                  <a:pt x="2308" y="578"/>
                  <a:pt x="2309" y="578"/>
                  <a:pt x="2309" y="579"/>
                </a:cubicBezTo>
                <a:cubicBezTo>
                  <a:pt x="2312" y="573"/>
                  <a:pt x="2312" y="573"/>
                  <a:pt x="2312" y="573"/>
                </a:cubicBezTo>
                <a:cubicBezTo>
                  <a:pt x="2309" y="579"/>
                  <a:pt x="2309" y="579"/>
                  <a:pt x="2309" y="579"/>
                </a:cubicBezTo>
                <a:cubicBezTo>
                  <a:pt x="2315" y="581"/>
                  <a:pt x="2322" y="584"/>
                  <a:pt x="2328" y="586"/>
                </a:cubicBezTo>
                <a:cubicBezTo>
                  <a:pt x="2329" y="587"/>
                  <a:pt x="2330" y="587"/>
                  <a:pt x="2331" y="588"/>
                </a:cubicBezTo>
                <a:cubicBezTo>
                  <a:pt x="2327" y="591"/>
                  <a:pt x="2322" y="595"/>
                  <a:pt x="2318" y="599"/>
                </a:cubicBezTo>
                <a:cubicBezTo>
                  <a:pt x="2312" y="605"/>
                  <a:pt x="2307" y="611"/>
                  <a:pt x="2305" y="617"/>
                </a:cubicBezTo>
                <a:cubicBezTo>
                  <a:pt x="2305" y="618"/>
                  <a:pt x="2305" y="619"/>
                  <a:pt x="2305" y="620"/>
                </a:cubicBezTo>
                <a:cubicBezTo>
                  <a:pt x="2306" y="629"/>
                  <a:pt x="2312" y="633"/>
                  <a:pt x="2318" y="636"/>
                </a:cubicBezTo>
                <a:cubicBezTo>
                  <a:pt x="2319" y="637"/>
                  <a:pt x="2321" y="638"/>
                  <a:pt x="2322" y="638"/>
                </a:cubicBezTo>
                <a:cubicBezTo>
                  <a:pt x="2322" y="640"/>
                  <a:pt x="2321" y="642"/>
                  <a:pt x="2321" y="644"/>
                </a:cubicBezTo>
                <a:cubicBezTo>
                  <a:pt x="2321" y="647"/>
                  <a:pt x="2323" y="652"/>
                  <a:pt x="2327" y="653"/>
                </a:cubicBezTo>
                <a:cubicBezTo>
                  <a:pt x="2328" y="654"/>
                  <a:pt x="2330" y="654"/>
                  <a:pt x="2331" y="654"/>
                </a:cubicBezTo>
                <a:cubicBezTo>
                  <a:pt x="2338" y="654"/>
                  <a:pt x="2340" y="650"/>
                  <a:pt x="2342" y="648"/>
                </a:cubicBezTo>
                <a:cubicBezTo>
                  <a:pt x="2345" y="645"/>
                  <a:pt x="2346" y="644"/>
                  <a:pt x="2348" y="644"/>
                </a:cubicBezTo>
                <a:cubicBezTo>
                  <a:pt x="2355" y="644"/>
                  <a:pt x="2372" y="650"/>
                  <a:pt x="2383" y="651"/>
                </a:cubicBezTo>
                <a:cubicBezTo>
                  <a:pt x="2375" y="653"/>
                  <a:pt x="2366" y="655"/>
                  <a:pt x="2357" y="657"/>
                </a:cubicBezTo>
                <a:cubicBezTo>
                  <a:pt x="2349" y="659"/>
                  <a:pt x="2345" y="662"/>
                  <a:pt x="2341" y="664"/>
                </a:cubicBezTo>
                <a:cubicBezTo>
                  <a:pt x="2338" y="666"/>
                  <a:pt x="2336" y="667"/>
                  <a:pt x="2329" y="668"/>
                </a:cubicBezTo>
                <a:cubicBezTo>
                  <a:pt x="2324" y="668"/>
                  <a:pt x="2320" y="669"/>
                  <a:pt x="2317" y="671"/>
                </a:cubicBezTo>
                <a:cubicBezTo>
                  <a:pt x="2313" y="673"/>
                  <a:pt x="2310" y="675"/>
                  <a:pt x="2310" y="680"/>
                </a:cubicBezTo>
                <a:cubicBezTo>
                  <a:pt x="2310" y="685"/>
                  <a:pt x="2313" y="687"/>
                  <a:pt x="2315" y="689"/>
                </a:cubicBezTo>
                <a:cubicBezTo>
                  <a:pt x="2318" y="691"/>
                  <a:pt x="2321" y="692"/>
                  <a:pt x="2325" y="692"/>
                </a:cubicBezTo>
                <a:cubicBezTo>
                  <a:pt x="2331" y="694"/>
                  <a:pt x="2341" y="697"/>
                  <a:pt x="2348" y="701"/>
                </a:cubicBezTo>
                <a:cubicBezTo>
                  <a:pt x="2355" y="705"/>
                  <a:pt x="2359" y="711"/>
                  <a:pt x="2359" y="713"/>
                </a:cubicBezTo>
                <a:cubicBezTo>
                  <a:pt x="2359" y="715"/>
                  <a:pt x="2359" y="717"/>
                  <a:pt x="2359" y="719"/>
                </a:cubicBezTo>
                <a:cubicBezTo>
                  <a:pt x="2359" y="729"/>
                  <a:pt x="2356" y="739"/>
                  <a:pt x="2352" y="749"/>
                </a:cubicBezTo>
                <a:cubicBezTo>
                  <a:pt x="2352" y="749"/>
                  <a:pt x="2352" y="749"/>
                  <a:pt x="2352" y="749"/>
                </a:cubicBezTo>
                <a:cubicBezTo>
                  <a:pt x="2352" y="749"/>
                  <a:pt x="2349" y="750"/>
                  <a:pt x="2344" y="750"/>
                </a:cubicBezTo>
                <a:cubicBezTo>
                  <a:pt x="2336" y="750"/>
                  <a:pt x="2325" y="748"/>
                  <a:pt x="2316" y="748"/>
                </a:cubicBezTo>
                <a:cubicBezTo>
                  <a:pt x="2308" y="748"/>
                  <a:pt x="2293" y="746"/>
                  <a:pt x="2279" y="746"/>
                </a:cubicBezTo>
                <a:cubicBezTo>
                  <a:pt x="2273" y="746"/>
                  <a:pt x="2267" y="746"/>
                  <a:pt x="2261" y="749"/>
                </a:cubicBezTo>
                <a:cubicBezTo>
                  <a:pt x="2250" y="754"/>
                  <a:pt x="2249" y="767"/>
                  <a:pt x="2249" y="778"/>
                </a:cubicBezTo>
                <a:cubicBezTo>
                  <a:pt x="2249" y="786"/>
                  <a:pt x="2250" y="795"/>
                  <a:pt x="2252" y="801"/>
                </a:cubicBezTo>
                <a:cubicBezTo>
                  <a:pt x="2253" y="804"/>
                  <a:pt x="2253" y="806"/>
                  <a:pt x="2253" y="808"/>
                </a:cubicBezTo>
                <a:cubicBezTo>
                  <a:pt x="2253" y="813"/>
                  <a:pt x="2251" y="816"/>
                  <a:pt x="2248" y="818"/>
                </a:cubicBezTo>
                <a:cubicBezTo>
                  <a:pt x="2244" y="823"/>
                  <a:pt x="2242" y="828"/>
                  <a:pt x="2242" y="834"/>
                </a:cubicBezTo>
                <a:cubicBezTo>
                  <a:pt x="2242" y="839"/>
                  <a:pt x="2244" y="845"/>
                  <a:pt x="2248" y="849"/>
                </a:cubicBezTo>
                <a:cubicBezTo>
                  <a:pt x="2250" y="851"/>
                  <a:pt x="2253" y="855"/>
                  <a:pt x="2255" y="859"/>
                </a:cubicBezTo>
                <a:cubicBezTo>
                  <a:pt x="2258" y="863"/>
                  <a:pt x="2259" y="868"/>
                  <a:pt x="2265" y="870"/>
                </a:cubicBezTo>
                <a:cubicBezTo>
                  <a:pt x="2267" y="871"/>
                  <a:pt x="2268" y="871"/>
                  <a:pt x="2269" y="871"/>
                </a:cubicBezTo>
                <a:cubicBezTo>
                  <a:pt x="2274" y="871"/>
                  <a:pt x="2278" y="869"/>
                  <a:pt x="2282" y="870"/>
                </a:cubicBezTo>
                <a:cubicBezTo>
                  <a:pt x="2286" y="870"/>
                  <a:pt x="2288" y="870"/>
                  <a:pt x="2288" y="871"/>
                </a:cubicBezTo>
                <a:cubicBezTo>
                  <a:pt x="2290" y="873"/>
                  <a:pt x="2292" y="878"/>
                  <a:pt x="2295" y="882"/>
                </a:cubicBezTo>
                <a:cubicBezTo>
                  <a:pt x="2296" y="884"/>
                  <a:pt x="2297" y="887"/>
                  <a:pt x="2299" y="888"/>
                </a:cubicBezTo>
                <a:cubicBezTo>
                  <a:pt x="2299" y="889"/>
                  <a:pt x="2299" y="889"/>
                  <a:pt x="2299" y="889"/>
                </a:cubicBezTo>
                <a:cubicBezTo>
                  <a:pt x="2299" y="889"/>
                  <a:pt x="2299" y="889"/>
                  <a:pt x="2298" y="890"/>
                </a:cubicBezTo>
                <a:cubicBezTo>
                  <a:pt x="2291" y="894"/>
                  <a:pt x="2284" y="901"/>
                  <a:pt x="2279" y="905"/>
                </a:cubicBezTo>
                <a:cubicBezTo>
                  <a:pt x="2276" y="908"/>
                  <a:pt x="2274" y="910"/>
                  <a:pt x="2272" y="911"/>
                </a:cubicBezTo>
                <a:cubicBezTo>
                  <a:pt x="2272" y="911"/>
                  <a:pt x="2271" y="912"/>
                  <a:pt x="2271" y="912"/>
                </a:cubicBezTo>
                <a:cubicBezTo>
                  <a:pt x="2268" y="912"/>
                  <a:pt x="2266" y="914"/>
                  <a:pt x="2264" y="915"/>
                </a:cubicBezTo>
                <a:cubicBezTo>
                  <a:pt x="2258" y="920"/>
                  <a:pt x="2251" y="930"/>
                  <a:pt x="2245" y="946"/>
                </a:cubicBezTo>
                <a:cubicBezTo>
                  <a:pt x="2242" y="958"/>
                  <a:pt x="2242" y="968"/>
                  <a:pt x="2241" y="976"/>
                </a:cubicBezTo>
                <a:cubicBezTo>
                  <a:pt x="2241" y="984"/>
                  <a:pt x="2240" y="987"/>
                  <a:pt x="2237" y="989"/>
                </a:cubicBezTo>
                <a:cubicBezTo>
                  <a:pt x="2224" y="996"/>
                  <a:pt x="2201" y="1011"/>
                  <a:pt x="2190" y="1023"/>
                </a:cubicBezTo>
                <a:cubicBezTo>
                  <a:pt x="2184" y="1030"/>
                  <a:pt x="2179" y="1042"/>
                  <a:pt x="2174" y="1056"/>
                </a:cubicBezTo>
                <a:cubicBezTo>
                  <a:pt x="2168" y="1069"/>
                  <a:pt x="2163" y="1083"/>
                  <a:pt x="2157" y="1091"/>
                </a:cubicBezTo>
                <a:cubicBezTo>
                  <a:pt x="2153" y="1098"/>
                  <a:pt x="2151" y="1105"/>
                  <a:pt x="2151" y="1111"/>
                </a:cubicBezTo>
                <a:cubicBezTo>
                  <a:pt x="2152" y="1125"/>
                  <a:pt x="2158" y="1135"/>
                  <a:pt x="2159" y="1141"/>
                </a:cubicBezTo>
                <a:cubicBezTo>
                  <a:pt x="2160" y="1148"/>
                  <a:pt x="2163" y="1157"/>
                  <a:pt x="2163" y="1167"/>
                </a:cubicBezTo>
                <a:cubicBezTo>
                  <a:pt x="2163" y="1174"/>
                  <a:pt x="2162" y="1181"/>
                  <a:pt x="2157" y="1188"/>
                </a:cubicBezTo>
                <a:cubicBezTo>
                  <a:pt x="2151" y="1198"/>
                  <a:pt x="2148" y="1206"/>
                  <a:pt x="2146" y="1211"/>
                </a:cubicBezTo>
                <a:cubicBezTo>
                  <a:pt x="2145" y="1213"/>
                  <a:pt x="2144" y="1215"/>
                  <a:pt x="2144" y="1215"/>
                </a:cubicBezTo>
                <a:cubicBezTo>
                  <a:pt x="2143" y="1216"/>
                  <a:pt x="2143" y="1216"/>
                  <a:pt x="2143" y="1216"/>
                </a:cubicBezTo>
                <a:cubicBezTo>
                  <a:pt x="2142" y="1216"/>
                  <a:pt x="2141" y="1216"/>
                  <a:pt x="2140" y="1217"/>
                </a:cubicBezTo>
                <a:cubicBezTo>
                  <a:pt x="2139" y="1218"/>
                  <a:pt x="2138" y="1221"/>
                  <a:pt x="2138" y="1223"/>
                </a:cubicBezTo>
                <a:cubicBezTo>
                  <a:pt x="2138" y="1226"/>
                  <a:pt x="2139" y="1227"/>
                  <a:pt x="2140" y="1229"/>
                </a:cubicBezTo>
                <a:cubicBezTo>
                  <a:pt x="2143" y="1232"/>
                  <a:pt x="2146" y="1236"/>
                  <a:pt x="2147" y="1243"/>
                </a:cubicBezTo>
                <a:cubicBezTo>
                  <a:pt x="2148" y="1244"/>
                  <a:pt x="2148" y="1245"/>
                  <a:pt x="2148" y="1246"/>
                </a:cubicBezTo>
                <a:cubicBezTo>
                  <a:pt x="2148" y="1250"/>
                  <a:pt x="2146" y="1256"/>
                  <a:pt x="2146" y="1263"/>
                </a:cubicBezTo>
                <a:cubicBezTo>
                  <a:pt x="2145" y="1271"/>
                  <a:pt x="2150" y="1281"/>
                  <a:pt x="2162" y="1287"/>
                </a:cubicBezTo>
                <a:cubicBezTo>
                  <a:pt x="2183" y="1299"/>
                  <a:pt x="2192" y="1309"/>
                  <a:pt x="2197" y="1324"/>
                </a:cubicBezTo>
                <a:cubicBezTo>
                  <a:pt x="2204" y="1343"/>
                  <a:pt x="2233" y="1370"/>
                  <a:pt x="2233" y="1370"/>
                </a:cubicBezTo>
                <a:cubicBezTo>
                  <a:pt x="2233" y="1371"/>
                  <a:pt x="2254" y="1392"/>
                  <a:pt x="2264" y="1402"/>
                </a:cubicBezTo>
                <a:cubicBezTo>
                  <a:pt x="2269" y="1406"/>
                  <a:pt x="2272" y="1409"/>
                  <a:pt x="2277" y="1409"/>
                </a:cubicBezTo>
                <a:cubicBezTo>
                  <a:pt x="2282" y="1409"/>
                  <a:pt x="2285" y="1406"/>
                  <a:pt x="2287" y="1403"/>
                </a:cubicBezTo>
                <a:cubicBezTo>
                  <a:pt x="2289" y="1400"/>
                  <a:pt x="2290" y="1397"/>
                  <a:pt x="2290" y="1394"/>
                </a:cubicBezTo>
                <a:cubicBezTo>
                  <a:pt x="2291" y="1392"/>
                  <a:pt x="2292" y="1390"/>
                  <a:pt x="2297" y="1389"/>
                </a:cubicBezTo>
                <a:cubicBezTo>
                  <a:pt x="2302" y="1388"/>
                  <a:pt x="2309" y="1387"/>
                  <a:pt x="2317" y="1387"/>
                </a:cubicBezTo>
                <a:cubicBezTo>
                  <a:pt x="2328" y="1387"/>
                  <a:pt x="2337" y="1390"/>
                  <a:pt x="2349" y="1390"/>
                </a:cubicBezTo>
                <a:cubicBezTo>
                  <a:pt x="2353" y="1390"/>
                  <a:pt x="2357" y="1389"/>
                  <a:pt x="2361" y="1389"/>
                </a:cubicBezTo>
                <a:cubicBezTo>
                  <a:pt x="2380" y="1385"/>
                  <a:pt x="2396" y="1372"/>
                  <a:pt x="2401" y="1370"/>
                </a:cubicBezTo>
                <a:cubicBezTo>
                  <a:pt x="2406" y="1367"/>
                  <a:pt x="2417" y="1360"/>
                  <a:pt x="2426" y="1360"/>
                </a:cubicBezTo>
                <a:cubicBezTo>
                  <a:pt x="2430" y="1360"/>
                  <a:pt x="2432" y="1361"/>
                  <a:pt x="2435" y="1363"/>
                </a:cubicBezTo>
                <a:cubicBezTo>
                  <a:pt x="2441" y="1367"/>
                  <a:pt x="2444" y="1372"/>
                  <a:pt x="2446" y="1378"/>
                </a:cubicBezTo>
                <a:cubicBezTo>
                  <a:pt x="2448" y="1384"/>
                  <a:pt x="2450" y="1391"/>
                  <a:pt x="2455" y="1398"/>
                </a:cubicBezTo>
                <a:cubicBezTo>
                  <a:pt x="2459" y="1402"/>
                  <a:pt x="2465" y="1405"/>
                  <a:pt x="2470" y="1405"/>
                </a:cubicBezTo>
                <a:cubicBezTo>
                  <a:pt x="2480" y="1405"/>
                  <a:pt x="2488" y="1399"/>
                  <a:pt x="2496" y="1393"/>
                </a:cubicBezTo>
                <a:cubicBezTo>
                  <a:pt x="2497" y="1391"/>
                  <a:pt x="2498" y="1390"/>
                  <a:pt x="2499" y="1390"/>
                </a:cubicBezTo>
                <a:cubicBezTo>
                  <a:pt x="2500" y="1391"/>
                  <a:pt x="2503" y="1394"/>
                  <a:pt x="2507" y="1396"/>
                </a:cubicBezTo>
                <a:cubicBezTo>
                  <a:pt x="2514" y="1401"/>
                  <a:pt x="2517" y="1405"/>
                  <a:pt x="2517" y="1407"/>
                </a:cubicBezTo>
                <a:cubicBezTo>
                  <a:pt x="2517" y="1409"/>
                  <a:pt x="2516" y="1412"/>
                  <a:pt x="2513" y="1416"/>
                </a:cubicBezTo>
                <a:cubicBezTo>
                  <a:pt x="2505" y="1424"/>
                  <a:pt x="2504" y="1433"/>
                  <a:pt x="2503" y="1442"/>
                </a:cubicBezTo>
                <a:cubicBezTo>
                  <a:pt x="2503" y="1451"/>
                  <a:pt x="2503" y="1460"/>
                  <a:pt x="2500" y="1469"/>
                </a:cubicBezTo>
                <a:cubicBezTo>
                  <a:pt x="2497" y="1477"/>
                  <a:pt x="2495" y="1482"/>
                  <a:pt x="2495" y="1487"/>
                </a:cubicBezTo>
                <a:cubicBezTo>
                  <a:pt x="2495" y="1491"/>
                  <a:pt x="2497" y="1496"/>
                  <a:pt x="2499" y="1499"/>
                </a:cubicBezTo>
                <a:cubicBezTo>
                  <a:pt x="2502" y="1501"/>
                  <a:pt x="2505" y="1504"/>
                  <a:pt x="2509" y="1506"/>
                </a:cubicBezTo>
                <a:cubicBezTo>
                  <a:pt x="2513" y="1508"/>
                  <a:pt x="2523" y="1523"/>
                  <a:pt x="2530" y="1538"/>
                </a:cubicBezTo>
                <a:cubicBezTo>
                  <a:pt x="2539" y="1553"/>
                  <a:pt x="2546" y="1568"/>
                  <a:pt x="2550" y="1574"/>
                </a:cubicBezTo>
                <a:cubicBezTo>
                  <a:pt x="2551" y="1575"/>
                  <a:pt x="2552" y="1579"/>
                  <a:pt x="2552" y="1584"/>
                </a:cubicBezTo>
                <a:cubicBezTo>
                  <a:pt x="2552" y="1590"/>
                  <a:pt x="2551" y="1596"/>
                  <a:pt x="2551" y="1603"/>
                </a:cubicBezTo>
                <a:cubicBezTo>
                  <a:pt x="2551" y="1611"/>
                  <a:pt x="2552" y="1619"/>
                  <a:pt x="2555" y="1627"/>
                </a:cubicBezTo>
                <a:cubicBezTo>
                  <a:pt x="2561" y="1638"/>
                  <a:pt x="2566" y="1647"/>
                  <a:pt x="2566" y="1651"/>
                </a:cubicBezTo>
                <a:cubicBezTo>
                  <a:pt x="2565" y="1653"/>
                  <a:pt x="2565" y="1653"/>
                  <a:pt x="2564" y="1655"/>
                </a:cubicBezTo>
                <a:cubicBezTo>
                  <a:pt x="2554" y="1664"/>
                  <a:pt x="2536" y="1680"/>
                  <a:pt x="2535" y="1710"/>
                </a:cubicBezTo>
                <a:cubicBezTo>
                  <a:pt x="2535" y="1713"/>
                  <a:pt x="2535" y="1716"/>
                  <a:pt x="2535" y="1718"/>
                </a:cubicBezTo>
                <a:cubicBezTo>
                  <a:pt x="2535" y="1743"/>
                  <a:pt x="2540" y="1760"/>
                  <a:pt x="2545" y="1770"/>
                </a:cubicBezTo>
                <a:cubicBezTo>
                  <a:pt x="2549" y="1779"/>
                  <a:pt x="2561" y="1805"/>
                  <a:pt x="2567" y="1816"/>
                </a:cubicBezTo>
                <a:cubicBezTo>
                  <a:pt x="2572" y="1824"/>
                  <a:pt x="2579" y="1848"/>
                  <a:pt x="2580" y="1861"/>
                </a:cubicBezTo>
                <a:cubicBezTo>
                  <a:pt x="2580" y="1864"/>
                  <a:pt x="2580" y="1866"/>
                  <a:pt x="2580" y="1869"/>
                </a:cubicBezTo>
                <a:cubicBezTo>
                  <a:pt x="2580" y="1874"/>
                  <a:pt x="2580" y="1879"/>
                  <a:pt x="2580" y="1884"/>
                </a:cubicBezTo>
                <a:cubicBezTo>
                  <a:pt x="2580" y="1892"/>
                  <a:pt x="2580" y="1899"/>
                  <a:pt x="2584" y="1906"/>
                </a:cubicBezTo>
                <a:cubicBezTo>
                  <a:pt x="2589" y="1913"/>
                  <a:pt x="2593" y="1926"/>
                  <a:pt x="2605" y="1938"/>
                </a:cubicBezTo>
                <a:cubicBezTo>
                  <a:pt x="2609" y="1942"/>
                  <a:pt x="2612" y="1950"/>
                  <a:pt x="2614" y="1957"/>
                </a:cubicBezTo>
                <a:cubicBezTo>
                  <a:pt x="2616" y="1964"/>
                  <a:pt x="2617" y="1969"/>
                  <a:pt x="2617" y="1969"/>
                </a:cubicBezTo>
                <a:cubicBezTo>
                  <a:pt x="2617" y="1971"/>
                  <a:pt x="2617" y="1971"/>
                  <a:pt x="2617" y="1971"/>
                </a:cubicBezTo>
                <a:cubicBezTo>
                  <a:pt x="2617" y="1971"/>
                  <a:pt x="2618" y="1973"/>
                  <a:pt x="2619" y="1977"/>
                </a:cubicBezTo>
                <a:cubicBezTo>
                  <a:pt x="2620" y="1981"/>
                  <a:pt x="2621" y="1987"/>
                  <a:pt x="2621" y="1994"/>
                </a:cubicBezTo>
                <a:cubicBezTo>
                  <a:pt x="2622" y="2001"/>
                  <a:pt x="2622" y="2008"/>
                  <a:pt x="2625" y="2014"/>
                </a:cubicBezTo>
                <a:cubicBezTo>
                  <a:pt x="2627" y="2021"/>
                  <a:pt x="2631" y="2026"/>
                  <a:pt x="2638" y="2030"/>
                </a:cubicBezTo>
                <a:cubicBezTo>
                  <a:pt x="2645" y="2034"/>
                  <a:pt x="2651" y="2036"/>
                  <a:pt x="2657" y="2036"/>
                </a:cubicBezTo>
                <a:cubicBezTo>
                  <a:pt x="2658" y="2036"/>
                  <a:pt x="2658" y="2036"/>
                  <a:pt x="2658" y="2036"/>
                </a:cubicBezTo>
                <a:cubicBezTo>
                  <a:pt x="2663" y="2036"/>
                  <a:pt x="2668" y="2034"/>
                  <a:pt x="2671" y="2030"/>
                </a:cubicBezTo>
                <a:cubicBezTo>
                  <a:pt x="2671" y="2030"/>
                  <a:pt x="2672" y="2029"/>
                  <a:pt x="2674" y="2028"/>
                </a:cubicBezTo>
                <a:cubicBezTo>
                  <a:pt x="2681" y="2026"/>
                  <a:pt x="2693" y="2025"/>
                  <a:pt x="2704" y="2025"/>
                </a:cubicBezTo>
                <a:cubicBezTo>
                  <a:pt x="2708" y="2025"/>
                  <a:pt x="2712" y="2025"/>
                  <a:pt x="2715" y="2026"/>
                </a:cubicBezTo>
                <a:cubicBezTo>
                  <a:pt x="2717" y="2026"/>
                  <a:pt x="2718" y="2026"/>
                  <a:pt x="2719" y="2026"/>
                </a:cubicBezTo>
                <a:cubicBezTo>
                  <a:pt x="2736" y="2026"/>
                  <a:pt x="2752" y="2015"/>
                  <a:pt x="2767" y="2003"/>
                </a:cubicBezTo>
                <a:cubicBezTo>
                  <a:pt x="2783" y="1990"/>
                  <a:pt x="2805" y="1957"/>
                  <a:pt x="2813" y="1948"/>
                </a:cubicBezTo>
                <a:cubicBezTo>
                  <a:pt x="2816" y="1943"/>
                  <a:pt x="2822" y="1937"/>
                  <a:pt x="2828" y="1930"/>
                </a:cubicBezTo>
                <a:cubicBezTo>
                  <a:pt x="2833" y="1923"/>
                  <a:pt x="2838" y="1916"/>
                  <a:pt x="2838" y="1907"/>
                </a:cubicBezTo>
                <a:cubicBezTo>
                  <a:pt x="2838" y="1906"/>
                  <a:pt x="2838" y="1905"/>
                  <a:pt x="2838" y="1904"/>
                </a:cubicBezTo>
                <a:cubicBezTo>
                  <a:pt x="2837" y="1897"/>
                  <a:pt x="2835" y="1892"/>
                  <a:pt x="2835" y="1888"/>
                </a:cubicBezTo>
                <a:cubicBezTo>
                  <a:pt x="2835" y="1885"/>
                  <a:pt x="2835" y="1884"/>
                  <a:pt x="2838" y="1883"/>
                </a:cubicBezTo>
                <a:cubicBezTo>
                  <a:pt x="2842" y="1880"/>
                  <a:pt x="2850" y="1876"/>
                  <a:pt x="2857" y="1871"/>
                </a:cubicBezTo>
                <a:cubicBezTo>
                  <a:pt x="2864" y="1866"/>
                  <a:pt x="2871" y="1862"/>
                  <a:pt x="2873" y="1853"/>
                </a:cubicBezTo>
                <a:cubicBezTo>
                  <a:pt x="2873" y="1853"/>
                  <a:pt x="2873" y="1852"/>
                  <a:pt x="2873" y="1851"/>
                </a:cubicBezTo>
                <a:cubicBezTo>
                  <a:pt x="2873" y="1838"/>
                  <a:pt x="2864" y="1808"/>
                  <a:pt x="2862" y="1801"/>
                </a:cubicBezTo>
                <a:cubicBezTo>
                  <a:pt x="2862" y="1801"/>
                  <a:pt x="2862" y="1801"/>
                  <a:pt x="2862" y="1800"/>
                </a:cubicBezTo>
                <a:cubicBezTo>
                  <a:pt x="2862" y="1797"/>
                  <a:pt x="2868" y="1785"/>
                  <a:pt x="2876" y="1773"/>
                </a:cubicBezTo>
                <a:cubicBezTo>
                  <a:pt x="2880" y="1768"/>
                  <a:pt x="2889" y="1762"/>
                  <a:pt x="2897" y="1758"/>
                </a:cubicBezTo>
                <a:cubicBezTo>
                  <a:pt x="2902" y="1755"/>
                  <a:pt x="2906" y="1753"/>
                  <a:pt x="2910" y="1751"/>
                </a:cubicBezTo>
                <a:cubicBezTo>
                  <a:pt x="2913" y="1749"/>
                  <a:pt x="2916" y="1748"/>
                  <a:pt x="2919" y="1745"/>
                </a:cubicBezTo>
                <a:cubicBezTo>
                  <a:pt x="2924" y="1738"/>
                  <a:pt x="2937" y="1715"/>
                  <a:pt x="2939" y="1695"/>
                </a:cubicBezTo>
                <a:cubicBezTo>
                  <a:pt x="2940" y="1692"/>
                  <a:pt x="2940" y="1689"/>
                  <a:pt x="2940" y="1686"/>
                </a:cubicBezTo>
                <a:cubicBezTo>
                  <a:pt x="2940" y="1674"/>
                  <a:pt x="2938" y="1662"/>
                  <a:pt x="2938" y="1654"/>
                </a:cubicBezTo>
                <a:cubicBezTo>
                  <a:pt x="2938" y="1651"/>
                  <a:pt x="2938" y="1648"/>
                  <a:pt x="2939" y="1647"/>
                </a:cubicBezTo>
                <a:cubicBezTo>
                  <a:pt x="2941" y="1644"/>
                  <a:pt x="2942" y="1640"/>
                  <a:pt x="2942" y="1636"/>
                </a:cubicBezTo>
                <a:cubicBezTo>
                  <a:pt x="2941" y="1627"/>
                  <a:pt x="2936" y="1620"/>
                  <a:pt x="2929" y="1611"/>
                </a:cubicBezTo>
                <a:cubicBezTo>
                  <a:pt x="2925" y="1608"/>
                  <a:pt x="2923" y="1598"/>
                  <a:pt x="2922" y="1588"/>
                </a:cubicBezTo>
                <a:cubicBezTo>
                  <a:pt x="2921" y="1583"/>
                  <a:pt x="2921" y="1578"/>
                  <a:pt x="2921" y="1574"/>
                </a:cubicBezTo>
                <a:cubicBezTo>
                  <a:pt x="2920" y="1570"/>
                  <a:pt x="2920" y="1567"/>
                  <a:pt x="2918" y="1563"/>
                </a:cubicBezTo>
                <a:cubicBezTo>
                  <a:pt x="2918" y="1563"/>
                  <a:pt x="2918" y="1563"/>
                  <a:pt x="2918" y="1563"/>
                </a:cubicBezTo>
                <a:cubicBezTo>
                  <a:pt x="2918" y="1563"/>
                  <a:pt x="2918" y="1563"/>
                  <a:pt x="2918" y="1563"/>
                </a:cubicBezTo>
                <a:cubicBezTo>
                  <a:pt x="2918" y="1563"/>
                  <a:pt x="2918" y="1563"/>
                  <a:pt x="2918" y="1563"/>
                </a:cubicBezTo>
                <a:cubicBezTo>
                  <a:pt x="2918" y="1563"/>
                  <a:pt x="2917" y="1559"/>
                  <a:pt x="2917" y="1556"/>
                </a:cubicBezTo>
                <a:cubicBezTo>
                  <a:pt x="2917" y="1551"/>
                  <a:pt x="2918" y="1545"/>
                  <a:pt x="2919" y="1540"/>
                </a:cubicBezTo>
                <a:cubicBezTo>
                  <a:pt x="2919" y="1538"/>
                  <a:pt x="2920" y="1536"/>
                  <a:pt x="2921" y="1535"/>
                </a:cubicBezTo>
                <a:cubicBezTo>
                  <a:pt x="2921" y="1535"/>
                  <a:pt x="2921" y="1534"/>
                  <a:pt x="2921" y="1534"/>
                </a:cubicBezTo>
                <a:cubicBezTo>
                  <a:pt x="2925" y="1532"/>
                  <a:pt x="2927" y="1530"/>
                  <a:pt x="2930" y="1526"/>
                </a:cubicBezTo>
                <a:cubicBezTo>
                  <a:pt x="2938" y="1516"/>
                  <a:pt x="2948" y="1498"/>
                  <a:pt x="2954" y="1490"/>
                </a:cubicBezTo>
                <a:cubicBezTo>
                  <a:pt x="2959" y="1483"/>
                  <a:pt x="2968" y="1471"/>
                  <a:pt x="2977" y="1459"/>
                </a:cubicBezTo>
                <a:cubicBezTo>
                  <a:pt x="2986" y="1448"/>
                  <a:pt x="2997" y="1438"/>
                  <a:pt x="2999" y="1438"/>
                </a:cubicBezTo>
                <a:cubicBezTo>
                  <a:pt x="3008" y="1436"/>
                  <a:pt x="3016" y="1429"/>
                  <a:pt x="3023" y="1421"/>
                </a:cubicBezTo>
                <a:cubicBezTo>
                  <a:pt x="3031" y="1413"/>
                  <a:pt x="3036" y="1404"/>
                  <a:pt x="3037" y="1396"/>
                </a:cubicBezTo>
                <a:cubicBezTo>
                  <a:pt x="3037" y="1393"/>
                  <a:pt x="3046" y="1377"/>
                  <a:pt x="3054" y="1363"/>
                </a:cubicBezTo>
                <a:cubicBezTo>
                  <a:pt x="3059" y="1355"/>
                  <a:pt x="3063" y="1348"/>
                  <a:pt x="3066" y="1342"/>
                </a:cubicBezTo>
                <a:cubicBezTo>
                  <a:pt x="3070" y="1336"/>
                  <a:pt x="3072" y="1332"/>
                  <a:pt x="3073" y="1327"/>
                </a:cubicBezTo>
                <a:cubicBezTo>
                  <a:pt x="3073" y="1324"/>
                  <a:pt x="3076" y="1315"/>
                  <a:pt x="3078" y="1306"/>
                </a:cubicBezTo>
                <a:cubicBezTo>
                  <a:pt x="3081" y="1297"/>
                  <a:pt x="3084" y="1287"/>
                  <a:pt x="3084" y="1279"/>
                </a:cubicBezTo>
                <a:cubicBezTo>
                  <a:pt x="3084" y="1275"/>
                  <a:pt x="3083" y="1272"/>
                  <a:pt x="3081" y="1269"/>
                </a:cubicBezTo>
                <a:cubicBezTo>
                  <a:pt x="3078" y="1265"/>
                  <a:pt x="3074" y="1264"/>
                  <a:pt x="3071" y="1264"/>
                </a:cubicBezTo>
                <a:cubicBezTo>
                  <a:pt x="3054" y="1265"/>
                  <a:pt x="3023" y="1280"/>
                  <a:pt x="3017" y="1282"/>
                </a:cubicBezTo>
                <a:cubicBezTo>
                  <a:pt x="3011" y="1285"/>
                  <a:pt x="2998" y="1294"/>
                  <a:pt x="2983" y="1294"/>
                </a:cubicBezTo>
                <a:cubicBezTo>
                  <a:pt x="2982" y="1294"/>
                  <a:pt x="2981" y="1294"/>
                  <a:pt x="2980" y="1294"/>
                </a:cubicBezTo>
                <a:cubicBezTo>
                  <a:pt x="2976" y="1293"/>
                  <a:pt x="2975" y="1293"/>
                  <a:pt x="2974" y="1292"/>
                </a:cubicBezTo>
                <a:cubicBezTo>
                  <a:pt x="2974" y="1291"/>
                  <a:pt x="2973" y="1289"/>
                  <a:pt x="2973" y="1287"/>
                </a:cubicBezTo>
                <a:cubicBezTo>
                  <a:pt x="2973" y="1283"/>
                  <a:pt x="2974" y="1279"/>
                  <a:pt x="2974" y="1274"/>
                </a:cubicBezTo>
                <a:cubicBezTo>
                  <a:pt x="2974" y="1273"/>
                  <a:pt x="2974" y="1273"/>
                  <a:pt x="2974" y="1272"/>
                </a:cubicBezTo>
                <a:cubicBezTo>
                  <a:pt x="2974" y="1269"/>
                  <a:pt x="2972" y="1265"/>
                  <a:pt x="2970" y="1261"/>
                </a:cubicBezTo>
                <a:cubicBezTo>
                  <a:pt x="2971" y="1262"/>
                  <a:pt x="2972" y="1262"/>
                  <a:pt x="2972" y="1263"/>
                </a:cubicBezTo>
                <a:cubicBezTo>
                  <a:pt x="2975" y="1264"/>
                  <a:pt x="2978" y="1264"/>
                  <a:pt x="2981" y="1264"/>
                </a:cubicBezTo>
                <a:cubicBezTo>
                  <a:pt x="2988" y="1264"/>
                  <a:pt x="2997" y="1262"/>
                  <a:pt x="3005" y="1259"/>
                </a:cubicBezTo>
                <a:cubicBezTo>
                  <a:pt x="3014" y="1256"/>
                  <a:pt x="3021" y="1254"/>
                  <a:pt x="3024" y="1251"/>
                </a:cubicBezTo>
                <a:cubicBezTo>
                  <a:pt x="3029" y="1248"/>
                  <a:pt x="3069" y="1225"/>
                  <a:pt x="3079" y="1225"/>
                </a:cubicBezTo>
                <a:cubicBezTo>
                  <a:pt x="3088" y="1224"/>
                  <a:pt x="3093" y="1220"/>
                  <a:pt x="3098" y="1216"/>
                </a:cubicBezTo>
                <a:cubicBezTo>
                  <a:pt x="3102" y="1213"/>
                  <a:pt x="3106" y="1210"/>
                  <a:pt x="3113" y="1208"/>
                </a:cubicBezTo>
                <a:cubicBezTo>
                  <a:pt x="3133" y="1203"/>
                  <a:pt x="3146" y="1187"/>
                  <a:pt x="3157" y="1176"/>
                </a:cubicBezTo>
                <a:cubicBezTo>
                  <a:pt x="3170" y="1163"/>
                  <a:pt x="3184" y="1136"/>
                  <a:pt x="3189" y="1126"/>
                </a:cubicBezTo>
                <a:cubicBezTo>
                  <a:pt x="3191" y="1120"/>
                  <a:pt x="3200" y="1114"/>
                  <a:pt x="3201" y="1102"/>
                </a:cubicBezTo>
                <a:cubicBezTo>
                  <a:pt x="3201" y="1099"/>
                  <a:pt x="3200" y="1096"/>
                  <a:pt x="3199" y="1093"/>
                </a:cubicBezTo>
                <a:cubicBezTo>
                  <a:pt x="3195" y="1086"/>
                  <a:pt x="3187" y="1079"/>
                  <a:pt x="3179" y="1073"/>
                </a:cubicBezTo>
                <a:cubicBezTo>
                  <a:pt x="3170" y="1067"/>
                  <a:pt x="3162" y="1062"/>
                  <a:pt x="3155" y="1061"/>
                </a:cubicBezTo>
                <a:cubicBezTo>
                  <a:pt x="3155" y="1061"/>
                  <a:pt x="3155" y="1061"/>
                  <a:pt x="3154" y="1060"/>
                </a:cubicBezTo>
                <a:cubicBezTo>
                  <a:pt x="3153" y="1058"/>
                  <a:pt x="3152" y="1055"/>
                  <a:pt x="3151" y="1051"/>
                </a:cubicBezTo>
                <a:cubicBezTo>
                  <a:pt x="3150" y="1050"/>
                  <a:pt x="3150" y="1048"/>
                  <a:pt x="3148" y="1046"/>
                </a:cubicBezTo>
                <a:cubicBezTo>
                  <a:pt x="3147" y="1044"/>
                  <a:pt x="3144" y="1042"/>
                  <a:pt x="3141" y="1042"/>
                </a:cubicBezTo>
                <a:cubicBezTo>
                  <a:pt x="3137" y="1041"/>
                  <a:pt x="3134" y="1043"/>
                  <a:pt x="3133" y="1045"/>
                </a:cubicBezTo>
                <a:cubicBezTo>
                  <a:pt x="3128" y="1051"/>
                  <a:pt x="3128" y="1055"/>
                  <a:pt x="3121" y="1059"/>
                </a:cubicBezTo>
                <a:cubicBezTo>
                  <a:pt x="3116" y="1063"/>
                  <a:pt x="3110" y="1067"/>
                  <a:pt x="3105" y="1071"/>
                </a:cubicBezTo>
                <a:cubicBezTo>
                  <a:pt x="3101" y="1074"/>
                  <a:pt x="3097" y="1076"/>
                  <a:pt x="3096" y="1076"/>
                </a:cubicBezTo>
                <a:cubicBezTo>
                  <a:pt x="3096" y="1076"/>
                  <a:pt x="3096" y="1075"/>
                  <a:pt x="3096" y="1075"/>
                </a:cubicBezTo>
                <a:cubicBezTo>
                  <a:pt x="3096" y="1070"/>
                  <a:pt x="3095" y="1063"/>
                  <a:pt x="3087" y="1056"/>
                </a:cubicBezTo>
                <a:cubicBezTo>
                  <a:pt x="3081" y="1049"/>
                  <a:pt x="3077" y="1046"/>
                  <a:pt x="3074" y="1043"/>
                </a:cubicBezTo>
                <a:cubicBezTo>
                  <a:pt x="3072" y="1040"/>
                  <a:pt x="3072" y="1039"/>
                  <a:pt x="3072" y="1035"/>
                </a:cubicBezTo>
                <a:cubicBezTo>
                  <a:pt x="3072" y="1030"/>
                  <a:pt x="3069" y="1027"/>
                  <a:pt x="3067" y="1023"/>
                </a:cubicBezTo>
                <a:cubicBezTo>
                  <a:pt x="3059" y="1013"/>
                  <a:pt x="3045" y="999"/>
                  <a:pt x="3044" y="993"/>
                </a:cubicBezTo>
                <a:cubicBezTo>
                  <a:pt x="3044" y="992"/>
                  <a:pt x="3044" y="992"/>
                  <a:pt x="3044" y="992"/>
                </a:cubicBezTo>
                <a:cubicBezTo>
                  <a:pt x="3044" y="988"/>
                  <a:pt x="3046" y="984"/>
                  <a:pt x="3049" y="980"/>
                </a:cubicBezTo>
                <a:cubicBezTo>
                  <a:pt x="3051" y="977"/>
                  <a:pt x="3055" y="975"/>
                  <a:pt x="3055" y="975"/>
                </a:cubicBezTo>
                <a:cubicBezTo>
                  <a:pt x="3056" y="975"/>
                  <a:pt x="3056" y="975"/>
                  <a:pt x="3056" y="976"/>
                </a:cubicBezTo>
                <a:cubicBezTo>
                  <a:pt x="3061" y="987"/>
                  <a:pt x="3066" y="1008"/>
                  <a:pt x="3084" y="1018"/>
                </a:cubicBezTo>
                <a:cubicBezTo>
                  <a:pt x="3091" y="1022"/>
                  <a:pt x="3097" y="1028"/>
                  <a:pt x="3104" y="1032"/>
                </a:cubicBezTo>
                <a:cubicBezTo>
                  <a:pt x="3110" y="1037"/>
                  <a:pt x="3115" y="1041"/>
                  <a:pt x="3120" y="1044"/>
                </a:cubicBezTo>
                <a:cubicBezTo>
                  <a:pt x="3121" y="1044"/>
                  <a:pt x="3123" y="1044"/>
                  <a:pt x="3124" y="1044"/>
                </a:cubicBezTo>
                <a:cubicBezTo>
                  <a:pt x="3131" y="1044"/>
                  <a:pt x="3136" y="1040"/>
                  <a:pt x="3141" y="1037"/>
                </a:cubicBezTo>
                <a:cubicBezTo>
                  <a:pt x="3143" y="1035"/>
                  <a:pt x="3146" y="1034"/>
                  <a:pt x="3148" y="1033"/>
                </a:cubicBezTo>
                <a:cubicBezTo>
                  <a:pt x="3149" y="1032"/>
                  <a:pt x="3149" y="1032"/>
                  <a:pt x="3150" y="1032"/>
                </a:cubicBezTo>
                <a:cubicBezTo>
                  <a:pt x="3152" y="1034"/>
                  <a:pt x="3156" y="1040"/>
                  <a:pt x="3160" y="1046"/>
                </a:cubicBezTo>
                <a:cubicBezTo>
                  <a:pt x="3165" y="1053"/>
                  <a:pt x="3170" y="1060"/>
                  <a:pt x="3178" y="1063"/>
                </a:cubicBezTo>
                <a:cubicBezTo>
                  <a:pt x="3184" y="1066"/>
                  <a:pt x="3195" y="1067"/>
                  <a:pt x="3206" y="1068"/>
                </a:cubicBezTo>
                <a:cubicBezTo>
                  <a:pt x="3217" y="1069"/>
                  <a:pt x="3227" y="1069"/>
                  <a:pt x="3230" y="1069"/>
                </a:cubicBezTo>
                <a:cubicBezTo>
                  <a:pt x="3232" y="1069"/>
                  <a:pt x="3234" y="1069"/>
                  <a:pt x="3238" y="1069"/>
                </a:cubicBezTo>
                <a:cubicBezTo>
                  <a:pt x="3242" y="1069"/>
                  <a:pt x="3249" y="1069"/>
                  <a:pt x="3255" y="1068"/>
                </a:cubicBezTo>
                <a:cubicBezTo>
                  <a:pt x="3260" y="1066"/>
                  <a:pt x="3266" y="1065"/>
                  <a:pt x="3270" y="1059"/>
                </a:cubicBezTo>
                <a:cubicBezTo>
                  <a:pt x="3272" y="1055"/>
                  <a:pt x="3273" y="1054"/>
                  <a:pt x="3274" y="1054"/>
                </a:cubicBezTo>
                <a:cubicBezTo>
                  <a:pt x="3274" y="1054"/>
                  <a:pt x="3275" y="1054"/>
                  <a:pt x="3278" y="1054"/>
                </a:cubicBezTo>
                <a:cubicBezTo>
                  <a:pt x="3279" y="1055"/>
                  <a:pt x="3283" y="1061"/>
                  <a:pt x="3286" y="1066"/>
                </a:cubicBezTo>
                <a:cubicBezTo>
                  <a:pt x="3291" y="1072"/>
                  <a:pt x="3294" y="1078"/>
                  <a:pt x="3301" y="1081"/>
                </a:cubicBezTo>
                <a:cubicBezTo>
                  <a:pt x="3306" y="1083"/>
                  <a:pt x="3311" y="1083"/>
                  <a:pt x="3314" y="1084"/>
                </a:cubicBezTo>
                <a:cubicBezTo>
                  <a:pt x="3317" y="1086"/>
                  <a:pt x="3318" y="1086"/>
                  <a:pt x="3319" y="1093"/>
                </a:cubicBezTo>
                <a:cubicBezTo>
                  <a:pt x="3319" y="1093"/>
                  <a:pt x="3319" y="1094"/>
                  <a:pt x="3319" y="1094"/>
                </a:cubicBezTo>
                <a:cubicBezTo>
                  <a:pt x="3319" y="1095"/>
                  <a:pt x="3319" y="1097"/>
                  <a:pt x="3319" y="1098"/>
                </a:cubicBezTo>
                <a:cubicBezTo>
                  <a:pt x="3319" y="1107"/>
                  <a:pt x="3321" y="1115"/>
                  <a:pt x="3324" y="1122"/>
                </a:cubicBezTo>
                <a:cubicBezTo>
                  <a:pt x="3327" y="1128"/>
                  <a:pt x="3332" y="1134"/>
                  <a:pt x="3339" y="1135"/>
                </a:cubicBezTo>
                <a:cubicBezTo>
                  <a:pt x="3339" y="1135"/>
                  <a:pt x="3340" y="1135"/>
                  <a:pt x="3340" y="1135"/>
                </a:cubicBezTo>
                <a:cubicBezTo>
                  <a:pt x="3349" y="1134"/>
                  <a:pt x="3354" y="1129"/>
                  <a:pt x="3360" y="1124"/>
                </a:cubicBezTo>
                <a:cubicBezTo>
                  <a:pt x="3360" y="1134"/>
                  <a:pt x="3360" y="1148"/>
                  <a:pt x="3359" y="1155"/>
                </a:cubicBezTo>
                <a:cubicBezTo>
                  <a:pt x="3359" y="1155"/>
                  <a:pt x="3359" y="1156"/>
                  <a:pt x="3359" y="1157"/>
                </a:cubicBezTo>
                <a:cubicBezTo>
                  <a:pt x="3359" y="1173"/>
                  <a:pt x="3372" y="1214"/>
                  <a:pt x="3372" y="1215"/>
                </a:cubicBezTo>
                <a:cubicBezTo>
                  <a:pt x="3372" y="1215"/>
                  <a:pt x="3372" y="1215"/>
                  <a:pt x="3372" y="1215"/>
                </a:cubicBezTo>
                <a:cubicBezTo>
                  <a:pt x="3372" y="1215"/>
                  <a:pt x="3389" y="1258"/>
                  <a:pt x="3394" y="1268"/>
                </a:cubicBezTo>
                <a:cubicBezTo>
                  <a:pt x="3397" y="1274"/>
                  <a:pt x="3403" y="1283"/>
                  <a:pt x="3408" y="1293"/>
                </a:cubicBezTo>
                <a:cubicBezTo>
                  <a:pt x="3413" y="1302"/>
                  <a:pt x="3418" y="1313"/>
                  <a:pt x="3418" y="1316"/>
                </a:cubicBezTo>
                <a:cubicBezTo>
                  <a:pt x="3418" y="1323"/>
                  <a:pt x="3418" y="1331"/>
                  <a:pt x="3420" y="1338"/>
                </a:cubicBezTo>
                <a:cubicBezTo>
                  <a:pt x="3421" y="1342"/>
                  <a:pt x="3422" y="1345"/>
                  <a:pt x="3423" y="1348"/>
                </a:cubicBezTo>
                <a:cubicBezTo>
                  <a:pt x="3425" y="1351"/>
                  <a:pt x="3428" y="1354"/>
                  <a:pt x="3433" y="1354"/>
                </a:cubicBezTo>
                <a:cubicBezTo>
                  <a:pt x="3438" y="1354"/>
                  <a:pt x="3441" y="1351"/>
                  <a:pt x="3443" y="1348"/>
                </a:cubicBezTo>
                <a:cubicBezTo>
                  <a:pt x="3449" y="1340"/>
                  <a:pt x="3454" y="1325"/>
                  <a:pt x="3460" y="1315"/>
                </a:cubicBezTo>
                <a:cubicBezTo>
                  <a:pt x="3461" y="1314"/>
                  <a:pt x="3461" y="1313"/>
                  <a:pt x="3462" y="1311"/>
                </a:cubicBezTo>
                <a:cubicBezTo>
                  <a:pt x="3461" y="1314"/>
                  <a:pt x="3460" y="1317"/>
                  <a:pt x="3459" y="1320"/>
                </a:cubicBezTo>
                <a:cubicBezTo>
                  <a:pt x="3458" y="1327"/>
                  <a:pt x="3457" y="1335"/>
                  <a:pt x="3457" y="1343"/>
                </a:cubicBezTo>
                <a:cubicBezTo>
                  <a:pt x="3457" y="1349"/>
                  <a:pt x="3457" y="1354"/>
                  <a:pt x="3459" y="1359"/>
                </a:cubicBezTo>
                <a:cubicBezTo>
                  <a:pt x="3460" y="1364"/>
                  <a:pt x="3463" y="1369"/>
                  <a:pt x="3469" y="1372"/>
                </a:cubicBezTo>
                <a:cubicBezTo>
                  <a:pt x="3471" y="1373"/>
                  <a:pt x="3472" y="1373"/>
                  <a:pt x="3474" y="1373"/>
                </a:cubicBezTo>
                <a:cubicBezTo>
                  <a:pt x="3483" y="1373"/>
                  <a:pt x="3488" y="1367"/>
                  <a:pt x="3491" y="1361"/>
                </a:cubicBezTo>
                <a:cubicBezTo>
                  <a:pt x="3494" y="1355"/>
                  <a:pt x="3495" y="1349"/>
                  <a:pt x="3495" y="1343"/>
                </a:cubicBezTo>
                <a:cubicBezTo>
                  <a:pt x="3495" y="1340"/>
                  <a:pt x="3495" y="1337"/>
                  <a:pt x="3493" y="1334"/>
                </a:cubicBezTo>
                <a:cubicBezTo>
                  <a:pt x="3492" y="1333"/>
                  <a:pt x="3490" y="1325"/>
                  <a:pt x="3488" y="1319"/>
                </a:cubicBezTo>
                <a:cubicBezTo>
                  <a:pt x="3487" y="1315"/>
                  <a:pt x="3486" y="1312"/>
                  <a:pt x="3484" y="1309"/>
                </a:cubicBezTo>
                <a:cubicBezTo>
                  <a:pt x="3482" y="1306"/>
                  <a:pt x="3479" y="1303"/>
                  <a:pt x="3474" y="1303"/>
                </a:cubicBezTo>
                <a:cubicBezTo>
                  <a:pt x="3472" y="1303"/>
                  <a:pt x="3468" y="1303"/>
                  <a:pt x="3468" y="1304"/>
                </a:cubicBezTo>
                <a:cubicBezTo>
                  <a:pt x="3468" y="1304"/>
                  <a:pt x="3468" y="1304"/>
                  <a:pt x="3468" y="1304"/>
                </a:cubicBezTo>
                <a:cubicBezTo>
                  <a:pt x="3464" y="1306"/>
                  <a:pt x="3464" y="1308"/>
                  <a:pt x="3463" y="1310"/>
                </a:cubicBezTo>
                <a:cubicBezTo>
                  <a:pt x="3469" y="1296"/>
                  <a:pt x="3471" y="1279"/>
                  <a:pt x="3474" y="1267"/>
                </a:cubicBezTo>
                <a:cubicBezTo>
                  <a:pt x="3478" y="1252"/>
                  <a:pt x="3478" y="1227"/>
                  <a:pt x="3478" y="1217"/>
                </a:cubicBezTo>
                <a:cubicBezTo>
                  <a:pt x="3478" y="1211"/>
                  <a:pt x="3482" y="1205"/>
                  <a:pt x="3498" y="1196"/>
                </a:cubicBezTo>
                <a:cubicBezTo>
                  <a:pt x="3517" y="1186"/>
                  <a:pt x="3528" y="1162"/>
                  <a:pt x="3540" y="1151"/>
                </a:cubicBezTo>
                <a:cubicBezTo>
                  <a:pt x="3549" y="1144"/>
                  <a:pt x="3552" y="1135"/>
                  <a:pt x="3556" y="1129"/>
                </a:cubicBezTo>
                <a:cubicBezTo>
                  <a:pt x="3561" y="1124"/>
                  <a:pt x="3564" y="1120"/>
                  <a:pt x="3577" y="1120"/>
                </a:cubicBezTo>
                <a:cubicBezTo>
                  <a:pt x="3591" y="1120"/>
                  <a:pt x="3597" y="1120"/>
                  <a:pt x="3602" y="1119"/>
                </a:cubicBezTo>
                <a:cubicBezTo>
                  <a:pt x="3608" y="1117"/>
                  <a:pt x="3611" y="1113"/>
                  <a:pt x="3614" y="1109"/>
                </a:cubicBezTo>
                <a:cubicBezTo>
                  <a:pt x="3615" y="1107"/>
                  <a:pt x="3617" y="1105"/>
                  <a:pt x="3618" y="1104"/>
                </a:cubicBezTo>
                <a:cubicBezTo>
                  <a:pt x="3619" y="1104"/>
                  <a:pt x="3619" y="1104"/>
                  <a:pt x="3619" y="1104"/>
                </a:cubicBezTo>
                <a:cubicBezTo>
                  <a:pt x="3619" y="1105"/>
                  <a:pt x="3620" y="1106"/>
                  <a:pt x="3620" y="1108"/>
                </a:cubicBezTo>
                <a:cubicBezTo>
                  <a:pt x="3623" y="1118"/>
                  <a:pt x="3629" y="1127"/>
                  <a:pt x="3635" y="1135"/>
                </a:cubicBezTo>
                <a:cubicBezTo>
                  <a:pt x="3640" y="1144"/>
                  <a:pt x="3646" y="1151"/>
                  <a:pt x="3648" y="1153"/>
                </a:cubicBezTo>
                <a:cubicBezTo>
                  <a:pt x="3650" y="1157"/>
                  <a:pt x="3656" y="1170"/>
                  <a:pt x="3656" y="1183"/>
                </a:cubicBezTo>
                <a:cubicBezTo>
                  <a:pt x="3656" y="1184"/>
                  <a:pt x="3656" y="1185"/>
                  <a:pt x="3656" y="1186"/>
                </a:cubicBezTo>
                <a:cubicBezTo>
                  <a:pt x="3656" y="1189"/>
                  <a:pt x="3656" y="1192"/>
                  <a:pt x="3656" y="1195"/>
                </a:cubicBezTo>
                <a:cubicBezTo>
                  <a:pt x="3656" y="1203"/>
                  <a:pt x="3656" y="1210"/>
                  <a:pt x="3658" y="1216"/>
                </a:cubicBezTo>
                <a:cubicBezTo>
                  <a:pt x="3658" y="1219"/>
                  <a:pt x="3659" y="1221"/>
                  <a:pt x="3660" y="1224"/>
                </a:cubicBezTo>
                <a:cubicBezTo>
                  <a:pt x="3662" y="1226"/>
                  <a:pt x="3665" y="1229"/>
                  <a:pt x="3669" y="1229"/>
                </a:cubicBezTo>
                <a:cubicBezTo>
                  <a:pt x="3674" y="1228"/>
                  <a:pt x="3676" y="1225"/>
                  <a:pt x="3679" y="1223"/>
                </a:cubicBezTo>
                <a:cubicBezTo>
                  <a:pt x="3684" y="1217"/>
                  <a:pt x="3689" y="1207"/>
                  <a:pt x="3691" y="1203"/>
                </a:cubicBezTo>
                <a:cubicBezTo>
                  <a:pt x="3692" y="1202"/>
                  <a:pt x="3694" y="1201"/>
                  <a:pt x="3696" y="1200"/>
                </a:cubicBezTo>
                <a:cubicBezTo>
                  <a:pt x="3699" y="1198"/>
                  <a:pt x="3703" y="1196"/>
                  <a:pt x="3704" y="1197"/>
                </a:cubicBezTo>
                <a:cubicBezTo>
                  <a:pt x="3704" y="1197"/>
                  <a:pt x="3704" y="1198"/>
                  <a:pt x="3704" y="1199"/>
                </a:cubicBezTo>
                <a:cubicBezTo>
                  <a:pt x="3704" y="1200"/>
                  <a:pt x="3704" y="1200"/>
                  <a:pt x="3704" y="1200"/>
                </a:cubicBezTo>
                <a:cubicBezTo>
                  <a:pt x="3704" y="1204"/>
                  <a:pt x="3704" y="1207"/>
                  <a:pt x="3704" y="1210"/>
                </a:cubicBezTo>
                <a:cubicBezTo>
                  <a:pt x="3704" y="1230"/>
                  <a:pt x="3706" y="1249"/>
                  <a:pt x="3706" y="1260"/>
                </a:cubicBezTo>
                <a:cubicBezTo>
                  <a:pt x="3707" y="1268"/>
                  <a:pt x="3711" y="1278"/>
                  <a:pt x="3716" y="1287"/>
                </a:cubicBezTo>
                <a:cubicBezTo>
                  <a:pt x="3717" y="1290"/>
                  <a:pt x="3719" y="1293"/>
                  <a:pt x="3720" y="1295"/>
                </a:cubicBezTo>
                <a:cubicBezTo>
                  <a:pt x="3720" y="1295"/>
                  <a:pt x="3720" y="1295"/>
                  <a:pt x="3720" y="1295"/>
                </a:cubicBezTo>
                <a:cubicBezTo>
                  <a:pt x="3714" y="1296"/>
                  <a:pt x="3711" y="1300"/>
                  <a:pt x="3709" y="1304"/>
                </a:cubicBezTo>
                <a:cubicBezTo>
                  <a:pt x="3707" y="1308"/>
                  <a:pt x="3707" y="1313"/>
                  <a:pt x="3707" y="1317"/>
                </a:cubicBezTo>
                <a:cubicBezTo>
                  <a:pt x="3707" y="1323"/>
                  <a:pt x="3708" y="1329"/>
                  <a:pt x="3711" y="1334"/>
                </a:cubicBezTo>
                <a:cubicBezTo>
                  <a:pt x="3715" y="1339"/>
                  <a:pt x="3719" y="1340"/>
                  <a:pt x="3722" y="1342"/>
                </a:cubicBezTo>
                <a:cubicBezTo>
                  <a:pt x="3724" y="1344"/>
                  <a:pt x="3727" y="1347"/>
                  <a:pt x="3730" y="1359"/>
                </a:cubicBezTo>
                <a:cubicBezTo>
                  <a:pt x="3736" y="1385"/>
                  <a:pt x="3747" y="1410"/>
                  <a:pt x="3752" y="1420"/>
                </a:cubicBezTo>
                <a:cubicBezTo>
                  <a:pt x="3755" y="1426"/>
                  <a:pt x="3762" y="1432"/>
                  <a:pt x="3768" y="1438"/>
                </a:cubicBezTo>
                <a:cubicBezTo>
                  <a:pt x="3775" y="1443"/>
                  <a:pt x="3781" y="1449"/>
                  <a:pt x="3784" y="1452"/>
                </a:cubicBezTo>
                <a:cubicBezTo>
                  <a:pt x="3787" y="1454"/>
                  <a:pt x="3790" y="1456"/>
                  <a:pt x="3794" y="1456"/>
                </a:cubicBezTo>
                <a:cubicBezTo>
                  <a:pt x="3802" y="1456"/>
                  <a:pt x="3808" y="1449"/>
                  <a:pt x="3808" y="1441"/>
                </a:cubicBezTo>
                <a:cubicBezTo>
                  <a:pt x="3808" y="1438"/>
                  <a:pt x="3808" y="1436"/>
                  <a:pt x="3806" y="1433"/>
                </a:cubicBezTo>
                <a:cubicBezTo>
                  <a:pt x="3801" y="1425"/>
                  <a:pt x="3793" y="1412"/>
                  <a:pt x="3792" y="1405"/>
                </a:cubicBezTo>
                <a:cubicBezTo>
                  <a:pt x="3791" y="1394"/>
                  <a:pt x="3785" y="1379"/>
                  <a:pt x="3775" y="1362"/>
                </a:cubicBezTo>
                <a:cubicBezTo>
                  <a:pt x="3765" y="1344"/>
                  <a:pt x="3757" y="1339"/>
                  <a:pt x="3752" y="1330"/>
                </a:cubicBezTo>
                <a:cubicBezTo>
                  <a:pt x="3748" y="1323"/>
                  <a:pt x="3740" y="1313"/>
                  <a:pt x="3733" y="1306"/>
                </a:cubicBezTo>
                <a:cubicBezTo>
                  <a:pt x="3735" y="1306"/>
                  <a:pt x="3738" y="1304"/>
                  <a:pt x="3738" y="1302"/>
                </a:cubicBezTo>
                <a:cubicBezTo>
                  <a:pt x="3739" y="1301"/>
                  <a:pt x="3739" y="1300"/>
                  <a:pt x="3739" y="1299"/>
                </a:cubicBezTo>
                <a:cubicBezTo>
                  <a:pt x="3739" y="1296"/>
                  <a:pt x="3741" y="1288"/>
                  <a:pt x="3744" y="1280"/>
                </a:cubicBezTo>
                <a:cubicBezTo>
                  <a:pt x="3746" y="1272"/>
                  <a:pt x="3748" y="1263"/>
                  <a:pt x="3749" y="1256"/>
                </a:cubicBezTo>
                <a:cubicBezTo>
                  <a:pt x="3751" y="1258"/>
                  <a:pt x="3755" y="1261"/>
                  <a:pt x="3759" y="1265"/>
                </a:cubicBezTo>
                <a:cubicBezTo>
                  <a:pt x="3766" y="1270"/>
                  <a:pt x="3772" y="1279"/>
                  <a:pt x="3776" y="1286"/>
                </a:cubicBezTo>
                <a:cubicBezTo>
                  <a:pt x="3780" y="1294"/>
                  <a:pt x="3783" y="1299"/>
                  <a:pt x="3783" y="1299"/>
                </a:cubicBezTo>
                <a:cubicBezTo>
                  <a:pt x="3784" y="1301"/>
                  <a:pt x="3784" y="1301"/>
                  <a:pt x="3784" y="1301"/>
                </a:cubicBezTo>
                <a:cubicBezTo>
                  <a:pt x="3784" y="1301"/>
                  <a:pt x="3788" y="1305"/>
                  <a:pt x="3792" y="1310"/>
                </a:cubicBezTo>
                <a:cubicBezTo>
                  <a:pt x="3795" y="1315"/>
                  <a:pt x="3800" y="1321"/>
                  <a:pt x="3800" y="1322"/>
                </a:cubicBezTo>
                <a:cubicBezTo>
                  <a:pt x="3801" y="1327"/>
                  <a:pt x="3806" y="1329"/>
                  <a:pt x="3809" y="1329"/>
                </a:cubicBezTo>
                <a:cubicBezTo>
                  <a:pt x="3815" y="1329"/>
                  <a:pt x="3819" y="1326"/>
                  <a:pt x="3823" y="1323"/>
                </a:cubicBezTo>
                <a:cubicBezTo>
                  <a:pt x="3827" y="1320"/>
                  <a:pt x="3831" y="1317"/>
                  <a:pt x="3833" y="1312"/>
                </a:cubicBezTo>
                <a:cubicBezTo>
                  <a:pt x="3837" y="1304"/>
                  <a:pt x="3837" y="1303"/>
                  <a:pt x="3844" y="1300"/>
                </a:cubicBezTo>
                <a:cubicBezTo>
                  <a:pt x="3848" y="1299"/>
                  <a:pt x="3854" y="1298"/>
                  <a:pt x="3860" y="1296"/>
                </a:cubicBezTo>
                <a:cubicBezTo>
                  <a:pt x="3865" y="1293"/>
                  <a:pt x="3871" y="1287"/>
                  <a:pt x="3873" y="1278"/>
                </a:cubicBezTo>
                <a:cubicBezTo>
                  <a:pt x="3874" y="1269"/>
                  <a:pt x="3880" y="1258"/>
                  <a:pt x="3880" y="1245"/>
                </a:cubicBezTo>
                <a:cubicBezTo>
                  <a:pt x="3880" y="1237"/>
                  <a:pt x="3878" y="1228"/>
                  <a:pt x="3872" y="1219"/>
                </a:cubicBezTo>
                <a:cubicBezTo>
                  <a:pt x="3858" y="1199"/>
                  <a:pt x="3851" y="1185"/>
                  <a:pt x="3840" y="1174"/>
                </a:cubicBezTo>
                <a:cubicBezTo>
                  <a:pt x="3836" y="1171"/>
                  <a:pt x="3831" y="1162"/>
                  <a:pt x="3828" y="1155"/>
                </a:cubicBezTo>
                <a:cubicBezTo>
                  <a:pt x="3826" y="1151"/>
                  <a:pt x="3825" y="1148"/>
                  <a:pt x="3824" y="1146"/>
                </a:cubicBezTo>
                <a:cubicBezTo>
                  <a:pt x="3830" y="1139"/>
                  <a:pt x="3845" y="1123"/>
                  <a:pt x="3851" y="1116"/>
                </a:cubicBezTo>
                <a:cubicBezTo>
                  <a:pt x="3852" y="1115"/>
                  <a:pt x="3853" y="1114"/>
                  <a:pt x="3854" y="1114"/>
                </a:cubicBezTo>
                <a:cubicBezTo>
                  <a:pt x="3855" y="1114"/>
                  <a:pt x="3858" y="1116"/>
                  <a:pt x="3858" y="1120"/>
                </a:cubicBezTo>
                <a:cubicBezTo>
                  <a:pt x="3858" y="1120"/>
                  <a:pt x="3858" y="1120"/>
                  <a:pt x="3858" y="1121"/>
                </a:cubicBezTo>
                <a:cubicBezTo>
                  <a:pt x="3859" y="1123"/>
                  <a:pt x="3857" y="1127"/>
                  <a:pt x="3854" y="1133"/>
                </a:cubicBezTo>
                <a:cubicBezTo>
                  <a:pt x="3851" y="1138"/>
                  <a:pt x="3847" y="1146"/>
                  <a:pt x="3846" y="1157"/>
                </a:cubicBezTo>
                <a:cubicBezTo>
                  <a:pt x="3846" y="1159"/>
                  <a:pt x="3846" y="1160"/>
                  <a:pt x="3846" y="1162"/>
                </a:cubicBezTo>
                <a:cubicBezTo>
                  <a:pt x="3846" y="1177"/>
                  <a:pt x="3855" y="1187"/>
                  <a:pt x="3865" y="1187"/>
                </a:cubicBezTo>
                <a:cubicBezTo>
                  <a:pt x="3869" y="1187"/>
                  <a:pt x="3873" y="1186"/>
                  <a:pt x="3875" y="1182"/>
                </a:cubicBezTo>
                <a:cubicBezTo>
                  <a:pt x="3877" y="1179"/>
                  <a:pt x="3882" y="1173"/>
                  <a:pt x="3885" y="1167"/>
                </a:cubicBezTo>
                <a:cubicBezTo>
                  <a:pt x="3887" y="1164"/>
                  <a:pt x="3889" y="1161"/>
                  <a:pt x="3890" y="1159"/>
                </a:cubicBezTo>
                <a:cubicBezTo>
                  <a:pt x="3891" y="1156"/>
                  <a:pt x="3892" y="1155"/>
                  <a:pt x="3892" y="1151"/>
                </a:cubicBezTo>
                <a:cubicBezTo>
                  <a:pt x="3892" y="1148"/>
                  <a:pt x="3891" y="1145"/>
                  <a:pt x="3889" y="1144"/>
                </a:cubicBezTo>
                <a:cubicBezTo>
                  <a:pt x="3886" y="1141"/>
                  <a:pt x="3884" y="1143"/>
                  <a:pt x="3884" y="1133"/>
                </a:cubicBezTo>
                <a:cubicBezTo>
                  <a:pt x="3884" y="1132"/>
                  <a:pt x="3884" y="1132"/>
                  <a:pt x="3884" y="1132"/>
                </a:cubicBezTo>
                <a:cubicBezTo>
                  <a:pt x="3884" y="1127"/>
                  <a:pt x="3885" y="1123"/>
                  <a:pt x="3888" y="1120"/>
                </a:cubicBezTo>
                <a:cubicBezTo>
                  <a:pt x="3891" y="1118"/>
                  <a:pt x="3894" y="1116"/>
                  <a:pt x="3895" y="1116"/>
                </a:cubicBezTo>
                <a:cubicBezTo>
                  <a:pt x="3898" y="1118"/>
                  <a:pt x="3900" y="1118"/>
                  <a:pt x="3903" y="1118"/>
                </a:cubicBezTo>
                <a:cubicBezTo>
                  <a:pt x="3917" y="1118"/>
                  <a:pt x="3945" y="1110"/>
                  <a:pt x="3961" y="1100"/>
                </a:cubicBezTo>
                <a:cubicBezTo>
                  <a:pt x="3980" y="1087"/>
                  <a:pt x="3991" y="1063"/>
                  <a:pt x="4000" y="1055"/>
                </a:cubicBezTo>
                <a:cubicBezTo>
                  <a:pt x="4005" y="1050"/>
                  <a:pt x="4016" y="1040"/>
                  <a:pt x="4026" y="1029"/>
                </a:cubicBezTo>
                <a:cubicBezTo>
                  <a:pt x="4036" y="1018"/>
                  <a:pt x="4045" y="1007"/>
                  <a:pt x="4046" y="995"/>
                </a:cubicBezTo>
                <a:cubicBezTo>
                  <a:pt x="4046" y="995"/>
                  <a:pt x="4045" y="994"/>
                  <a:pt x="4045" y="993"/>
                </a:cubicBezTo>
                <a:cubicBezTo>
                  <a:pt x="4043" y="979"/>
                  <a:pt x="4047" y="958"/>
                  <a:pt x="4037" y="936"/>
                </a:cubicBezTo>
                <a:cubicBezTo>
                  <a:pt x="4028" y="918"/>
                  <a:pt x="4017" y="905"/>
                  <a:pt x="4012" y="898"/>
                </a:cubicBezTo>
                <a:cubicBezTo>
                  <a:pt x="4014" y="896"/>
                  <a:pt x="4018" y="895"/>
                  <a:pt x="4022" y="893"/>
                </a:cubicBezTo>
                <a:cubicBezTo>
                  <a:pt x="4028" y="890"/>
                  <a:pt x="4036" y="887"/>
                  <a:pt x="4041" y="881"/>
                </a:cubicBezTo>
                <a:cubicBezTo>
                  <a:pt x="4046" y="876"/>
                  <a:pt x="4048" y="871"/>
                  <a:pt x="4048" y="866"/>
                </a:cubicBezTo>
                <a:cubicBezTo>
                  <a:pt x="4048" y="856"/>
                  <a:pt x="4041" y="849"/>
                  <a:pt x="4032" y="848"/>
                </a:cubicBezTo>
                <a:cubicBezTo>
                  <a:pt x="4032" y="848"/>
                  <a:pt x="4031" y="849"/>
                  <a:pt x="4030" y="849"/>
                </a:cubicBezTo>
                <a:cubicBezTo>
                  <a:pt x="4025" y="850"/>
                  <a:pt x="4013" y="853"/>
                  <a:pt x="4008" y="853"/>
                </a:cubicBezTo>
                <a:cubicBezTo>
                  <a:pt x="4007" y="853"/>
                  <a:pt x="4006" y="853"/>
                  <a:pt x="4006" y="853"/>
                </a:cubicBezTo>
                <a:cubicBezTo>
                  <a:pt x="4005" y="853"/>
                  <a:pt x="4000" y="847"/>
                  <a:pt x="3990" y="838"/>
                </a:cubicBezTo>
                <a:cubicBezTo>
                  <a:pt x="3989" y="836"/>
                  <a:pt x="3989" y="836"/>
                  <a:pt x="3989" y="835"/>
                </a:cubicBezTo>
                <a:cubicBezTo>
                  <a:pt x="3989" y="834"/>
                  <a:pt x="3990" y="832"/>
                  <a:pt x="3991" y="831"/>
                </a:cubicBezTo>
                <a:cubicBezTo>
                  <a:pt x="3992" y="830"/>
                  <a:pt x="3992" y="829"/>
                  <a:pt x="3993" y="829"/>
                </a:cubicBezTo>
                <a:cubicBezTo>
                  <a:pt x="3993" y="829"/>
                  <a:pt x="3993" y="829"/>
                  <a:pt x="3993" y="829"/>
                </a:cubicBezTo>
                <a:cubicBezTo>
                  <a:pt x="3994" y="829"/>
                  <a:pt x="3995" y="829"/>
                  <a:pt x="3995" y="829"/>
                </a:cubicBezTo>
                <a:cubicBezTo>
                  <a:pt x="4002" y="829"/>
                  <a:pt x="4007" y="824"/>
                  <a:pt x="4012" y="820"/>
                </a:cubicBezTo>
                <a:cubicBezTo>
                  <a:pt x="4017" y="815"/>
                  <a:pt x="4022" y="811"/>
                  <a:pt x="4026" y="807"/>
                </a:cubicBezTo>
                <a:cubicBezTo>
                  <a:pt x="4024" y="812"/>
                  <a:pt x="4023" y="817"/>
                  <a:pt x="4023" y="822"/>
                </a:cubicBezTo>
                <a:cubicBezTo>
                  <a:pt x="4023" y="825"/>
                  <a:pt x="4024" y="827"/>
                  <a:pt x="4025" y="830"/>
                </a:cubicBezTo>
                <a:cubicBezTo>
                  <a:pt x="4026" y="833"/>
                  <a:pt x="4029" y="835"/>
                  <a:pt x="4033" y="836"/>
                </a:cubicBezTo>
                <a:cubicBezTo>
                  <a:pt x="4033" y="836"/>
                  <a:pt x="4034" y="836"/>
                  <a:pt x="4034" y="836"/>
                </a:cubicBezTo>
                <a:cubicBezTo>
                  <a:pt x="4043" y="836"/>
                  <a:pt x="4050" y="830"/>
                  <a:pt x="4057" y="825"/>
                </a:cubicBezTo>
                <a:cubicBezTo>
                  <a:pt x="4060" y="823"/>
                  <a:pt x="4063" y="820"/>
                  <a:pt x="4066" y="818"/>
                </a:cubicBezTo>
                <a:cubicBezTo>
                  <a:pt x="4066" y="818"/>
                  <a:pt x="4066" y="818"/>
                  <a:pt x="4066" y="818"/>
                </a:cubicBezTo>
                <a:cubicBezTo>
                  <a:pt x="4067" y="822"/>
                  <a:pt x="4069" y="827"/>
                  <a:pt x="4069" y="832"/>
                </a:cubicBezTo>
                <a:cubicBezTo>
                  <a:pt x="4069" y="834"/>
                  <a:pt x="4069" y="835"/>
                  <a:pt x="4068" y="836"/>
                </a:cubicBezTo>
                <a:cubicBezTo>
                  <a:pt x="4066" y="841"/>
                  <a:pt x="4065" y="846"/>
                  <a:pt x="4065" y="851"/>
                </a:cubicBezTo>
                <a:cubicBezTo>
                  <a:pt x="4065" y="854"/>
                  <a:pt x="4066" y="856"/>
                  <a:pt x="4066" y="859"/>
                </a:cubicBezTo>
                <a:cubicBezTo>
                  <a:pt x="4067" y="861"/>
                  <a:pt x="4069" y="865"/>
                  <a:pt x="4074" y="865"/>
                </a:cubicBezTo>
                <a:cubicBezTo>
                  <a:pt x="4075" y="865"/>
                  <a:pt x="4076" y="865"/>
                  <a:pt x="4077" y="865"/>
                </a:cubicBezTo>
                <a:cubicBezTo>
                  <a:pt x="4081" y="863"/>
                  <a:pt x="4084" y="860"/>
                  <a:pt x="4087" y="858"/>
                </a:cubicBezTo>
                <a:cubicBezTo>
                  <a:pt x="4087" y="857"/>
                  <a:pt x="4088" y="856"/>
                  <a:pt x="4089" y="856"/>
                </a:cubicBezTo>
                <a:cubicBezTo>
                  <a:pt x="4092" y="860"/>
                  <a:pt x="4095" y="863"/>
                  <a:pt x="4095" y="869"/>
                </a:cubicBezTo>
                <a:cubicBezTo>
                  <a:pt x="4095" y="870"/>
                  <a:pt x="4094" y="872"/>
                  <a:pt x="4094" y="875"/>
                </a:cubicBezTo>
                <a:cubicBezTo>
                  <a:pt x="4091" y="883"/>
                  <a:pt x="4084" y="888"/>
                  <a:pt x="4083" y="898"/>
                </a:cubicBezTo>
                <a:cubicBezTo>
                  <a:pt x="4083" y="904"/>
                  <a:pt x="4087" y="908"/>
                  <a:pt x="4092" y="912"/>
                </a:cubicBezTo>
                <a:cubicBezTo>
                  <a:pt x="4097" y="916"/>
                  <a:pt x="4102" y="917"/>
                  <a:pt x="4107" y="917"/>
                </a:cubicBezTo>
                <a:cubicBezTo>
                  <a:pt x="4117" y="917"/>
                  <a:pt x="4122" y="910"/>
                  <a:pt x="4128" y="907"/>
                </a:cubicBezTo>
                <a:cubicBezTo>
                  <a:pt x="4139" y="898"/>
                  <a:pt x="4144" y="880"/>
                  <a:pt x="4144" y="865"/>
                </a:cubicBezTo>
                <a:cubicBezTo>
                  <a:pt x="4144" y="860"/>
                  <a:pt x="4144" y="856"/>
                  <a:pt x="4141" y="852"/>
                </a:cubicBezTo>
                <a:cubicBezTo>
                  <a:pt x="4138" y="846"/>
                  <a:pt x="4133" y="839"/>
                  <a:pt x="4129" y="833"/>
                </a:cubicBezTo>
                <a:cubicBezTo>
                  <a:pt x="4126" y="828"/>
                  <a:pt x="4124" y="822"/>
                  <a:pt x="4123" y="820"/>
                </a:cubicBezTo>
                <a:cubicBezTo>
                  <a:pt x="4125" y="819"/>
                  <a:pt x="4130" y="817"/>
                  <a:pt x="4135" y="815"/>
                </a:cubicBezTo>
                <a:cubicBezTo>
                  <a:pt x="4139" y="813"/>
                  <a:pt x="4145" y="809"/>
                  <a:pt x="4145" y="801"/>
                </a:cubicBezTo>
                <a:cubicBezTo>
                  <a:pt x="4145" y="793"/>
                  <a:pt x="4152" y="786"/>
                  <a:pt x="4158" y="783"/>
                </a:cubicBezTo>
                <a:cubicBezTo>
                  <a:pt x="4164" y="780"/>
                  <a:pt x="4167" y="775"/>
                  <a:pt x="4171" y="771"/>
                </a:cubicBezTo>
                <a:cubicBezTo>
                  <a:pt x="4173" y="770"/>
                  <a:pt x="4174" y="768"/>
                  <a:pt x="4175" y="767"/>
                </a:cubicBezTo>
                <a:cubicBezTo>
                  <a:pt x="4177" y="769"/>
                  <a:pt x="4180" y="771"/>
                  <a:pt x="4183" y="772"/>
                </a:cubicBezTo>
                <a:cubicBezTo>
                  <a:pt x="4188" y="774"/>
                  <a:pt x="4193" y="775"/>
                  <a:pt x="4198" y="775"/>
                </a:cubicBezTo>
                <a:cubicBezTo>
                  <a:pt x="4203" y="775"/>
                  <a:pt x="4209" y="774"/>
                  <a:pt x="4212" y="769"/>
                </a:cubicBezTo>
                <a:cubicBezTo>
                  <a:pt x="4217" y="761"/>
                  <a:pt x="4247" y="731"/>
                  <a:pt x="4265" y="714"/>
                </a:cubicBezTo>
                <a:cubicBezTo>
                  <a:pt x="4285" y="697"/>
                  <a:pt x="4293" y="676"/>
                  <a:pt x="4297" y="656"/>
                </a:cubicBezTo>
                <a:cubicBezTo>
                  <a:pt x="4299" y="651"/>
                  <a:pt x="4300" y="646"/>
                  <a:pt x="4302" y="641"/>
                </a:cubicBezTo>
                <a:cubicBezTo>
                  <a:pt x="4302" y="643"/>
                  <a:pt x="4302" y="645"/>
                  <a:pt x="4302" y="646"/>
                </a:cubicBezTo>
                <a:cubicBezTo>
                  <a:pt x="4302" y="649"/>
                  <a:pt x="4302" y="653"/>
                  <a:pt x="4301" y="656"/>
                </a:cubicBezTo>
                <a:cubicBezTo>
                  <a:pt x="4301" y="660"/>
                  <a:pt x="4301" y="665"/>
                  <a:pt x="4301" y="671"/>
                </a:cubicBezTo>
                <a:cubicBezTo>
                  <a:pt x="4301" y="679"/>
                  <a:pt x="4301" y="687"/>
                  <a:pt x="4302" y="694"/>
                </a:cubicBezTo>
                <a:cubicBezTo>
                  <a:pt x="4302" y="698"/>
                  <a:pt x="4302" y="701"/>
                  <a:pt x="4303" y="703"/>
                </a:cubicBezTo>
                <a:cubicBezTo>
                  <a:pt x="4303" y="706"/>
                  <a:pt x="4303" y="708"/>
                  <a:pt x="4305" y="710"/>
                </a:cubicBezTo>
                <a:cubicBezTo>
                  <a:pt x="4306" y="713"/>
                  <a:pt x="4309" y="716"/>
                  <a:pt x="4312" y="719"/>
                </a:cubicBezTo>
                <a:cubicBezTo>
                  <a:pt x="4315" y="722"/>
                  <a:pt x="4319" y="725"/>
                  <a:pt x="4325" y="725"/>
                </a:cubicBezTo>
                <a:cubicBezTo>
                  <a:pt x="4326" y="725"/>
                  <a:pt x="4328" y="724"/>
                  <a:pt x="4330" y="724"/>
                </a:cubicBezTo>
                <a:cubicBezTo>
                  <a:pt x="4336" y="720"/>
                  <a:pt x="4335" y="715"/>
                  <a:pt x="4335" y="712"/>
                </a:cubicBezTo>
                <a:cubicBezTo>
                  <a:pt x="4335" y="706"/>
                  <a:pt x="4334" y="700"/>
                  <a:pt x="4333" y="694"/>
                </a:cubicBezTo>
                <a:cubicBezTo>
                  <a:pt x="4332" y="688"/>
                  <a:pt x="4331" y="683"/>
                  <a:pt x="4331" y="682"/>
                </a:cubicBezTo>
                <a:cubicBezTo>
                  <a:pt x="4331" y="682"/>
                  <a:pt x="4331" y="682"/>
                  <a:pt x="4331" y="681"/>
                </a:cubicBezTo>
                <a:cubicBezTo>
                  <a:pt x="4333" y="677"/>
                  <a:pt x="4338" y="673"/>
                  <a:pt x="4339" y="673"/>
                </a:cubicBezTo>
                <a:cubicBezTo>
                  <a:pt x="4343" y="672"/>
                  <a:pt x="4344" y="669"/>
                  <a:pt x="4345" y="667"/>
                </a:cubicBezTo>
                <a:cubicBezTo>
                  <a:pt x="4345" y="665"/>
                  <a:pt x="4345" y="663"/>
                  <a:pt x="4345" y="661"/>
                </a:cubicBezTo>
                <a:cubicBezTo>
                  <a:pt x="4345" y="652"/>
                  <a:pt x="4342" y="638"/>
                  <a:pt x="4337" y="630"/>
                </a:cubicBezTo>
                <a:cubicBezTo>
                  <a:pt x="4334" y="625"/>
                  <a:pt x="4331" y="622"/>
                  <a:pt x="4329" y="619"/>
                </a:cubicBezTo>
                <a:cubicBezTo>
                  <a:pt x="4329" y="619"/>
                  <a:pt x="4329" y="619"/>
                  <a:pt x="4329" y="619"/>
                </a:cubicBezTo>
                <a:cubicBezTo>
                  <a:pt x="4331" y="618"/>
                  <a:pt x="4332" y="616"/>
                  <a:pt x="4333" y="614"/>
                </a:cubicBezTo>
                <a:cubicBezTo>
                  <a:pt x="4335" y="611"/>
                  <a:pt x="4336" y="608"/>
                  <a:pt x="4336" y="604"/>
                </a:cubicBezTo>
                <a:cubicBezTo>
                  <a:pt x="4336" y="602"/>
                  <a:pt x="4336" y="599"/>
                  <a:pt x="4333" y="597"/>
                </a:cubicBezTo>
                <a:cubicBezTo>
                  <a:pt x="4333" y="596"/>
                  <a:pt x="4333" y="594"/>
                  <a:pt x="4332" y="592"/>
                </a:cubicBezTo>
                <a:cubicBezTo>
                  <a:pt x="4332" y="590"/>
                  <a:pt x="4328" y="585"/>
                  <a:pt x="4323" y="585"/>
                </a:cubicBezTo>
                <a:cubicBezTo>
                  <a:pt x="4321" y="585"/>
                  <a:pt x="4320" y="585"/>
                  <a:pt x="4318" y="586"/>
                </a:cubicBezTo>
                <a:cubicBezTo>
                  <a:pt x="4318" y="586"/>
                  <a:pt x="4312" y="586"/>
                  <a:pt x="4306" y="587"/>
                </a:cubicBezTo>
                <a:cubicBezTo>
                  <a:pt x="4304" y="587"/>
                  <a:pt x="4302" y="588"/>
                  <a:pt x="4300" y="589"/>
                </a:cubicBezTo>
                <a:cubicBezTo>
                  <a:pt x="4296" y="582"/>
                  <a:pt x="4290" y="577"/>
                  <a:pt x="4282" y="577"/>
                </a:cubicBezTo>
                <a:cubicBezTo>
                  <a:pt x="4281" y="577"/>
                  <a:pt x="4280" y="577"/>
                  <a:pt x="4279" y="577"/>
                </a:cubicBezTo>
                <a:cubicBezTo>
                  <a:pt x="4266" y="579"/>
                  <a:pt x="4261" y="585"/>
                  <a:pt x="4254" y="585"/>
                </a:cubicBezTo>
                <a:cubicBezTo>
                  <a:pt x="4254" y="585"/>
                  <a:pt x="4254" y="584"/>
                  <a:pt x="4254" y="583"/>
                </a:cubicBezTo>
                <a:cubicBezTo>
                  <a:pt x="4254" y="581"/>
                  <a:pt x="4254" y="578"/>
                  <a:pt x="4254" y="576"/>
                </a:cubicBezTo>
                <a:cubicBezTo>
                  <a:pt x="4254" y="574"/>
                  <a:pt x="4254" y="573"/>
                  <a:pt x="4253" y="571"/>
                </a:cubicBezTo>
                <a:cubicBezTo>
                  <a:pt x="4253" y="569"/>
                  <a:pt x="4250" y="566"/>
                  <a:pt x="4246" y="566"/>
                </a:cubicBezTo>
                <a:cubicBezTo>
                  <a:pt x="4242" y="566"/>
                  <a:pt x="4241" y="568"/>
                  <a:pt x="4239" y="569"/>
                </a:cubicBezTo>
                <a:cubicBezTo>
                  <a:pt x="4237" y="571"/>
                  <a:pt x="4235" y="573"/>
                  <a:pt x="4233" y="575"/>
                </a:cubicBezTo>
                <a:cubicBezTo>
                  <a:pt x="4232" y="576"/>
                  <a:pt x="4232" y="576"/>
                  <a:pt x="4231" y="576"/>
                </a:cubicBezTo>
                <a:cubicBezTo>
                  <a:pt x="4231" y="576"/>
                  <a:pt x="4232" y="575"/>
                  <a:pt x="4233" y="574"/>
                </a:cubicBezTo>
                <a:cubicBezTo>
                  <a:pt x="4237" y="569"/>
                  <a:pt x="4250" y="561"/>
                  <a:pt x="4261" y="557"/>
                </a:cubicBezTo>
                <a:cubicBezTo>
                  <a:pt x="4272" y="552"/>
                  <a:pt x="4283" y="540"/>
                  <a:pt x="4294" y="529"/>
                </a:cubicBezTo>
                <a:cubicBezTo>
                  <a:pt x="4300" y="524"/>
                  <a:pt x="4305" y="519"/>
                  <a:pt x="4309" y="515"/>
                </a:cubicBezTo>
                <a:cubicBezTo>
                  <a:pt x="4313" y="511"/>
                  <a:pt x="4317" y="509"/>
                  <a:pt x="4317" y="509"/>
                </a:cubicBezTo>
                <a:cubicBezTo>
                  <a:pt x="4319" y="509"/>
                  <a:pt x="4321" y="509"/>
                  <a:pt x="4323" y="509"/>
                </a:cubicBezTo>
                <a:cubicBezTo>
                  <a:pt x="4334" y="509"/>
                  <a:pt x="4352" y="511"/>
                  <a:pt x="4371" y="511"/>
                </a:cubicBezTo>
                <a:cubicBezTo>
                  <a:pt x="4375" y="511"/>
                  <a:pt x="4379" y="511"/>
                  <a:pt x="4383" y="511"/>
                </a:cubicBezTo>
                <a:cubicBezTo>
                  <a:pt x="4404" y="509"/>
                  <a:pt x="4416" y="501"/>
                  <a:pt x="4418" y="502"/>
                </a:cubicBezTo>
                <a:cubicBezTo>
                  <a:pt x="4419" y="502"/>
                  <a:pt x="4419" y="502"/>
                  <a:pt x="4420" y="502"/>
                </a:cubicBezTo>
                <a:cubicBezTo>
                  <a:pt x="4429" y="510"/>
                  <a:pt x="4444" y="517"/>
                  <a:pt x="4457" y="518"/>
                </a:cubicBezTo>
                <a:cubicBezTo>
                  <a:pt x="4458" y="518"/>
                  <a:pt x="4459" y="518"/>
                  <a:pt x="4460" y="517"/>
                </a:cubicBezTo>
                <a:cubicBezTo>
                  <a:pt x="4465" y="517"/>
                  <a:pt x="4468" y="517"/>
                  <a:pt x="4472" y="514"/>
                </a:cubicBezTo>
                <a:cubicBezTo>
                  <a:pt x="4475" y="512"/>
                  <a:pt x="4477" y="509"/>
                  <a:pt x="4485" y="502"/>
                </a:cubicBezTo>
                <a:cubicBezTo>
                  <a:pt x="4501" y="489"/>
                  <a:pt x="4516" y="482"/>
                  <a:pt x="4525" y="469"/>
                </a:cubicBezTo>
                <a:cubicBezTo>
                  <a:pt x="4529" y="464"/>
                  <a:pt x="4540" y="458"/>
                  <a:pt x="4545" y="459"/>
                </a:cubicBezTo>
                <a:cubicBezTo>
                  <a:pt x="4545" y="459"/>
                  <a:pt x="4544" y="459"/>
                  <a:pt x="4545" y="459"/>
                </a:cubicBezTo>
                <a:cubicBezTo>
                  <a:pt x="4545" y="460"/>
                  <a:pt x="4544" y="462"/>
                  <a:pt x="4544" y="464"/>
                </a:cubicBezTo>
                <a:cubicBezTo>
                  <a:pt x="4544" y="465"/>
                  <a:pt x="4544" y="467"/>
                  <a:pt x="4544" y="468"/>
                </a:cubicBezTo>
                <a:cubicBezTo>
                  <a:pt x="4544" y="472"/>
                  <a:pt x="4545" y="475"/>
                  <a:pt x="4546" y="479"/>
                </a:cubicBezTo>
                <a:cubicBezTo>
                  <a:pt x="4548" y="483"/>
                  <a:pt x="4553" y="486"/>
                  <a:pt x="4558" y="486"/>
                </a:cubicBezTo>
                <a:cubicBezTo>
                  <a:pt x="4559" y="486"/>
                  <a:pt x="4560" y="486"/>
                  <a:pt x="4560" y="486"/>
                </a:cubicBezTo>
                <a:cubicBezTo>
                  <a:pt x="4556" y="489"/>
                  <a:pt x="4553" y="491"/>
                  <a:pt x="4551" y="493"/>
                </a:cubicBezTo>
                <a:cubicBezTo>
                  <a:pt x="4547" y="496"/>
                  <a:pt x="4537" y="500"/>
                  <a:pt x="4527" y="504"/>
                </a:cubicBezTo>
                <a:cubicBezTo>
                  <a:pt x="4517" y="509"/>
                  <a:pt x="4506" y="515"/>
                  <a:pt x="4499" y="525"/>
                </a:cubicBezTo>
                <a:cubicBezTo>
                  <a:pt x="4489" y="539"/>
                  <a:pt x="4481" y="547"/>
                  <a:pt x="4481" y="564"/>
                </a:cubicBezTo>
                <a:cubicBezTo>
                  <a:pt x="4481" y="566"/>
                  <a:pt x="4481" y="567"/>
                  <a:pt x="4481" y="568"/>
                </a:cubicBezTo>
                <a:cubicBezTo>
                  <a:pt x="4482" y="586"/>
                  <a:pt x="4495" y="604"/>
                  <a:pt x="4495" y="616"/>
                </a:cubicBezTo>
                <a:cubicBezTo>
                  <a:pt x="4495" y="619"/>
                  <a:pt x="4494" y="621"/>
                  <a:pt x="4493" y="623"/>
                </a:cubicBezTo>
                <a:cubicBezTo>
                  <a:pt x="4483" y="641"/>
                  <a:pt x="4480" y="665"/>
                  <a:pt x="4480" y="665"/>
                </a:cubicBezTo>
                <a:cubicBezTo>
                  <a:pt x="4479" y="668"/>
                  <a:pt x="4481" y="671"/>
                  <a:pt x="4484" y="671"/>
                </a:cubicBezTo>
                <a:cubicBezTo>
                  <a:pt x="4487" y="673"/>
                  <a:pt x="4490" y="671"/>
                  <a:pt x="4491" y="669"/>
                </a:cubicBezTo>
                <a:cubicBezTo>
                  <a:pt x="4491" y="669"/>
                  <a:pt x="4494" y="663"/>
                  <a:pt x="4500" y="656"/>
                </a:cubicBezTo>
                <a:cubicBezTo>
                  <a:pt x="4506" y="648"/>
                  <a:pt x="4514" y="639"/>
                  <a:pt x="4523" y="632"/>
                </a:cubicBezTo>
                <a:cubicBezTo>
                  <a:pt x="4544" y="616"/>
                  <a:pt x="4556" y="594"/>
                  <a:pt x="4562" y="587"/>
                </a:cubicBezTo>
                <a:cubicBezTo>
                  <a:pt x="4563" y="585"/>
                  <a:pt x="4570" y="582"/>
                  <a:pt x="4576" y="579"/>
                </a:cubicBezTo>
                <a:cubicBezTo>
                  <a:pt x="4579" y="578"/>
                  <a:pt x="4582" y="577"/>
                  <a:pt x="4585" y="575"/>
                </a:cubicBezTo>
                <a:cubicBezTo>
                  <a:pt x="4588" y="572"/>
                  <a:pt x="4591" y="569"/>
                  <a:pt x="4591" y="564"/>
                </a:cubicBezTo>
                <a:cubicBezTo>
                  <a:pt x="4591" y="556"/>
                  <a:pt x="4596" y="544"/>
                  <a:pt x="4600" y="532"/>
                </a:cubicBezTo>
                <a:cubicBezTo>
                  <a:pt x="4600" y="530"/>
                  <a:pt x="4601" y="528"/>
                  <a:pt x="4601" y="527"/>
                </a:cubicBezTo>
                <a:cubicBezTo>
                  <a:pt x="4601" y="523"/>
                  <a:pt x="4599" y="520"/>
                  <a:pt x="4598" y="518"/>
                </a:cubicBezTo>
                <a:cubicBezTo>
                  <a:pt x="4598" y="517"/>
                  <a:pt x="4598" y="517"/>
                  <a:pt x="4598" y="517"/>
                </a:cubicBezTo>
                <a:close/>
                <a:moveTo>
                  <a:pt x="2891" y="398"/>
                </a:moveTo>
                <a:cubicBezTo>
                  <a:pt x="2900" y="398"/>
                  <a:pt x="2910" y="397"/>
                  <a:pt x="2921" y="393"/>
                </a:cubicBezTo>
                <a:cubicBezTo>
                  <a:pt x="2919" y="397"/>
                  <a:pt x="2919" y="401"/>
                  <a:pt x="2919" y="405"/>
                </a:cubicBezTo>
                <a:cubicBezTo>
                  <a:pt x="2919" y="406"/>
                  <a:pt x="2919" y="407"/>
                  <a:pt x="2919" y="408"/>
                </a:cubicBezTo>
                <a:cubicBezTo>
                  <a:pt x="2919" y="410"/>
                  <a:pt x="2919" y="411"/>
                  <a:pt x="2919" y="412"/>
                </a:cubicBezTo>
                <a:cubicBezTo>
                  <a:pt x="2915" y="413"/>
                  <a:pt x="2914" y="415"/>
                  <a:pt x="2912" y="414"/>
                </a:cubicBezTo>
                <a:cubicBezTo>
                  <a:pt x="2910" y="414"/>
                  <a:pt x="2908" y="414"/>
                  <a:pt x="2903" y="410"/>
                </a:cubicBezTo>
                <a:cubicBezTo>
                  <a:pt x="2897" y="406"/>
                  <a:pt x="2893" y="404"/>
                  <a:pt x="2888" y="403"/>
                </a:cubicBezTo>
                <a:cubicBezTo>
                  <a:pt x="2885" y="403"/>
                  <a:pt x="2882" y="405"/>
                  <a:pt x="2881" y="407"/>
                </a:cubicBezTo>
                <a:cubicBezTo>
                  <a:pt x="2880" y="408"/>
                  <a:pt x="2879" y="409"/>
                  <a:pt x="2879" y="409"/>
                </a:cubicBezTo>
                <a:cubicBezTo>
                  <a:pt x="2878" y="410"/>
                  <a:pt x="2871" y="414"/>
                  <a:pt x="2868" y="415"/>
                </a:cubicBezTo>
                <a:cubicBezTo>
                  <a:pt x="2868" y="415"/>
                  <a:pt x="2868" y="414"/>
                  <a:pt x="2868" y="414"/>
                </a:cubicBezTo>
                <a:cubicBezTo>
                  <a:pt x="2868" y="412"/>
                  <a:pt x="2868" y="410"/>
                  <a:pt x="2868" y="408"/>
                </a:cubicBezTo>
                <a:cubicBezTo>
                  <a:pt x="2868" y="406"/>
                  <a:pt x="2868" y="406"/>
                  <a:pt x="2868" y="406"/>
                </a:cubicBezTo>
                <a:cubicBezTo>
                  <a:pt x="2868" y="403"/>
                  <a:pt x="2868" y="398"/>
                  <a:pt x="2865" y="394"/>
                </a:cubicBezTo>
                <a:cubicBezTo>
                  <a:pt x="2873" y="396"/>
                  <a:pt x="2881" y="398"/>
                  <a:pt x="2891" y="398"/>
                </a:cubicBezTo>
                <a:close/>
                <a:moveTo>
                  <a:pt x="2805" y="472"/>
                </a:moveTo>
                <a:cubicBezTo>
                  <a:pt x="2806" y="469"/>
                  <a:pt x="2806" y="469"/>
                  <a:pt x="2808" y="469"/>
                </a:cubicBezTo>
                <a:cubicBezTo>
                  <a:pt x="2811" y="469"/>
                  <a:pt x="2816" y="471"/>
                  <a:pt x="2820" y="474"/>
                </a:cubicBezTo>
                <a:cubicBezTo>
                  <a:pt x="2822" y="475"/>
                  <a:pt x="2823" y="477"/>
                  <a:pt x="2824" y="479"/>
                </a:cubicBezTo>
                <a:cubicBezTo>
                  <a:pt x="2825" y="480"/>
                  <a:pt x="2825" y="480"/>
                  <a:pt x="2826" y="481"/>
                </a:cubicBezTo>
                <a:cubicBezTo>
                  <a:pt x="2826" y="481"/>
                  <a:pt x="2825" y="481"/>
                  <a:pt x="2825" y="481"/>
                </a:cubicBezTo>
                <a:cubicBezTo>
                  <a:pt x="2825" y="481"/>
                  <a:pt x="2824" y="482"/>
                  <a:pt x="2822" y="482"/>
                </a:cubicBezTo>
                <a:cubicBezTo>
                  <a:pt x="2819" y="482"/>
                  <a:pt x="2813" y="480"/>
                  <a:pt x="2809" y="478"/>
                </a:cubicBezTo>
                <a:cubicBezTo>
                  <a:pt x="2806" y="476"/>
                  <a:pt x="2804" y="473"/>
                  <a:pt x="2804" y="472"/>
                </a:cubicBezTo>
                <a:cubicBezTo>
                  <a:pt x="2804" y="472"/>
                  <a:pt x="2804" y="472"/>
                  <a:pt x="2804" y="472"/>
                </a:cubicBezTo>
                <a:cubicBezTo>
                  <a:pt x="2799" y="470"/>
                  <a:pt x="2799" y="470"/>
                  <a:pt x="2799" y="470"/>
                </a:cubicBezTo>
                <a:lnTo>
                  <a:pt x="2805" y="472"/>
                </a:lnTo>
                <a:close/>
                <a:moveTo>
                  <a:pt x="2773" y="756"/>
                </a:moveTo>
                <a:cubicBezTo>
                  <a:pt x="2781" y="749"/>
                  <a:pt x="2789" y="735"/>
                  <a:pt x="2796" y="721"/>
                </a:cubicBezTo>
                <a:cubicBezTo>
                  <a:pt x="2801" y="711"/>
                  <a:pt x="2806" y="710"/>
                  <a:pt x="2809" y="710"/>
                </a:cubicBezTo>
                <a:cubicBezTo>
                  <a:pt x="2810" y="710"/>
                  <a:pt x="2810" y="710"/>
                  <a:pt x="2811" y="710"/>
                </a:cubicBezTo>
                <a:cubicBezTo>
                  <a:pt x="2812" y="711"/>
                  <a:pt x="2817" y="717"/>
                  <a:pt x="2820" y="723"/>
                </a:cubicBezTo>
                <a:cubicBezTo>
                  <a:pt x="2824" y="730"/>
                  <a:pt x="2828" y="738"/>
                  <a:pt x="2829" y="741"/>
                </a:cubicBezTo>
                <a:cubicBezTo>
                  <a:pt x="2830" y="745"/>
                  <a:pt x="2835" y="748"/>
                  <a:pt x="2839" y="748"/>
                </a:cubicBezTo>
                <a:cubicBezTo>
                  <a:pt x="2844" y="748"/>
                  <a:pt x="2847" y="745"/>
                  <a:pt x="2850" y="743"/>
                </a:cubicBezTo>
                <a:cubicBezTo>
                  <a:pt x="2853" y="741"/>
                  <a:pt x="2856" y="739"/>
                  <a:pt x="2857" y="739"/>
                </a:cubicBezTo>
                <a:cubicBezTo>
                  <a:pt x="2864" y="734"/>
                  <a:pt x="2871" y="726"/>
                  <a:pt x="2873" y="716"/>
                </a:cubicBezTo>
                <a:cubicBezTo>
                  <a:pt x="2873" y="716"/>
                  <a:pt x="2874" y="714"/>
                  <a:pt x="2877" y="713"/>
                </a:cubicBezTo>
                <a:cubicBezTo>
                  <a:pt x="2879" y="712"/>
                  <a:pt x="2881" y="711"/>
                  <a:pt x="2884" y="711"/>
                </a:cubicBezTo>
                <a:cubicBezTo>
                  <a:pt x="2883" y="712"/>
                  <a:pt x="2882" y="712"/>
                  <a:pt x="2881" y="712"/>
                </a:cubicBezTo>
                <a:cubicBezTo>
                  <a:pt x="2879" y="713"/>
                  <a:pt x="2877" y="714"/>
                  <a:pt x="2876" y="715"/>
                </a:cubicBezTo>
                <a:cubicBezTo>
                  <a:pt x="2874" y="717"/>
                  <a:pt x="2873" y="719"/>
                  <a:pt x="2873" y="722"/>
                </a:cubicBezTo>
                <a:cubicBezTo>
                  <a:pt x="2873" y="727"/>
                  <a:pt x="2876" y="729"/>
                  <a:pt x="2879" y="731"/>
                </a:cubicBezTo>
                <a:cubicBezTo>
                  <a:pt x="2882" y="734"/>
                  <a:pt x="2886" y="736"/>
                  <a:pt x="2891" y="738"/>
                </a:cubicBezTo>
                <a:cubicBezTo>
                  <a:pt x="2903" y="742"/>
                  <a:pt x="2915" y="757"/>
                  <a:pt x="2931" y="767"/>
                </a:cubicBezTo>
                <a:cubicBezTo>
                  <a:pt x="2939" y="772"/>
                  <a:pt x="2942" y="780"/>
                  <a:pt x="2942" y="785"/>
                </a:cubicBezTo>
                <a:cubicBezTo>
                  <a:pt x="2942" y="788"/>
                  <a:pt x="2941" y="788"/>
                  <a:pt x="2941" y="788"/>
                </a:cubicBezTo>
                <a:cubicBezTo>
                  <a:pt x="2941" y="788"/>
                  <a:pt x="2941" y="788"/>
                  <a:pt x="2941" y="788"/>
                </a:cubicBezTo>
                <a:cubicBezTo>
                  <a:pt x="2935" y="790"/>
                  <a:pt x="2915" y="793"/>
                  <a:pt x="2903" y="792"/>
                </a:cubicBezTo>
                <a:cubicBezTo>
                  <a:pt x="2900" y="792"/>
                  <a:pt x="2898" y="792"/>
                  <a:pt x="2896" y="792"/>
                </a:cubicBezTo>
                <a:cubicBezTo>
                  <a:pt x="2889" y="792"/>
                  <a:pt x="2876" y="779"/>
                  <a:pt x="2859" y="776"/>
                </a:cubicBezTo>
                <a:cubicBezTo>
                  <a:pt x="2854" y="775"/>
                  <a:pt x="2849" y="774"/>
                  <a:pt x="2844" y="774"/>
                </a:cubicBezTo>
                <a:cubicBezTo>
                  <a:pt x="2832" y="774"/>
                  <a:pt x="2820" y="777"/>
                  <a:pt x="2813" y="787"/>
                </a:cubicBezTo>
                <a:cubicBezTo>
                  <a:pt x="2813" y="788"/>
                  <a:pt x="2808" y="790"/>
                  <a:pt x="2800" y="790"/>
                </a:cubicBezTo>
                <a:cubicBezTo>
                  <a:pt x="2794" y="790"/>
                  <a:pt x="2788" y="789"/>
                  <a:pt x="2783" y="789"/>
                </a:cubicBezTo>
                <a:cubicBezTo>
                  <a:pt x="2776" y="789"/>
                  <a:pt x="2772" y="793"/>
                  <a:pt x="2768" y="795"/>
                </a:cubicBezTo>
                <a:cubicBezTo>
                  <a:pt x="2768" y="792"/>
                  <a:pt x="2769" y="788"/>
                  <a:pt x="2769" y="785"/>
                </a:cubicBezTo>
                <a:cubicBezTo>
                  <a:pt x="2769" y="780"/>
                  <a:pt x="2769" y="775"/>
                  <a:pt x="2763" y="771"/>
                </a:cubicBezTo>
                <a:cubicBezTo>
                  <a:pt x="2764" y="768"/>
                  <a:pt x="2769" y="758"/>
                  <a:pt x="2773" y="756"/>
                </a:cubicBezTo>
                <a:close/>
                <a:moveTo>
                  <a:pt x="2673" y="431"/>
                </a:moveTo>
                <a:cubicBezTo>
                  <a:pt x="2681" y="422"/>
                  <a:pt x="2684" y="414"/>
                  <a:pt x="2684" y="407"/>
                </a:cubicBezTo>
                <a:cubicBezTo>
                  <a:pt x="2684" y="405"/>
                  <a:pt x="2683" y="402"/>
                  <a:pt x="2683" y="401"/>
                </a:cubicBezTo>
                <a:cubicBezTo>
                  <a:pt x="2684" y="400"/>
                  <a:pt x="2685" y="400"/>
                  <a:pt x="2686" y="400"/>
                </a:cubicBezTo>
                <a:cubicBezTo>
                  <a:pt x="2695" y="400"/>
                  <a:pt x="2703" y="399"/>
                  <a:pt x="2710" y="399"/>
                </a:cubicBezTo>
                <a:cubicBezTo>
                  <a:pt x="2713" y="399"/>
                  <a:pt x="2716" y="399"/>
                  <a:pt x="2719" y="400"/>
                </a:cubicBezTo>
                <a:cubicBezTo>
                  <a:pt x="2716" y="403"/>
                  <a:pt x="2710" y="408"/>
                  <a:pt x="2704" y="412"/>
                </a:cubicBezTo>
                <a:cubicBezTo>
                  <a:pt x="2695" y="418"/>
                  <a:pt x="2685" y="425"/>
                  <a:pt x="2677" y="429"/>
                </a:cubicBezTo>
                <a:cubicBezTo>
                  <a:pt x="2676" y="430"/>
                  <a:pt x="2674" y="431"/>
                  <a:pt x="2673" y="432"/>
                </a:cubicBezTo>
                <a:cubicBezTo>
                  <a:pt x="2673" y="432"/>
                  <a:pt x="2673" y="431"/>
                  <a:pt x="2673" y="431"/>
                </a:cubicBezTo>
                <a:close/>
                <a:moveTo>
                  <a:pt x="2518" y="522"/>
                </a:moveTo>
                <a:cubicBezTo>
                  <a:pt x="2518" y="521"/>
                  <a:pt x="2520" y="517"/>
                  <a:pt x="2523" y="514"/>
                </a:cubicBezTo>
                <a:cubicBezTo>
                  <a:pt x="2524" y="513"/>
                  <a:pt x="2525" y="512"/>
                  <a:pt x="2526" y="511"/>
                </a:cubicBezTo>
                <a:cubicBezTo>
                  <a:pt x="2527" y="517"/>
                  <a:pt x="2530" y="523"/>
                  <a:pt x="2532" y="529"/>
                </a:cubicBezTo>
                <a:cubicBezTo>
                  <a:pt x="2534" y="536"/>
                  <a:pt x="2537" y="542"/>
                  <a:pt x="2536" y="545"/>
                </a:cubicBezTo>
                <a:cubicBezTo>
                  <a:pt x="2536" y="545"/>
                  <a:pt x="2536" y="546"/>
                  <a:pt x="2536" y="546"/>
                </a:cubicBezTo>
                <a:cubicBezTo>
                  <a:pt x="2536" y="548"/>
                  <a:pt x="2535" y="551"/>
                  <a:pt x="2535" y="553"/>
                </a:cubicBezTo>
                <a:cubicBezTo>
                  <a:pt x="2535" y="557"/>
                  <a:pt x="2536" y="560"/>
                  <a:pt x="2538" y="563"/>
                </a:cubicBezTo>
                <a:cubicBezTo>
                  <a:pt x="2540" y="566"/>
                  <a:pt x="2544" y="569"/>
                  <a:pt x="2549" y="569"/>
                </a:cubicBezTo>
                <a:cubicBezTo>
                  <a:pt x="2549" y="569"/>
                  <a:pt x="2550" y="569"/>
                  <a:pt x="2551" y="568"/>
                </a:cubicBezTo>
                <a:cubicBezTo>
                  <a:pt x="2560" y="567"/>
                  <a:pt x="2602" y="556"/>
                  <a:pt x="2602" y="556"/>
                </a:cubicBezTo>
                <a:cubicBezTo>
                  <a:pt x="2604" y="555"/>
                  <a:pt x="2604" y="555"/>
                  <a:pt x="2604" y="555"/>
                </a:cubicBezTo>
                <a:cubicBezTo>
                  <a:pt x="2604" y="555"/>
                  <a:pt x="2618" y="549"/>
                  <a:pt x="2619" y="534"/>
                </a:cubicBezTo>
                <a:cubicBezTo>
                  <a:pt x="2619" y="533"/>
                  <a:pt x="2619" y="532"/>
                  <a:pt x="2618" y="531"/>
                </a:cubicBezTo>
                <a:cubicBezTo>
                  <a:pt x="2618" y="531"/>
                  <a:pt x="2618" y="530"/>
                  <a:pt x="2618" y="530"/>
                </a:cubicBezTo>
                <a:cubicBezTo>
                  <a:pt x="2618" y="527"/>
                  <a:pt x="2621" y="522"/>
                  <a:pt x="2625" y="517"/>
                </a:cubicBezTo>
                <a:cubicBezTo>
                  <a:pt x="2629" y="512"/>
                  <a:pt x="2633" y="508"/>
                  <a:pt x="2635" y="506"/>
                </a:cubicBezTo>
                <a:cubicBezTo>
                  <a:pt x="2638" y="502"/>
                  <a:pt x="2645" y="495"/>
                  <a:pt x="2645" y="485"/>
                </a:cubicBezTo>
                <a:cubicBezTo>
                  <a:pt x="2645" y="479"/>
                  <a:pt x="2641" y="472"/>
                  <a:pt x="2634" y="470"/>
                </a:cubicBezTo>
                <a:cubicBezTo>
                  <a:pt x="2629" y="468"/>
                  <a:pt x="2624" y="467"/>
                  <a:pt x="2622" y="465"/>
                </a:cubicBezTo>
                <a:cubicBezTo>
                  <a:pt x="2621" y="465"/>
                  <a:pt x="2620" y="464"/>
                  <a:pt x="2620" y="464"/>
                </a:cubicBezTo>
                <a:cubicBezTo>
                  <a:pt x="2620" y="464"/>
                  <a:pt x="2620" y="463"/>
                  <a:pt x="2621" y="463"/>
                </a:cubicBezTo>
                <a:cubicBezTo>
                  <a:pt x="2622" y="461"/>
                  <a:pt x="2623" y="459"/>
                  <a:pt x="2626" y="456"/>
                </a:cubicBezTo>
                <a:cubicBezTo>
                  <a:pt x="2633" y="449"/>
                  <a:pt x="2636" y="450"/>
                  <a:pt x="2644" y="449"/>
                </a:cubicBezTo>
                <a:cubicBezTo>
                  <a:pt x="2651" y="448"/>
                  <a:pt x="2659" y="446"/>
                  <a:pt x="2667" y="438"/>
                </a:cubicBezTo>
                <a:cubicBezTo>
                  <a:pt x="2664" y="442"/>
                  <a:pt x="2663" y="447"/>
                  <a:pt x="2663" y="452"/>
                </a:cubicBezTo>
                <a:cubicBezTo>
                  <a:pt x="2663" y="459"/>
                  <a:pt x="2665" y="465"/>
                  <a:pt x="2669" y="469"/>
                </a:cubicBezTo>
                <a:cubicBezTo>
                  <a:pt x="2670" y="472"/>
                  <a:pt x="2672" y="478"/>
                  <a:pt x="2675" y="484"/>
                </a:cubicBezTo>
                <a:cubicBezTo>
                  <a:pt x="2676" y="487"/>
                  <a:pt x="2678" y="490"/>
                  <a:pt x="2680" y="492"/>
                </a:cubicBezTo>
                <a:cubicBezTo>
                  <a:pt x="2682" y="495"/>
                  <a:pt x="2686" y="497"/>
                  <a:pt x="2690" y="497"/>
                </a:cubicBezTo>
                <a:cubicBezTo>
                  <a:pt x="2691" y="497"/>
                  <a:pt x="2692" y="497"/>
                  <a:pt x="2693" y="497"/>
                </a:cubicBezTo>
                <a:cubicBezTo>
                  <a:pt x="2705" y="493"/>
                  <a:pt x="2716" y="485"/>
                  <a:pt x="2724" y="486"/>
                </a:cubicBezTo>
                <a:cubicBezTo>
                  <a:pt x="2725" y="486"/>
                  <a:pt x="2725" y="486"/>
                  <a:pt x="2726" y="486"/>
                </a:cubicBezTo>
                <a:cubicBezTo>
                  <a:pt x="2728" y="486"/>
                  <a:pt x="2731" y="486"/>
                  <a:pt x="2734" y="486"/>
                </a:cubicBezTo>
                <a:cubicBezTo>
                  <a:pt x="2745" y="486"/>
                  <a:pt x="2759" y="485"/>
                  <a:pt x="2763" y="484"/>
                </a:cubicBezTo>
                <a:cubicBezTo>
                  <a:pt x="2764" y="485"/>
                  <a:pt x="2766" y="488"/>
                  <a:pt x="2768" y="490"/>
                </a:cubicBezTo>
                <a:cubicBezTo>
                  <a:pt x="2769" y="492"/>
                  <a:pt x="2770" y="494"/>
                  <a:pt x="2771" y="495"/>
                </a:cubicBezTo>
                <a:cubicBezTo>
                  <a:pt x="2764" y="497"/>
                  <a:pt x="2752" y="496"/>
                  <a:pt x="2734" y="497"/>
                </a:cubicBezTo>
                <a:cubicBezTo>
                  <a:pt x="2724" y="498"/>
                  <a:pt x="2714" y="498"/>
                  <a:pt x="2706" y="499"/>
                </a:cubicBezTo>
                <a:cubicBezTo>
                  <a:pt x="2702" y="499"/>
                  <a:pt x="2698" y="500"/>
                  <a:pt x="2695" y="500"/>
                </a:cubicBezTo>
                <a:cubicBezTo>
                  <a:pt x="2694" y="501"/>
                  <a:pt x="2692" y="501"/>
                  <a:pt x="2691" y="502"/>
                </a:cubicBezTo>
                <a:cubicBezTo>
                  <a:pt x="2689" y="503"/>
                  <a:pt x="2687" y="505"/>
                  <a:pt x="2687" y="509"/>
                </a:cubicBezTo>
                <a:cubicBezTo>
                  <a:pt x="2687" y="512"/>
                  <a:pt x="2689" y="513"/>
                  <a:pt x="2689" y="514"/>
                </a:cubicBezTo>
                <a:cubicBezTo>
                  <a:pt x="2693" y="518"/>
                  <a:pt x="2697" y="520"/>
                  <a:pt x="2701" y="523"/>
                </a:cubicBezTo>
                <a:cubicBezTo>
                  <a:pt x="2703" y="524"/>
                  <a:pt x="2704" y="525"/>
                  <a:pt x="2705" y="525"/>
                </a:cubicBezTo>
                <a:cubicBezTo>
                  <a:pt x="2704" y="526"/>
                  <a:pt x="2703" y="526"/>
                  <a:pt x="2702" y="526"/>
                </a:cubicBezTo>
                <a:cubicBezTo>
                  <a:pt x="2698" y="526"/>
                  <a:pt x="2691" y="522"/>
                  <a:pt x="2681" y="521"/>
                </a:cubicBezTo>
                <a:cubicBezTo>
                  <a:pt x="2680" y="520"/>
                  <a:pt x="2680" y="520"/>
                  <a:pt x="2679" y="520"/>
                </a:cubicBezTo>
                <a:cubicBezTo>
                  <a:pt x="2670" y="521"/>
                  <a:pt x="2665" y="528"/>
                  <a:pt x="2661" y="534"/>
                </a:cubicBezTo>
                <a:cubicBezTo>
                  <a:pt x="2657" y="541"/>
                  <a:pt x="2654" y="548"/>
                  <a:pt x="2653" y="554"/>
                </a:cubicBezTo>
                <a:cubicBezTo>
                  <a:pt x="2652" y="557"/>
                  <a:pt x="2652" y="560"/>
                  <a:pt x="2652" y="563"/>
                </a:cubicBezTo>
                <a:cubicBezTo>
                  <a:pt x="2652" y="566"/>
                  <a:pt x="2652" y="570"/>
                  <a:pt x="2652" y="572"/>
                </a:cubicBezTo>
                <a:cubicBezTo>
                  <a:pt x="2652" y="573"/>
                  <a:pt x="2652" y="574"/>
                  <a:pt x="2652" y="574"/>
                </a:cubicBezTo>
                <a:cubicBezTo>
                  <a:pt x="2651" y="574"/>
                  <a:pt x="2650" y="574"/>
                  <a:pt x="2649" y="573"/>
                </a:cubicBezTo>
                <a:cubicBezTo>
                  <a:pt x="2638" y="569"/>
                  <a:pt x="2629" y="567"/>
                  <a:pt x="2621" y="567"/>
                </a:cubicBezTo>
                <a:cubicBezTo>
                  <a:pt x="2617" y="567"/>
                  <a:pt x="2613" y="568"/>
                  <a:pt x="2609" y="570"/>
                </a:cubicBezTo>
                <a:cubicBezTo>
                  <a:pt x="2606" y="572"/>
                  <a:pt x="2592" y="577"/>
                  <a:pt x="2580" y="581"/>
                </a:cubicBezTo>
                <a:cubicBezTo>
                  <a:pt x="2579" y="582"/>
                  <a:pt x="2578" y="582"/>
                  <a:pt x="2578" y="582"/>
                </a:cubicBezTo>
                <a:cubicBezTo>
                  <a:pt x="2577" y="581"/>
                  <a:pt x="2572" y="574"/>
                  <a:pt x="2562" y="574"/>
                </a:cubicBezTo>
                <a:cubicBezTo>
                  <a:pt x="2561" y="574"/>
                  <a:pt x="2561" y="574"/>
                  <a:pt x="2561" y="574"/>
                </a:cubicBezTo>
                <a:cubicBezTo>
                  <a:pt x="2546" y="574"/>
                  <a:pt x="2546" y="574"/>
                  <a:pt x="2546" y="574"/>
                </a:cubicBezTo>
                <a:cubicBezTo>
                  <a:pt x="2545" y="574"/>
                  <a:pt x="2545" y="574"/>
                  <a:pt x="2545" y="574"/>
                </a:cubicBezTo>
                <a:cubicBezTo>
                  <a:pt x="2538" y="575"/>
                  <a:pt x="2538" y="575"/>
                  <a:pt x="2538" y="575"/>
                </a:cubicBezTo>
                <a:cubicBezTo>
                  <a:pt x="2536" y="573"/>
                  <a:pt x="2533" y="568"/>
                  <a:pt x="2532" y="563"/>
                </a:cubicBezTo>
                <a:cubicBezTo>
                  <a:pt x="2532" y="562"/>
                  <a:pt x="2532" y="562"/>
                  <a:pt x="2532" y="561"/>
                </a:cubicBezTo>
                <a:cubicBezTo>
                  <a:pt x="2532" y="555"/>
                  <a:pt x="2534" y="549"/>
                  <a:pt x="2534" y="543"/>
                </a:cubicBezTo>
                <a:cubicBezTo>
                  <a:pt x="2534" y="540"/>
                  <a:pt x="2533" y="535"/>
                  <a:pt x="2528" y="532"/>
                </a:cubicBezTo>
                <a:cubicBezTo>
                  <a:pt x="2525" y="531"/>
                  <a:pt x="2522" y="531"/>
                  <a:pt x="2520" y="531"/>
                </a:cubicBezTo>
                <a:cubicBezTo>
                  <a:pt x="2516" y="531"/>
                  <a:pt x="2513" y="531"/>
                  <a:pt x="2510" y="532"/>
                </a:cubicBezTo>
                <a:cubicBezTo>
                  <a:pt x="2513" y="530"/>
                  <a:pt x="2517" y="527"/>
                  <a:pt x="2518" y="522"/>
                </a:cubicBezTo>
                <a:close/>
                <a:moveTo>
                  <a:pt x="2636" y="804"/>
                </a:moveTo>
                <a:cubicBezTo>
                  <a:pt x="2635" y="803"/>
                  <a:pt x="2614" y="787"/>
                  <a:pt x="2605" y="782"/>
                </a:cubicBezTo>
                <a:cubicBezTo>
                  <a:pt x="2597" y="778"/>
                  <a:pt x="2583" y="770"/>
                  <a:pt x="2578" y="758"/>
                </a:cubicBezTo>
                <a:cubicBezTo>
                  <a:pt x="2573" y="750"/>
                  <a:pt x="2567" y="745"/>
                  <a:pt x="2562" y="741"/>
                </a:cubicBezTo>
                <a:cubicBezTo>
                  <a:pt x="2557" y="737"/>
                  <a:pt x="2555" y="735"/>
                  <a:pt x="2555" y="732"/>
                </a:cubicBezTo>
                <a:cubicBezTo>
                  <a:pt x="2555" y="732"/>
                  <a:pt x="2555" y="731"/>
                  <a:pt x="2555" y="731"/>
                </a:cubicBezTo>
                <a:cubicBezTo>
                  <a:pt x="2555" y="730"/>
                  <a:pt x="2555" y="730"/>
                  <a:pt x="2555" y="729"/>
                </a:cubicBezTo>
                <a:cubicBezTo>
                  <a:pt x="2555" y="729"/>
                  <a:pt x="2555" y="729"/>
                  <a:pt x="2555" y="729"/>
                </a:cubicBezTo>
                <a:cubicBezTo>
                  <a:pt x="2556" y="729"/>
                  <a:pt x="2556" y="729"/>
                  <a:pt x="2556" y="729"/>
                </a:cubicBezTo>
                <a:cubicBezTo>
                  <a:pt x="2558" y="729"/>
                  <a:pt x="2566" y="734"/>
                  <a:pt x="2571" y="740"/>
                </a:cubicBezTo>
                <a:cubicBezTo>
                  <a:pt x="2581" y="752"/>
                  <a:pt x="2604" y="767"/>
                  <a:pt x="2611" y="776"/>
                </a:cubicBezTo>
                <a:cubicBezTo>
                  <a:pt x="2621" y="787"/>
                  <a:pt x="2632" y="791"/>
                  <a:pt x="2634" y="800"/>
                </a:cubicBezTo>
                <a:cubicBezTo>
                  <a:pt x="2635" y="801"/>
                  <a:pt x="2635" y="803"/>
                  <a:pt x="2636" y="804"/>
                </a:cubicBezTo>
                <a:close/>
                <a:moveTo>
                  <a:pt x="2400" y="645"/>
                </a:moveTo>
                <a:cubicBezTo>
                  <a:pt x="2399" y="645"/>
                  <a:pt x="2399" y="645"/>
                  <a:pt x="2399" y="645"/>
                </a:cubicBezTo>
                <a:cubicBezTo>
                  <a:pt x="2398" y="648"/>
                  <a:pt x="2398" y="648"/>
                  <a:pt x="2395" y="649"/>
                </a:cubicBezTo>
                <a:cubicBezTo>
                  <a:pt x="2395" y="649"/>
                  <a:pt x="2394" y="649"/>
                  <a:pt x="2393" y="649"/>
                </a:cubicBezTo>
                <a:cubicBezTo>
                  <a:pt x="2395" y="648"/>
                  <a:pt x="2397" y="647"/>
                  <a:pt x="2400" y="645"/>
                </a:cubicBezTo>
                <a:close/>
                <a:moveTo>
                  <a:pt x="2831" y="1487"/>
                </a:moveTo>
                <a:cubicBezTo>
                  <a:pt x="2829" y="1490"/>
                  <a:pt x="2827" y="1494"/>
                  <a:pt x="2825" y="1496"/>
                </a:cubicBezTo>
                <a:cubicBezTo>
                  <a:pt x="2824" y="1497"/>
                  <a:pt x="2823" y="1497"/>
                  <a:pt x="2822" y="1498"/>
                </a:cubicBezTo>
                <a:cubicBezTo>
                  <a:pt x="2822" y="1498"/>
                  <a:pt x="2822" y="1498"/>
                  <a:pt x="2822" y="1498"/>
                </a:cubicBezTo>
                <a:cubicBezTo>
                  <a:pt x="2822" y="1497"/>
                  <a:pt x="2821" y="1496"/>
                  <a:pt x="2821" y="1494"/>
                </a:cubicBezTo>
                <a:cubicBezTo>
                  <a:pt x="2820" y="1492"/>
                  <a:pt x="2820" y="1488"/>
                  <a:pt x="2820" y="1485"/>
                </a:cubicBezTo>
                <a:cubicBezTo>
                  <a:pt x="2820" y="1477"/>
                  <a:pt x="2822" y="1467"/>
                  <a:pt x="2823" y="1465"/>
                </a:cubicBezTo>
                <a:cubicBezTo>
                  <a:pt x="2823" y="1465"/>
                  <a:pt x="2823" y="1466"/>
                  <a:pt x="2823" y="1466"/>
                </a:cubicBezTo>
                <a:cubicBezTo>
                  <a:pt x="2825" y="1464"/>
                  <a:pt x="2829" y="1464"/>
                  <a:pt x="2833" y="1464"/>
                </a:cubicBezTo>
                <a:cubicBezTo>
                  <a:pt x="2833" y="1464"/>
                  <a:pt x="2834" y="1464"/>
                  <a:pt x="2834" y="1464"/>
                </a:cubicBezTo>
                <a:cubicBezTo>
                  <a:pt x="2836" y="1464"/>
                  <a:pt x="2837" y="1463"/>
                  <a:pt x="2838" y="1464"/>
                </a:cubicBezTo>
                <a:cubicBezTo>
                  <a:pt x="2838" y="1464"/>
                  <a:pt x="2838" y="1463"/>
                  <a:pt x="2839" y="1464"/>
                </a:cubicBezTo>
                <a:cubicBezTo>
                  <a:pt x="2839" y="1464"/>
                  <a:pt x="2839" y="1464"/>
                  <a:pt x="2839" y="1465"/>
                </a:cubicBezTo>
                <a:cubicBezTo>
                  <a:pt x="2839" y="1470"/>
                  <a:pt x="2836" y="1480"/>
                  <a:pt x="2831" y="1487"/>
                </a:cubicBezTo>
                <a:close/>
                <a:moveTo>
                  <a:pt x="2836" y="953"/>
                </a:moveTo>
                <a:cubicBezTo>
                  <a:pt x="2835" y="954"/>
                  <a:pt x="2835" y="954"/>
                  <a:pt x="2835" y="954"/>
                </a:cubicBezTo>
                <a:cubicBezTo>
                  <a:pt x="2835" y="954"/>
                  <a:pt x="2835" y="955"/>
                  <a:pt x="2832" y="955"/>
                </a:cubicBezTo>
                <a:cubicBezTo>
                  <a:pt x="2829" y="955"/>
                  <a:pt x="2825" y="955"/>
                  <a:pt x="2821" y="956"/>
                </a:cubicBezTo>
                <a:cubicBezTo>
                  <a:pt x="2817" y="951"/>
                  <a:pt x="2813" y="946"/>
                  <a:pt x="2805" y="946"/>
                </a:cubicBezTo>
                <a:cubicBezTo>
                  <a:pt x="2804" y="946"/>
                  <a:pt x="2802" y="946"/>
                  <a:pt x="2801" y="947"/>
                </a:cubicBezTo>
                <a:cubicBezTo>
                  <a:pt x="2794" y="949"/>
                  <a:pt x="2785" y="950"/>
                  <a:pt x="2776" y="953"/>
                </a:cubicBezTo>
                <a:cubicBezTo>
                  <a:pt x="2776" y="953"/>
                  <a:pt x="2776" y="952"/>
                  <a:pt x="2776" y="951"/>
                </a:cubicBezTo>
                <a:cubicBezTo>
                  <a:pt x="2776" y="950"/>
                  <a:pt x="2776" y="948"/>
                  <a:pt x="2775" y="947"/>
                </a:cubicBezTo>
                <a:cubicBezTo>
                  <a:pt x="2772" y="942"/>
                  <a:pt x="2767" y="941"/>
                  <a:pt x="2763" y="940"/>
                </a:cubicBezTo>
                <a:cubicBezTo>
                  <a:pt x="2758" y="939"/>
                  <a:pt x="2753" y="939"/>
                  <a:pt x="2747" y="939"/>
                </a:cubicBezTo>
                <a:cubicBezTo>
                  <a:pt x="2738" y="939"/>
                  <a:pt x="2729" y="940"/>
                  <a:pt x="2723" y="940"/>
                </a:cubicBezTo>
                <a:cubicBezTo>
                  <a:pt x="2711" y="940"/>
                  <a:pt x="2699" y="930"/>
                  <a:pt x="2685" y="926"/>
                </a:cubicBezTo>
                <a:cubicBezTo>
                  <a:pt x="2684" y="926"/>
                  <a:pt x="2682" y="925"/>
                  <a:pt x="2681" y="925"/>
                </a:cubicBezTo>
                <a:cubicBezTo>
                  <a:pt x="2673" y="926"/>
                  <a:pt x="2666" y="930"/>
                  <a:pt x="2659" y="936"/>
                </a:cubicBezTo>
                <a:cubicBezTo>
                  <a:pt x="2653" y="942"/>
                  <a:pt x="2647" y="949"/>
                  <a:pt x="2641" y="956"/>
                </a:cubicBezTo>
                <a:cubicBezTo>
                  <a:pt x="2637" y="960"/>
                  <a:pt x="2635" y="961"/>
                  <a:pt x="2633" y="961"/>
                </a:cubicBezTo>
                <a:cubicBezTo>
                  <a:pt x="2630" y="961"/>
                  <a:pt x="2624" y="958"/>
                  <a:pt x="2616" y="957"/>
                </a:cubicBezTo>
                <a:cubicBezTo>
                  <a:pt x="2614" y="958"/>
                  <a:pt x="2606" y="954"/>
                  <a:pt x="2601" y="950"/>
                </a:cubicBezTo>
                <a:cubicBezTo>
                  <a:pt x="2595" y="945"/>
                  <a:pt x="2590" y="941"/>
                  <a:pt x="2590" y="941"/>
                </a:cubicBezTo>
                <a:cubicBezTo>
                  <a:pt x="2589" y="940"/>
                  <a:pt x="2589" y="940"/>
                  <a:pt x="2589" y="940"/>
                </a:cubicBezTo>
                <a:cubicBezTo>
                  <a:pt x="2589" y="940"/>
                  <a:pt x="2584" y="938"/>
                  <a:pt x="2577" y="935"/>
                </a:cubicBezTo>
                <a:cubicBezTo>
                  <a:pt x="2571" y="933"/>
                  <a:pt x="2564" y="930"/>
                  <a:pt x="2558" y="930"/>
                </a:cubicBezTo>
                <a:cubicBezTo>
                  <a:pt x="2558" y="930"/>
                  <a:pt x="2557" y="929"/>
                  <a:pt x="2554" y="928"/>
                </a:cubicBezTo>
                <a:cubicBezTo>
                  <a:pt x="2551" y="926"/>
                  <a:pt x="2546" y="922"/>
                  <a:pt x="2542" y="919"/>
                </a:cubicBezTo>
                <a:cubicBezTo>
                  <a:pt x="2540" y="917"/>
                  <a:pt x="2538" y="916"/>
                  <a:pt x="2537" y="915"/>
                </a:cubicBezTo>
                <a:cubicBezTo>
                  <a:pt x="2535" y="914"/>
                  <a:pt x="2533" y="912"/>
                  <a:pt x="2530" y="912"/>
                </a:cubicBezTo>
                <a:cubicBezTo>
                  <a:pt x="2530" y="912"/>
                  <a:pt x="2528" y="910"/>
                  <a:pt x="2526" y="909"/>
                </a:cubicBezTo>
                <a:cubicBezTo>
                  <a:pt x="2525" y="908"/>
                  <a:pt x="2524" y="906"/>
                  <a:pt x="2524" y="906"/>
                </a:cubicBezTo>
                <a:cubicBezTo>
                  <a:pt x="2524" y="906"/>
                  <a:pt x="2524" y="905"/>
                  <a:pt x="2525" y="905"/>
                </a:cubicBezTo>
                <a:cubicBezTo>
                  <a:pt x="2526" y="904"/>
                  <a:pt x="2528" y="904"/>
                  <a:pt x="2531" y="904"/>
                </a:cubicBezTo>
                <a:cubicBezTo>
                  <a:pt x="2533" y="904"/>
                  <a:pt x="2536" y="903"/>
                  <a:pt x="2538" y="901"/>
                </a:cubicBezTo>
                <a:cubicBezTo>
                  <a:pt x="2540" y="898"/>
                  <a:pt x="2541" y="895"/>
                  <a:pt x="2541" y="893"/>
                </a:cubicBezTo>
                <a:cubicBezTo>
                  <a:pt x="2540" y="888"/>
                  <a:pt x="2539" y="883"/>
                  <a:pt x="2537" y="874"/>
                </a:cubicBezTo>
                <a:cubicBezTo>
                  <a:pt x="2531" y="854"/>
                  <a:pt x="2518" y="846"/>
                  <a:pt x="2507" y="846"/>
                </a:cubicBezTo>
                <a:cubicBezTo>
                  <a:pt x="2500" y="846"/>
                  <a:pt x="2494" y="849"/>
                  <a:pt x="2490" y="851"/>
                </a:cubicBezTo>
                <a:cubicBezTo>
                  <a:pt x="2490" y="851"/>
                  <a:pt x="2490" y="851"/>
                  <a:pt x="2489" y="851"/>
                </a:cubicBezTo>
                <a:cubicBezTo>
                  <a:pt x="2482" y="852"/>
                  <a:pt x="2463" y="853"/>
                  <a:pt x="2447" y="853"/>
                </a:cubicBezTo>
                <a:cubicBezTo>
                  <a:pt x="2435" y="853"/>
                  <a:pt x="2425" y="853"/>
                  <a:pt x="2423" y="853"/>
                </a:cubicBezTo>
                <a:cubicBezTo>
                  <a:pt x="2419" y="853"/>
                  <a:pt x="2417" y="854"/>
                  <a:pt x="2413" y="855"/>
                </a:cubicBezTo>
                <a:cubicBezTo>
                  <a:pt x="2400" y="860"/>
                  <a:pt x="2380" y="868"/>
                  <a:pt x="2371" y="873"/>
                </a:cubicBezTo>
                <a:cubicBezTo>
                  <a:pt x="2362" y="878"/>
                  <a:pt x="2345" y="884"/>
                  <a:pt x="2338" y="888"/>
                </a:cubicBezTo>
                <a:cubicBezTo>
                  <a:pt x="2338" y="888"/>
                  <a:pt x="2338" y="888"/>
                  <a:pt x="2337" y="888"/>
                </a:cubicBezTo>
                <a:cubicBezTo>
                  <a:pt x="2334" y="888"/>
                  <a:pt x="2324" y="886"/>
                  <a:pt x="2315" y="886"/>
                </a:cubicBezTo>
                <a:cubicBezTo>
                  <a:pt x="2316" y="883"/>
                  <a:pt x="2317" y="881"/>
                  <a:pt x="2318" y="878"/>
                </a:cubicBezTo>
                <a:cubicBezTo>
                  <a:pt x="2319" y="877"/>
                  <a:pt x="2320" y="876"/>
                  <a:pt x="2320" y="875"/>
                </a:cubicBezTo>
                <a:cubicBezTo>
                  <a:pt x="2323" y="876"/>
                  <a:pt x="2325" y="876"/>
                  <a:pt x="2327" y="876"/>
                </a:cubicBezTo>
                <a:cubicBezTo>
                  <a:pt x="2336" y="876"/>
                  <a:pt x="2345" y="873"/>
                  <a:pt x="2352" y="872"/>
                </a:cubicBezTo>
                <a:cubicBezTo>
                  <a:pt x="2360" y="871"/>
                  <a:pt x="2365" y="865"/>
                  <a:pt x="2369" y="861"/>
                </a:cubicBezTo>
                <a:cubicBezTo>
                  <a:pt x="2373" y="856"/>
                  <a:pt x="2377" y="851"/>
                  <a:pt x="2381" y="849"/>
                </a:cubicBezTo>
                <a:cubicBezTo>
                  <a:pt x="2383" y="847"/>
                  <a:pt x="2385" y="846"/>
                  <a:pt x="2387" y="844"/>
                </a:cubicBezTo>
                <a:cubicBezTo>
                  <a:pt x="2388" y="843"/>
                  <a:pt x="2390" y="840"/>
                  <a:pt x="2390" y="837"/>
                </a:cubicBezTo>
                <a:cubicBezTo>
                  <a:pt x="2390" y="834"/>
                  <a:pt x="2388" y="832"/>
                  <a:pt x="2387" y="831"/>
                </a:cubicBezTo>
                <a:cubicBezTo>
                  <a:pt x="2386" y="829"/>
                  <a:pt x="2385" y="828"/>
                  <a:pt x="2384" y="826"/>
                </a:cubicBezTo>
                <a:cubicBezTo>
                  <a:pt x="2384" y="826"/>
                  <a:pt x="2384" y="826"/>
                  <a:pt x="2384" y="826"/>
                </a:cubicBezTo>
                <a:cubicBezTo>
                  <a:pt x="2384" y="825"/>
                  <a:pt x="2386" y="822"/>
                  <a:pt x="2390" y="818"/>
                </a:cubicBezTo>
                <a:cubicBezTo>
                  <a:pt x="2393" y="814"/>
                  <a:pt x="2398" y="809"/>
                  <a:pt x="2402" y="805"/>
                </a:cubicBezTo>
                <a:cubicBezTo>
                  <a:pt x="2404" y="802"/>
                  <a:pt x="2407" y="802"/>
                  <a:pt x="2413" y="801"/>
                </a:cubicBezTo>
                <a:cubicBezTo>
                  <a:pt x="2416" y="801"/>
                  <a:pt x="2419" y="801"/>
                  <a:pt x="2422" y="799"/>
                </a:cubicBezTo>
                <a:cubicBezTo>
                  <a:pt x="2425" y="798"/>
                  <a:pt x="2428" y="794"/>
                  <a:pt x="2429" y="790"/>
                </a:cubicBezTo>
                <a:cubicBezTo>
                  <a:pt x="2431" y="784"/>
                  <a:pt x="2432" y="777"/>
                  <a:pt x="2434" y="772"/>
                </a:cubicBezTo>
                <a:cubicBezTo>
                  <a:pt x="2435" y="769"/>
                  <a:pt x="2436" y="767"/>
                  <a:pt x="2436" y="766"/>
                </a:cubicBezTo>
                <a:cubicBezTo>
                  <a:pt x="2437" y="766"/>
                  <a:pt x="2437" y="766"/>
                  <a:pt x="2437" y="766"/>
                </a:cubicBezTo>
                <a:cubicBezTo>
                  <a:pt x="2445" y="767"/>
                  <a:pt x="2457" y="774"/>
                  <a:pt x="2467" y="774"/>
                </a:cubicBezTo>
                <a:cubicBezTo>
                  <a:pt x="2475" y="773"/>
                  <a:pt x="2481" y="769"/>
                  <a:pt x="2487" y="765"/>
                </a:cubicBezTo>
                <a:cubicBezTo>
                  <a:pt x="2493" y="761"/>
                  <a:pt x="2500" y="756"/>
                  <a:pt x="2500" y="755"/>
                </a:cubicBezTo>
                <a:cubicBezTo>
                  <a:pt x="2500" y="755"/>
                  <a:pt x="2500" y="755"/>
                  <a:pt x="2500" y="755"/>
                </a:cubicBezTo>
                <a:cubicBezTo>
                  <a:pt x="2500" y="755"/>
                  <a:pt x="2500" y="755"/>
                  <a:pt x="2500" y="755"/>
                </a:cubicBezTo>
                <a:cubicBezTo>
                  <a:pt x="2501" y="755"/>
                  <a:pt x="2502" y="755"/>
                  <a:pt x="2503" y="755"/>
                </a:cubicBezTo>
                <a:cubicBezTo>
                  <a:pt x="2506" y="755"/>
                  <a:pt x="2509" y="755"/>
                  <a:pt x="2511" y="757"/>
                </a:cubicBezTo>
                <a:cubicBezTo>
                  <a:pt x="2514" y="758"/>
                  <a:pt x="2515" y="760"/>
                  <a:pt x="2516" y="762"/>
                </a:cubicBezTo>
                <a:cubicBezTo>
                  <a:pt x="2517" y="771"/>
                  <a:pt x="2524" y="778"/>
                  <a:pt x="2530" y="784"/>
                </a:cubicBezTo>
                <a:cubicBezTo>
                  <a:pt x="2536" y="790"/>
                  <a:pt x="2542" y="795"/>
                  <a:pt x="2545" y="796"/>
                </a:cubicBezTo>
                <a:cubicBezTo>
                  <a:pt x="2548" y="798"/>
                  <a:pt x="2556" y="802"/>
                  <a:pt x="2565" y="805"/>
                </a:cubicBezTo>
                <a:cubicBezTo>
                  <a:pt x="2570" y="807"/>
                  <a:pt x="2574" y="809"/>
                  <a:pt x="2577" y="810"/>
                </a:cubicBezTo>
                <a:cubicBezTo>
                  <a:pt x="2580" y="812"/>
                  <a:pt x="2583" y="814"/>
                  <a:pt x="2583" y="814"/>
                </a:cubicBezTo>
                <a:cubicBezTo>
                  <a:pt x="2586" y="816"/>
                  <a:pt x="2593" y="828"/>
                  <a:pt x="2595" y="838"/>
                </a:cubicBezTo>
                <a:cubicBezTo>
                  <a:pt x="2597" y="845"/>
                  <a:pt x="2600" y="851"/>
                  <a:pt x="2607" y="851"/>
                </a:cubicBezTo>
                <a:cubicBezTo>
                  <a:pt x="2614" y="851"/>
                  <a:pt x="2618" y="845"/>
                  <a:pt x="2618" y="839"/>
                </a:cubicBezTo>
                <a:cubicBezTo>
                  <a:pt x="2619" y="838"/>
                  <a:pt x="2619" y="837"/>
                  <a:pt x="2619" y="836"/>
                </a:cubicBezTo>
                <a:cubicBezTo>
                  <a:pt x="2619" y="829"/>
                  <a:pt x="2617" y="822"/>
                  <a:pt x="2617" y="818"/>
                </a:cubicBezTo>
                <a:cubicBezTo>
                  <a:pt x="2617" y="818"/>
                  <a:pt x="2618" y="818"/>
                  <a:pt x="2618" y="818"/>
                </a:cubicBezTo>
                <a:cubicBezTo>
                  <a:pt x="2627" y="818"/>
                  <a:pt x="2635" y="815"/>
                  <a:pt x="2636" y="815"/>
                </a:cubicBezTo>
                <a:cubicBezTo>
                  <a:pt x="2637" y="814"/>
                  <a:pt x="2636" y="812"/>
                  <a:pt x="2640" y="810"/>
                </a:cubicBezTo>
                <a:cubicBezTo>
                  <a:pt x="2640" y="810"/>
                  <a:pt x="2640" y="810"/>
                  <a:pt x="2640" y="810"/>
                </a:cubicBezTo>
                <a:cubicBezTo>
                  <a:pt x="2644" y="820"/>
                  <a:pt x="2651" y="829"/>
                  <a:pt x="2653" y="833"/>
                </a:cubicBezTo>
                <a:cubicBezTo>
                  <a:pt x="2654" y="835"/>
                  <a:pt x="2658" y="844"/>
                  <a:pt x="2661" y="853"/>
                </a:cubicBezTo>
                <a:cubicBezTo>
                  <a:pt x="2665" y="862"/>
                  <a:pt x="2669" y="871"/>
                  <a:pt x="2671" y="875"/>
                </a:cubicBezTo>
                <a:cubicBezTo>
                  <a:pt x="2672" y="879"/>
                  <a:pt x="2677" y="881"/>
                  <a:pt x="2680" y="881"/>
                </a:cubicBezTo>
                <a:cubicBezTo>
                  <a:pt x="2689" y="881"/>
                  <a:pt x="2696" y="874"/>
                  <a:pt x="2701" y="870"/>
                </a:cubicBezTo>
                <a:cubicBezTo>
                  <a:pt x="2703" y="868"/>
                  <a:pt x="2706" y="866"/>
                  <a:pt x="2711" y="863"/>
                </a:cubicBezTo>
                <a:cubicBezTo>
                  <a:pt x="2715" y="860"/>
                  <a:pt x="2719" y="854"/>
                  <a:pt x="2720" y="847"/>
                </a:cubicBezTo>
                <a:cubicBezTo>
                  <a:pt x="2720" y="846"/>
                  <a:pt x="2720" y="846"/>
                  <a:pt x="2720" y="845"/>
                </a:cubicBezTo>
                <a:cubicBezTo>
                  <a:pt x="2720" y="837"/>
                  <a:pt x="2715" y="831"/>
                  <a:pt x="2710" y="827"/>
                </a:cubicBezTo>
                <a:cubicBezTo>
                  <a:pt x="2708" y="825"/>
                  <a:pt x="2705" y="823"/>
                  <a:pt x="2703" y="822"/>
                </a:cubicBezTo>
                <a:cubicBezTo>
                  <a:pt x="2704" y="821"/>
                  <a:pt x="2705" y="821"/>
                  <a:pt x="2707" y="820"/>
                </a:cubicBezTo>
                <a:cubicBezTo>
                  <a:pt x="2710" y="818"/>
                  <a:pt x="2714" y="816"/>
                  <a:pt x="2717" y="814"/>
                </a:cubicBezTo>
                <a:cubicBezTo>
                  <a:pt x="2720" y="810"/>
                  <a:pt x="2726" y="806"/>
                  <a:pt x="2728" y="805"/>
                </a:cubicBezTo>
                <a:cubicBezTo>
                  <a:pt x="2728" y="805"/>
                  <a:pt x="2728" y="805"/>
                  <a:pt x="2728" y="805"/>
                </a:cubicBezTo>
                <a:cubicBezTo>
                  <a:pt x="2729" y="806"/>
                  <a:pt x="2730" y="817"/>
                  <a:pt x="2730" y="827"/>
                </a:cubicBezTo>
                <a:cubicBezTo>
                  <a:pt x="2731" y="832"/>
                  <a:pt x="2731" y="837"/>
                  <a:pt x="2731" y="841"/>
                </a:cubicBezTo>
                <a:cubicBezTo>
                  <a:pt x="2731" y="845"/>
                  <a:pt x="2731" y="848"/>
                  <a:pt x="2732" y="851"/>
                </a:cubicBezTo>
                <a:cubicBezTo>
                  <a:pt x="2734" y="855"/>
                  <a:pt x="2737" y="857"/>
                  <a:pt x="2740" y="859"/>
                </a:cubicBezTo>
                <a:cubicBezTo>
                  <a:pt x="2744" y="862"/>
                  <a:pt x="2749" y="864"/>
                  <a:pt x="2754" y="867"/>
                </a:cubicBezTo>
                <a:cubicBezTo>
                  <a:pt x="2759" y="869"/>
                  <a:pt x="2763" y="873"/>
                  <a:pt x="2763" y="873"/>
                </a:cubicBezTo>
                <a:cubicBezTo>
                  <a:pt x="2769" y="881"/>
                  <a:pt x="2779" y="883"/>
                  <a:pt x="2788" y="883"/>
                </a:cubicBezTo>
                <a:cubicBezTo>
                  <a:pt x="2792" y="883"/>
                  <a:pt x="2795" y="884"/>
                  <a:pt x="2799" y="880"/>
                </a:cubicBezTo>
                <a:cubicBezTo>
                  <a:pt x="2799" y="880"/>
                  <a:pt x="2799" y="880"/>
                  <a:pt x="2800" y="880"/>
                </a:cubicBezTo>
                <a:cubicBezTo>
                  <a:pt x="2804" y="880"/>
                  <a:pt x="2816" y="884"/>
                  <a:pt x="2820" y="885"/>
                </a:cubicBezTo>
                <a:cubicBezTo>
                  <a:pt x="2822" y="886"/>
                  <a:pt x="2823" y="886"/>
                  <a:pt x="2824" y="886"/>
                </a:cubicBezTo>
                <a:cubicBezTo>
                  <a:pt x="2832" y="886"/>
                  <a:pt x="2843" y="882"/>
                  <a:pt x="2851" y="880"/>
                </a:cubicBezTo>
                <a:cubicBezTo>
                  <a:pt x="2855" y="878"/>
                  <a:pt x="2859" y="877"/>
                  <a:pt x="2861" y="876"/>
                </a:cubicBezTo>
                <a:cubicBezTo>
                  <a:pt x="2861" y="877"/>
                  <a:pt x="2861" y="877"/>
                  <a:pt x="2861" y="878"/>
                </a:cubicBezTo>
                <a:cubicBezTo>
                  <a:pt x="2861" y="879"/>
                  <a:pt x="2861" y="880"/>
                  <a:pt x="2861" y="881"/>
                </a:cubicBezTo>
                <a:cubicBezTo>
                  <a:pt x="2860" y="898"/>
                  <a:pt x="2856" y="925"/>
                  <a:pt x="2846" y="936"/>
                </a:cubicBezTo>
                <a:cubicBezTo>
                  <a:pt x="2840" y="944"/>
                  <a:pt x="2837" y="950"/>
                  <a:pt x="2836" y="953"/>
                </a:cubicBezTo>
                <a:close/>
                <a:moveTo>
                  <a:pt x="2953" y="1233"/>
                </a:moveTo>
                <a:cubicBezTo>
                  <a:pt x="2950" y="1230"/>
                  <a:pt x="2948" y="1227"/>
                  <a:pt x="2944" y="1225"/>
                </a:cubicBezTo>
                <a:cubicBezTo>
                  <a:pt x="2944" y="1225"/>
                  <a:pt x="2944" y="1225"/>
                  <a:pt x="2944" y="1225"/>
                </a:cubicBezTo>
                <a:cubicBezTo>
                  <a:pt x="2944" y="1225"/>
                  <a:pt x="2939" y="1220"/>
                  <a:pt x="2935" y="1215"/>
                </a:cubicBezTo>
                <a:cubicBezTo>
                  <a:pt x="2931" y="1209"/>
                  <a:pt x="2926" y="1202"/>
                  <a:pt x="2924" y="1195"/>
                </a:cubicBezTo>
                <a:cubicBezTo>
                  <a:pt x="2918" y="1178"/>
                  <a:pt x="2910" y="1157"/>
                  <a:pt x="2900" y="1143"/>
                </a:cubicBezTo>
                <a:cubicBezTo>
                  <a:pt x="2892" y="1133"/>
                  <a:pt x="2886" y="1104"/>
                  <a:pt x="2877" y="1084"/>
                </a:cubicBezTo>
                <a:cubicBezTo>
                  <a:pt x="2868" y="1065"/>
                  <a:pt x="2860" y="1040"/>
                  <a:pt x="2852" y="1022"/>
                </a:cubicBezTo>
                <a:cubicBezTo>
                  <a:pt x="2851" y="1019"/>
                  <a:pt x="2850" y="1017"/>
                  <a:pt x="2848" y="1015"/>
                </a:cubicBezTo>
                <a:cubicBezTo>
                  <a:pt x="2853" y="1014"/>
                  <a:pt x="2858" y="1012"/>
                  <a:pt x="2861" y="1013"/>
                </a:cubicBezTo>
                <a:cubicBezTo>
                  <a:pt x="2862" y="1013"/>
                  <a:pt x="2862" y="1013"/>
                  <a:pt x="2862" y="1013"/>
                </a:cubicBezTo>
                <a:cubicBezTo>
                  <a:pt x="2866" y="1024"/>
                  <a:pt x="2877" y="1044"/>
                  <a:pt x="2879" y="1057"/>
                </a:cubicBezTo>
                <a:cubicBezTo>
                  <a:pt x="2880" y="1066"/>
                  <a:pt x="2887" y="1071"/>
                  <a:pt x="2890" y="1073"/>
                </a:cubicBezTo>
                <a:cubicBezTo>
                  <a:pt x="2894" y="1076"/>
                  <a:pt x="2894" y="1075"/>
                  <a:pt x="2895" y="1080"/>
                </a:cubicBezTo>
                <a:cubicBezTo>
                  <a:pt x="2896" y="1088"/>
                  <a:pt x="2899" y="1100"/>
                  <a:pt x="2903" y="1110"/>
                </a:cubicBezTo>
                <a:cubicBezTo>
                  <a:pt x="2905" y="1116"/>
                  <a:pt x="2907" y="1121"/>
                  <a:pt x="2909" y="1125"/>
                </a:cubicBezTo>
                <a:cubicBezTo>
                  <a:pt x="2911" y="1129"/>
                  <a:pt x="2912" y="1132"/>
                  <a:pt x="2915" y="1135"/>
                </a:cubicBezTo>
                <a:cubicBezTo>
                  <a:pt x="2916" y="1137"/>
                  <a:pt x="2923" y="1143"/>
                  <a:pt x="2929" y="1150"/>
                </a:cubicBezTo>
                <a:cubicBezTo>
                  <a:pt x="2935" y="1157"/>
                  <a:pt x="2941" y="1165"/>
                  <a:pt x="2942" y="1167"/>
                </a:cubicBezTo>
                <a:cubicBezTo>
                  <a:pt x="2945" y="1175"/>
                  <a:pt x="2949" y="1186"/>
                  <a:pt x="2953" y="1206"/>
                </a:cubicBezTo>
                <a:cubicBezTo>
                  <a:pt x="2955" y="1216"/>
                  <a:pt x="2956" y="1228"/>
                  <a:pt x="2959" y="1239"/>
                </a:cubicBezTo>
                <a:cubicBezTo>
                  <a:pt x="2959" y="1240"/>
                  <a:pt x="2959" y="1242"/>
                  <a:pt x="2960" y="1243"/>
                </a:cubicBezTo>
                <a:cubicBezTo>
                  <a:pt x="2958" y="1239"/>
                  <a:pt x="2955" y="1236"/>
                  <a:pt x="2953" y="1233"/>
                </a:cubicBezTo>
                <a:close/>
                <a:moveTo>
                  <a:pt x="3061" y="753"/>
                </a:moveTo>
                <a:cubicBezTo>
                  <a:pt x="3062" y="756"/>
                  <a:pt x="3066" y="758"/>
                  <a:pt x="3068" y="758"/>
                </a:cubicBezTo>
                <a:cubicBezTo>
                  <a:pt x="3071" y="757"/>
                  <a:pt x="3072" y="757"/>
                  <a:pt x="3073" y="757"/>
                </a:cubicBezTo>
                <a:cubicBezTo>
                  <a:pt x="3073" y="757"/>
                  <a:pt x="3073" y="757"/>
                  <a:pt x="3074" y="757"/>
                </a:cubicBezTo>
                <a:cubicBezTo>
                  <a:pt x="3079" y="761"/>
                  <a:pt x="3081" y="768"/>
                  <a:pt x="3086" y="778"/>
                </a:cubicBezTo>
                <a:cubicBezTo>
                  <a:pt x="3089" y="784"/>
                  <a:pt x="3094" y="786"/>
                  <a:pt x="3098" y="787"/>
                </a:cubicBezTo>
                <a:cubicBezTo>
                  <a:pt x="3101" y="788"/>
                  <a:pt x="3103" y="789"/>
                  <a:pt x="3104" y="790"/>
                </a:cubicBezTo>
                <a:cubicBezTo>
                  <a:pt x="3103" y="791"/>
                  <a:pt x="3102" y="793"/>
                  <a:pt x="3100" y="795"/>
                </a:cubicBezTo>
                <a:cubicBezTo>
                  <a:pt x="3098" y="797"/>
                  <a:pt x="3095" y="800"/>
                  <a:pt x="3094" y="806"/>
                </a:cubicBezTo>
                <a:cubicBezTo>
                  <a:pt x="3094" y="809"/>
                  <a:pt x="3096" y="813"/>
                  <a:pt x="3099" y="815"/>
                </a:cubicBezTo>
                <a:cubicBezTo>
                  <a:pt x="3101" y="817"/>
                  <a:pt x="3105" y="827"/>
                  <a:pt x="3107" y="837"/>
                </a:cubicBezTo>
                <a:cubicBezTo>
                  <a:pt x="3109" y="846"/>
                  <a:pt x="3111" y="855"/>
                  <a:pt x="3111" y="860"/>
                </a:cubicBezTo>
                <a:cubicBezTo>
                  <a:pt x="3110" y="861"/>
                  <a:pt x="3107" y="863"/>
                  <a:pt x="3103" y="863"/>
                </a:cubicBezTo>
                <a:cubicBezTo>
                  <a:pt x="3098" y="865"/>
                  <a:pt x="3092" y="865"/>
                  <a:pt x="3088" y="865"/>
                </a:cubicBezTo>
                <a:cubicBezTo>
                  <a:pt x="3087" y="865"/>
                  <a:pt x="3086" y="865"/>
                  <a:pt x="3085" y="865"/>
                </a:cubicBezTo>
                <a:cubicBezTo>
                  <a:pt x="3079" y="864"/>
                  <a:pt x="3055" y="855"/>
                  <a:pt x="3046" y="852"/>
                </a:cubicBezTo>
                <a:cubicBezTo>
                  <a:pt x="3045" y="851"/>
                  <a:pt x="3041" y="840"/>
                  <a:pt x="3042" y="833"/>
                </a:cubicBezTo>
                <a:cubicBezTo>
                  <a:pt x="3042" y="831"/>
                  <a:pt x="3042" y="829"/>
                  <a:pt x="3042" y="828"/>
                </a:cubicBezTo>
                <a:cubicBezTo>
                  <a:pt x="3043" y="828"/>
                  <a:pt x="3044" y="828"/>
                  <a:pt x="3045" y="828"/>
                </a:cubicBezTo>
                <a:cubicBezTo>
                  <a:pt x="3050" y="828"/>
                  <a:pt x="3055" y="826"/>
                  <a:pt x="3058" y="823"/>
                </a:cubicBezTo>
                <a:cubicBezTo>
                  <a:pt x="3062" y="820"/>
                  <a:pt x="3065" y="816"/>
                  <a:pt x="3070" y="811"/>
                </a:cubicBezTo>
                <a:cubicBezTo>
                  <a:pt x="3073" y="808"/>
                  <a:pt x="3075" y="805"/>
                  <a:pt x="3075" y="801"/>
                </a:cubicBezTo>
                <a:cubicBezTo>
                  <a:pt x="3074" y="796"/>
                  <a:pt x="3072" y="793"/>
                  <a:pt x="3069" y="790"/>
                </a:cubicBezTo>
                <a:cubicBezTo>
                  <a:pt x="3060" y="784"/>
                  <a:pt x="3047" y="782"/>
                  <a:pt x="3042" y="780"/>
                </a:cubicBezTo>
                <a:cubicBezTo>
                  <a:pt x="3042" y="780"/>
                  <a:pt x="3042" y="780"/>
                  <a:pt x="3042" y="780"/>
                </a:cubicBezTo>
                <a:cubicBezTo>
                  <a:pt x="3040" y="779"/>
                  <a:pt x="3034" y="770"/>
                  <a:pt x="3029" y="762"/>
                </a:cubicBezTo>
                <a:cubicBezTo>
                  <a:pt x="3023" y="754"/>
                  <a:pt x="3019" y="745"/>
                  <a:pt x="3016" y="740"/>
                </a:cubicBezTo>
                <a:cubicBezTo>
                  <a:pt x="3015" y="738"/>
                  <a:pt x="3014" y="736"/>
                  <a:pt x="3014" y="734"/>
                </a:cubicBezTo>
                <a:cubicBezTo>
                  <a:pt x="3014" y="728"/>
                  <a:pt x="3018" y="719"/>
                  <a:pt x="3027" y="712"/>
                </a:cubicBezTo>
                <a:cubicBezTo>
                  <a:pt x="3027" y="712"/>
                  <a:pt x="3027" y="712"/>
                  <a:pt x="3027" y="712"/>
                </a:cubicBezTo>
                <a:cubicBezTo>
                  <a:pt x="3027" y="712"/>
                  <a:pt x="3028" y="712"/>
                  <a:pt x="3028" y="712"/>
                </a:cubicBezTo>
                <a:cubicBezTo>
                  <a:pt x="3032" y="712"/>
                  <a:pt x="3041" y="715"/>
                  <a:pt x="3050" y="715"/>
                </a:cubicBezTo>
                <a:cubicBezTo>
                  <a:pt x="3054" y="715"/>
                  <a:pt x="3058" y="715"/>
                  <a:pt x="3061" y="712"/>
                </a:cubicBezTo>
                <a:cubicBezTo>
                  <a:pt x="3070" y="705"/>
                  <a:pt x="3079" y="698"/>
                  <a:pt x="3083" y="695"/>
                </a:cubicBezTo>
                <a:cubicBezTo>
                  <a:pt x="3085" y="695"/>
                  <a:pt x="3090" y="696"/>
                  <a:pt x="3095" y="698"/>
                </a:cubicBezTo>
                <a:cubicBezTo>
                  <a:pt x="3100" y="700"/>
                  <a:pt x="3104" y="703"/>
                  <a:pt x="3104" y="704"/>
                </a:cubicBezTo>
                <a:cubicBezTo>
                  <a:pt x="3106" y="709"/>
                  <a:pt x="3110" y="713"/>
                  <a:pt x="3113" y="717"/>
                </a:cubicBezTo>
                <a:cubicBezTo>
                  <a:pt x="3114" y="719"/>
                  <a:pt x="3115" y="721"/>
                  <a:pt x="3116" y="722"/>
                </a:cubicBezTo>
                <a:cubicBezTo>
                  <a:pt x="3116" y="723"/>
                  <a:pt x="3116" y="723"/>
                  <a:pt x="3116" y="723"/>
                </a:cubicBezTo>
                <a:cubicBezTo>
                  <a:pt x="3114" y="724"/>
                  <a:pt x="3108" y="725"/>
                  <a:pt x="3104" y="725"/>
                </a:cubicBezTo>
                <a:cubicBezTo>
                  <a:pt x="3099" y="725"/>
                  <a:pt x="3095" y="724"/>
                  <a:pt x="3095" y="723"/>
                </a:cubicBezTo>
                <a:cubicBezTo>
                  <a:pt x="3092" y="719"/>
                  <a:pt x="3087" y="717"/>
                  <a:pt x="3083" y="717"/>
                </a:cubicBezTo>
                <a:cubicBezTo>
                  <a:pt x="3072" y="718"/>
                  <a:pt x="3061" y="728"/>
                  <a:pt x="3060" y="743"/>
                </a:cubicBezTo>
                <a:cubicBezTo>
                  <a:pt x="3060" y="744"/>
                  <a:pt x="3060" y="745"/>
                  <a:pt x="3060" y="746"/>
                </a:cubicBezTo>
                <a:cubicBezTo>
                  <a:pt x="3060" y="749"/>
                  <a:pt x="3060" y="751"/>
                  <a:pt x="3061" y="753"/>
                </a:cubicBezTo>
                <a:close/>
                <a:moveTo>
                  <a:pt x="3441" y="353"/>
                </a:moveTo>
                <a:cubicBezTo>
                  <a:pt x="3437" y="354"/>
                  <a:pt x="3434" y="355"/>
                  <a:pt x="3431" y="355"/>
                </a:cubicBezTo>
                <a:cubicBezTo>
                  <a:pt x="3426" y="355"/>
                  <a:pt x="3423" y="353"/>
                  <a:pt x="3423" y="351"/>
                </a:cubicBezTo>
                <a:cubicBezTo>
                  <a:pt x="3421" y="346"/>
                  <a:pt x="3416" y="341"/>
                  <a:pt x="3411" y="340"/>
                </a:cubicBezTo>
                <a:cubicBezTo>
                  <a:pt x="3412" y="340"/>
                  <a:pt x="3413" y="340"/>
                  <a:pt x="3414" y="339"/>
                </a:cubicBezTo>
                <a:cubicBezTo>
                  <a:pt x="3420" y="338"/>
                  <a:pt x="3428" y="335"/>
                  <a:pt x="3433" y="335"/>
                </a:cubicBezTo>
                <a:cubicBezTo>
                  <a:pt x="3435" y="335"/>
                  <a:pt x="3436" y="336"/>
                  <a:pt x="3436" y="336"/>
                </a:cubicBezTo>
                <a:cubicBezTo>
                  <a:pt x="3436" y="336"/>
                  <a:pt x="3436" y="335"/>
                  <a:pt x="3436" y="337"/>
                </a:cubicBezTo>
                <a:cubicBezTo>
                  <a:pt x="3437" y="342"/>
                  <a:pt x="3439" y="346"/>
                  <a:pt x="3440" y="349"/>
                </a:cubicBezTo>
                <a:cubicBezTo>
                  <a:pt x="3441" y="350"/>
                  <a:pt x="3441" y="352"/>
                  <a:pt x="3442" y="352"/>
                </a:cubicBezTo>
                <a:cubicBezTo>
                  <a:pt x="3441" y="353"/>
                  <a:pt x="3441" y="353"/>
                  <a:pt x="3441" y="353"/>
                </a:cubicBezTo>
                <a:close/>
                <a:moveTo>
                  <a:pt x="3513" y="323"/>
                </a:moveTo>
                <a:cubicBezTo>
                  <a:pt x="3513" y="323"/>
                  <a:pt x="3513" y="323"/>
                  <a:pt x="3513" y="323"/>
                </a:cubicBezTo>
                <a:cubicBezTo>
                  <a:pt x="3512" y="324"/>
                  <a:pt x="3511" y="324"/>
                  <a:pt x="3511" y="324"/>
                </a:cubicBezTo>
                <a:cubicBezTo>
                  <a:pt x="3509" y="324"/>
                  <a:pt x="3508" y="324"/>
                  <a:pt x="3507" y="318"/>
                </a:cubicBezTo>
                <a:cubicBezTo>
                  <a:pt x="3506" y="312"/>
                  <a:pt x="3506" y="307"/>
                  <a:pt x="3502" y="302"/>
                </a:cubicBezTo>
                <a:cubicBezTo>
                  <a:pt x="3500" y="300"/>
                  <a:pt x="3498" y="299"/>
                  <a:pt x="3496" y="297"/>
                </a:cubicBezTo>
                <a:cubicBezTo>
                  <a:pt x="3499" y="299"/>
                  <a:pt x="3503" y="301"/>
                  <a:pt x="3505" y="302"/>
                </a:cubicBezTo>
                <a:cubicBezTo>
                  <a:pt x="3507" y="303"/>
                  <a:pt x="3507" y="304"/>
                  <a:pt x="3508" y="305"/>
                </a:cubicBezTo>
                <a:cubicBezTo>
                  <a:pt x="3508" y="305"/>
                  <a:pt x="3508" y="305"/>
                  <a:pt x="3508" y="305"/>
                </a:cubicBezTo>
                <a:cubicBezTo>
                  <a:pt x="3508" y="305"/>
                  <a:pt x="3508" y="305"/>
                  <a:pt x="3508" y="305"/>
                </a:cubicBezTo>
                <a:cubicBezTo>
                  <a:pt x="3512" y="307"/>
                  <a:pt x="3513" y="316"/>
                  <a:pt x="3513" y="320"/>
                </a:cubicBezTo>
                <a:cubicBezTo>
                  <a:pt x="3513" y="322"/>
                  <a:pt x="3513" y="323"/>
                  <a:pt x="3513" y="323"/>
                </a:cubicBezTo>
                <a:close/>
                <a:moveTo>
                  <a:pt x="2502" y="789"/>
                </a:moveTo>
                <a:cubicBezTo>
                  <a:pt x="2495" y="789"/>
                  <a:pt x="2491" y="794"/>
                  <a:pt x="2488" y="798"/>
                </a:cubicBezTo>
                <a:cubicBezTo>
                  <a:pt x="2485" y="803"/>
                  <a:pt x="2484" y="808"/>
                  <a:pt x="2484" y="814"/>
                </a:cubicBezTo>
                <a:cubicBezTo>
                  <a:pt x="2484" y="818"/>
                  <a:pt x="2485" y="823"/>
                  <a:pt x="2488" y="827"/>
                </a:cubicBezTo>
                <a:cubicBezTo>
                  <a:pt x="2492" y="831"/>
                  <a:pt x="2496" y="833"/>
                  <a:pt x="2501" y="833"/>
                </a:cubicBezTo>
                <a:cubicBezTo>
                  <a:pt x="2508" y="833"/>
                  <a:pt x="2514" y="828"/>
                  <a:pt x="2517" y="822"/>
                </a:cubicBezTo>
                <a:cubicBezTo>
                  <a:pt x="2512" y="819"/>
                  <a:pt x="2512" y="819"/>
                  <a:pt x="2512" y="819"/>
                </a:cubicBezTo>
                <a:cubicBezTo>
                  <a:pt x="2517" y="822"/>
                  <a:pt x="2517" y="822"/>
                  <a:pt x="2517" y="822"/>
                </a:cubicBezTo>
                <a:cubicBezTo>
                  <a:pt x="2519" y="819"/>
                  <a:pt x="2520" y="816"/>
                  <a:pt x="2520" y="812"/>
                </a:cubicBezTo>
                <a:cubicBezTo>
                  <a:pt x="2520" y="806"/>
                  <a:pt x="2518" y="801"/>
                  <a:pt x="2515" y="797"/>
                </a:cubicBezTo>
                <a:cubicBezTo>
                  <a:pt x="2511" y="793"/>
                  <a:pt x="2508" y="790"/>
                  <a:pt x="2502" y="789"/>
                </a:cubicBezTo>
                <a:close/>
                <a:moveTo>
                  <a:pt x="2028" y="279"/>
                </a:moveTo>
                <a:cubicBezTo>
                  <a:pt x="2029" y="279"/>
                  <a:pt x="2030" y="279"/>
                  <a:pt x="2031" y="279"/>
                </a:cubicBezTo>
                <a:cubicBezTo>
                  <a:pt x="2037" y="279"/>
                  <a:pt x="2045" y="280"/>
                  <a:pt x="2051" y="280"/>
                </a:cubicBezTo>
                <a:cubicBezTo>
                  <a:pt x="2055" y="280"/>
                  <a:pt x="2058" y="280"/>
                  <a:pt x="2062" y="278"/>
                </a:cubicBezTo>
                <a:cubicBezTo>
                  <a:pt x="2065" y="275"/>
                  <a:pt x="2067" y="271"/>
                  <a:pt x="2067" y="266"/>
                </a:cubicBezTo>
                <a:cubicBezTo>
                  <a:pt x="2067" y="266"/>
                  <a:pt x="2067" y="266"/>
                  <a:pt x="2067" y="265"/>
                </a:cubicBezTo>
                <a:cubicBezTo>
                  <a:pt x="2061" y="266"/>
                  <a:pt x="2061" y="266"/>
                  <a:pt x="2061" y="266"/>
                </a:cubicBezTo>
                <a:cubicBezTo>
                  <a:pt x="2067" y="265"/>
                  <a:pt x="2067" y="265"/>
                  <a:pt x="2067" y="265"/>
                </a:cubicBezTo>
                <a:cubicBezTo>
                  <a:pt x="2067" y="262"/>
                  <a:pt x="2067" y="259"/>
                  <a:pt x="2067" y="256"/>
                </a:cubicBezTo>
                <a:cubicBezTo>
                  <a:pt x="2067" y="245"/>
                  <a:pt x="2068" y="234"/>
                  <a:pt x="2071" y="230"/>
                </a:cubicBezTo>
                <a:cubicBezTo>
                  <a:pt x="2072" y="227"/>
                  <a:pt x="2074" y="225"/>
                  <a:pt x="2076" y="222"/>
                </a:cubicBezTo>
                <a:cubicBezTo>
                  <a:pt x="2078" y="220"/>
                  <a:pt x="2081" y="218"/>
                  <a:pt x="2081" y="212"/>
                </a:cubicBezTo>
                <a:cubicBezTo>
                  <a:pt x="2082" y="209"/>
                  <a:pt x="2079" y="206"/>
                  <a:pt x="2077" y="205"/>
                </a:cubicBezTo>
                <a:cubicBezTo>
                  <a:pt x="2074" y="204"/>
                  <a:pt x="2072" y="204"/>
                  <a:pt x="2070" y="204"/>
                </a:cubicBezTo>
                <a:cubicBezTo>
                  <a:pt x="2069" y="204"/>
                  <a:pt x="2068" y="204"/>
                  <a:pt x="2068" y="204"/>
                </a:cubicBezTo>
                <a:cubicBezTo>
                  <a:pt x="2066" y="204"/>
                  <a:pt x="2067" y="204"/>
                  <a:pt x="2066" y="204"/>
                </a:cubicBezTo>
                <a:cubicBezTo>
                  <a:pt x="2066" y="203"/>
                  <a:pt x="2065" y="202"/>
                  <a:pt x="2063" y="198"/>
                </a:cubicBezTo>
                <a:cubicBezTo>
                  <a:pt x="2063" y="196"/>
                  <a:pt x="2062" y="194"/>
                  <a:pt x="2062" y="193"/>
                </a:cubicBezTo>
                <a:cubicBezTo>
                  <a:pt x="2062" y="186"/>
                  <a:pt x="2067" y="179"/>
                  <a:pt x="2072" y="175"/>
                </a:cubicBezTo>
                <a:cubicBezTo>
                  <a:pt x="2075" y="172"/>
                  <a:pt x="2084" y="162"/>
                  <a:pt x="2094" y="152"/>
                </a:cubicBezTo>
                <a:cubicBezTo>
                  <a:pt x="2103" y="142"/>
                  <a:pt x="2115" y="132"/>
                  <a:pt x="2121" y="130"/>
                </a:cubicBezTo>
                <a:cubicBezTo>
                  <a:pt x="2135" y="125"/>
                  <a:pt x="2145" y="112"/>
                  <a:pt x="2146" y="100"/>
                </a:cubicBezTo>
                <a:cubicBezTo>
                  <a:pt x="2146" y="95"/>
                  <a:pt x="2143" y="89"/>
                  <a:pt x="2137" y="87"/>
                </a:cubicBezTo>
                <a:cubicBezTo>
                  <a:pt x="2131" y="84"/>
                  <a:pt x="2120" y="80"/>
                  <a:pt x="2108" y="80"/>
                </a:cubicBezTo>
                <a:cubicBezTo>
                  <a:pt x="2099" y="80"/>
                  <a:pt x="2090" y="83"/>
                  <a:pt x="2082" y="90"/>
                </a:cubicBezTo>
                <a:cubicBezTo>
                  <a:pt x="2076" y="97"/>
                  <a:pt x="2070" y="103"/>
                  <a:pt x="2066" y="107"/>
                </a:cubicBezTo>
                <a:cubicBezTo>
                  <a:pt x="2061" y="111"/>
                  <a:pt x="2057" y="113"/>
                  <a:pt x="2053" y="113"/>
                </a:cubicBezTo>
                <a:cubicBezTo>
                  <a:pt x="2051" y="113"/>
                  <a:pt x="2050" y="113"/>
                  <a:pt x="2048" y="113"/>
                </a:cubicBezTo>
                <a:cubicBezTo>
                  <a:pt x="2042" y="111"/>
                  <a:pt x="2039" y="106"/>
                  <a:pt x="2035" y="98"/>
                </a:cubicBezTo>
                <a:cubicBezTo>
                  <a:pt x="2031" y="90"/>
                  <a:pt x="2028" y="81"/>
                  <a:pt x="2022" y="73"/>
                </a:cubicBezTo>
                <a:cubicBezTo>
                  <a:pt x="2017" y="67"/>
                  <a:pt x="2015" y="55"/>
                  <a:pt x="2014" y="44"/>
                </a:cubicBezTo>
                <a:cubicBezTo>
                  <a:pt x="2013" y="39"/>
                  <a:pt x="2013" y="33"/>
                  <a:pt x="2011" y="29"/>
                </a:cubicBezTo>
                <a:cubicBezTo>
                  <a:pt x="2010" y="25"/>
                  <a:pt x="2005" y="19"/>
                  <a:pt x="1999" y="19"/>
                </a:cubicBezTo>
                <a:cubicBezTo>
                  <a:pt x="1998" y="19"/>
                  <a:pt x="1997" y="20"/>
                  <a:pt x="1996" y="20"/>
                </a:cubicBezTo>
                <a:cubicBezTo>
                  <a:pt x="1988" y="21"/>
                  <a:pt x="1984" y="22"/>
                  <a:pt x="1983" y="22"/>
                </a:cubicBezTo>
                <a:cubicBezTo>
                  <a:pt x="1980" y="22"/>
                  <a:pt x="1972" y="20"/>
                  <a:pt x="1964" y="20"/>
                </a:cubicBezTo>
                <a:cubicBezTo>
                  <a:pt x="1961" y="20"/>
                  <a:pt x="1957" y="21"/>
                  <a:pt x="1953" y="22"/>
                </a:cubicBezTo>
                <a:cubicBezTo>
                  <a:pt x="1948" y="23"/>
                  <a:pt x="1943" y="25"/>
                  <a:pt x="1940" y="27"/>
                </a:cubicBezTo>
                <a:cubicBezTo>
                  <a:pt x="1940" y="26"/>
                  <a:pt x="1940" y="26"/>
                  <a:pt x="1940" y="25"/>
                </a:cubicBezTo>
                <a:cubicBezTo>
                  <a:pt x="1939" y="19"/>
                  <a:pt x="1936" y="18"/>
                  <a:pt x="1934" y="16"/>
                </a:cubicBezTo>
                <a:cubicBezTo>
                  <a:pt x="1931" y="14"/>
                  <a:pt x="1928" y="13"/>
                  <a:pt x="1926" y="13"/>
                </a:cubicBezTo>
                <a:cubicBezTo>
                  <a:pt x="1909" y="11"/>
                  <a:pt x="1882" y="2"/>
                  <a:pt x="1859" y="1"/>
                </a:cubicBezTo>
                <a:cubicBezTo>
                  <a:pt x="1858" y="0"/>
                  <a:pt x="1857" y="0"/>
                  <a:pt x="1855" y="0"/>
                </a:cubicBezTo>
                <a:cubicBezTo>
                  <a:pt x="1839" y="1"/>
                  <a:pt x="1829" y="6"/>
                  <a:pt x="1815" y="6"/>
                </a:cubicBezTo>
                <a:cubicBezTo>
                  <a:pt x="1794" y="7"/>
                  <a:pt x="1767" y="5"/>
                  <a:pt x="1748" y="19"/>
                </a:cubicBezTo>
                <a:cubicBezTo>
                  <a:pt x="1741" y="24"/>
                  <a:pt x="1734" y="26"/>
                  <a:pt x="1727" y="28"/>
                </a:cubicBezTo>
                <a:cubicBezTo>
                  <a:pt x="1724" y="29"/>
                  <a:pt x="1721" y="30"/>
                  <a:pt x="1719" y="30"/>
                </a:cubicBezTo>
                <a:cubicBezTo>
                  <a:pt x="1718" y="31"/>
                  <a:pt x="1717" y="31"/>
                  <a:pt x="1715" y="31"/>
                </a:cubicBezTo>
                <a:cubicBezTo>
                  <a:pt x="1714" y="32"/>
                  <a:pt x="1713" y="32"/>
                  <a:pt x="1711" y="34"/>
                </a:cubicBezTo>
                <a:cubicBezTo>
                  <a:pt x="1707" y="40"/>
                  <a:pt x="1703" y="48"/>
                  <a:pt x="1700" y="55"/>
                </a:cubicBezTo>
                <a:cubicBezTo>
                  <a:pt x="1698" y="58"/>
                  <a:pt x="1697" y="61"/>
                  <a:pt x="1695" y="63"/>
                </a:cubicBezTo>
                <a:cubicBezTo>
                  <a:pt x="1695" y="63"/>
                  <a:pt x="1695" y="63"/>
                  <a:pt x="1695" y="63"/>
                </a:cubicBezTo>
                <a:cubicBezTo>
                  <a:pt x="1694" y="61"/>
                  <a:pt x="1692" y="57"/>
                  <a:pt x="1690" y="54"/>
                </a:cubicBezTo>
                <a:cubicBezTo>
                  <a:pt x="1689" y="52"/>
                  <a:pt x="1688" y="49"/>
                  <a:pt x="1686" y="47"/>
                </a:cubicBezTo>
                <a:cubicBezTo>
                  <a:pt x="1685" y="45"/>
                  <a:pt x="1682" y="43"/>
                  <a:pt x="1678" y="43"/>
                </a:cubicBezTo>
                <a:cubicBezTo>
                  <a:pt x="1675" y="43"/>
                  <a:pt x="1673" y="44"/>
                  <a:pt x="1671" y="46"/>
                </a:cubicBezTo>
                <a:cubicBezTo>
                  <a:pt x="1663" y="52"/>
                  <a:pt x="1664" y="61"/>
                  <a:pt x="1664" y="68"/>
                </a:cubicBezTo>
                <a:cubicBezTo>
                  <a:pt x="1664" y="69"/>
                  <a:pt x="1664" y="69"/>
                  <a:pt x="1664" y="69"/>
                </a:cubicBezTo>
                <a:cubicBezTo>
                  <a:pt x="1664" y="76"/>
                  <a:pt x="1663" y="82"/>
                  <a:pt x="1660" y="86"/>
                </a:cubicBezTo>
                <a:cubicBezTo>
                  <a:pt x="1657" y="90"/>
                  <a:pt x="1649" y="93"/>
                  <a:pt x="1641" y="93"/>
                </a:cubicBezTo>
                <a:cubicBezTo>
                  <a:pt x="1635" y="93"/>
                  <a:pt x="1630" y="91"/>
                  <a:pt x="1629" y="90"/>
                </a:cubicBezTo>
                <a:cubicBezTo>
                  <a:pt x="1622" y="86"/>
                  <a:pt x="1614" y="82"/>
                  <a:pt x="1596" y="83"/>
                </a:cubicBezTo>
                <a:cubicBezTo>
                  <a:pt x="1592" y="83"/>
                  <a:pt x="1588" y="83"/>
                  <a:pt x="1583" y="83"/>
                </a:cubicBezTo>
                <a:cubicBezTo>
                  <a:pt x="1569" y="84"/>
                  <a:pt x="1555" y="87"/>
                  <a:pt x="1545" y="91"/>
                </a:cubicBezTo>
                <a:cubicBezTo>
                  <a:pt x="1539" y="93"/>
                  <a:pt x="1534" y="95"/>
                  <a:pt x="1531" y="98"/>
                </a:cubicBezTo>
                <a:cubicBezTo>
                  <a:pt x="1527" y="101"/>
                  <a:pt x="1523" y="105"/>
                  <a:pt x="1523" y="110"/>
                </a:cubicBezTo>
                <a:cubicBezTo>
                  <a:pt x="1523" y="112"/>
                  <a:pt x="1524" y="114"/>
                  <a:pt x="1525" y="116"/>
                </a:cubicBezTo>
                <a:cubicBezTo>
                  <a:pt x="1525" y="117"/>
                  <a:pt x="1525" y="117"/>
                  <a:pt x="1525" y="117"/>
                </a:cubicBezTo>
                <a:cubicBezTo>
                  <a:pt x="1525" y="118"/>
                  <a:pt x="1525" y="118"/>
                  <a:pt x="1524" y="119"/>
                </a:cubicBezTo>
                <a:cubicBezTo>
                  <a:pt x="1522" y="120"/>
                  <a:pt x="1520" y="121"/>
                  <a:pt x="1518" y="121"/>
                </a:cubicBezTo>
                <a:cubicBezTo>
                  <a:pt x="1518" y="121"/>
                  <a:pt x="1517" y="121"/>
                  <a:pt x="1517" y="121"/>
                </a:cubicBezTo>
                <a:cubicBezTo>
                  <a:pt x="1517" y="121"/>
                  <a:pt x="1517" y="121"/>
                  <a:pt x="1517" y="121"/>
                </a:cubicBezTo>
                <a:cubicBezTo>
                  <a:pt x="1515" y="118"/>
                  <a:pt x="1511" y="118"/>
                  <a:pt x="1509" y="118"/>
                </a:cubicBezTo>
                <a:cubicBezTo>
                  <a:pt x="1503" y="118"/>
                  <a:pt x="1497" y="120"/>
                  <a:pt x="1491" y="124"/>
                </a:cubicBezTo>
                <a:cubicBezTo>
                  <a:pt x="1486" y="128"/>
                  <a:pt x="1481" y="134"/>
                  <a:pt x="1481" y="141"/>
                </a:cubicBezTo>
                <a:cubicBezTo>
                  <a:pt x="1481" y="142"/>
                  <a:pt x="1481" y="143"/>
                  <a:pt x="1481" y="143"/>
                </a:cubicBezTo>
                <a:cubicBezTo>
                  <a:pt x="1481" y="144"/>
                  <a:pt x="1481" y="145"/>
                  <a:pt x="1481" y="146"/>
                </a:cubicBezTo>
                <a:cubicBezTo>
                  <a:pt x="1481" y="150"/>
                  <a:pt x="1480" y="153"/>
                  <a:pt x="1479" y="155"/>
                </a:cubicBezTo>
                <a:cubicBezTo>
                  <a:pt x="1477" y="157"/>
                  <a:pt x="1476" y="158"/>
                  <a:pt x="1475" y="158"/>
                </a:cubicBezTo>
                <a:cubicBezTo>
                  <a:pt x="1474" y="158"/>
                  <a:pt x="1473" y="158"/>
                  <a:pt x="1473" y="158"/>
                </a:cubicBezTo>
                <a:cubicBezTo>
                  <a:pt x="1471" y="157"/>
                  <a:pt x="1469" y="157"/>
                  <a:pt x="1467" y="157"/>
                </a:cubicBezTo>
                <a:cubicBezTo>
                  <a:pt x="1454" y="157"/>
                  <a:pt x="1445" y="168"/>
                  <a:pt x="1444" y="179"/>
                </a:cubicBezTo>
                <a:cubicBezTo>
                  <a:pt x="1444" y="180"/>
                  <a:pt x="1438" y="183"/>
                  <a:pt x="1433" y="185"/>
                </a:cubicBezTo>
                <a:cubicBezTo>
                  <a:pt x="1430" y="186"/>
                  <a:pt x="1427" y="187"/>
                  <a:pt x="1424" y="188"/>
                </a:cubicBezTo>
                <a:cubicBezTo>
                  <a:pt x="1423" y="188"/>
                  <a:pt x="1422" y="188"/>
                  <a:pt x="1421" y="188"/>
                </a:cubicBezTo>
                <a:cubicBezTo>
                  <a:pt x="1421" y="188"/>
                  <a:pt x="1421" y="188"/>
                  <a:pt x="1421" y="188"/>
                </a:cubicBezTo>
                <a:cubicBezTo>
                  <a:pt x="1421" y="188"/>
                  <a:pt x="1421" y="188"/>
                  <a:pt x="1421" y="188"/>
                </a:cubicBezTo>
                <a:cubicBezTo>
                  <a:pt x="1421" y="188"/>
                  <a:pt x="1421" y="188"/>
                  <a:pt x="1421" y="188"/>
                </a:cubicBezTo>
                <a:cubicBezTo>
                  <a:pt x="1420" y="188"/>
                  <a:pt x="1419" y="188"/>
                  <a:pt x="1418" y="188"/>
                </a:cubicBezTo>
                <a:cubicBezTo>
                  <a:pt x="1415" y="188"/>
                  <a:pt x="1409" y="188"/>
                  <a:pt x="1403" y="189"/>
                </a:cubicBezTo>
                <a:cubicBezTo>
                  <a:pt x="1400" y="190"/>
                  <a:pt x="1397" y="191"/>
                  <a:pt x="1394" y="192"/>
                </a:cubicBezTo>
                <a:cubicBezTo>
                  <a:pt x="1392" y="193"/>
                  <a:pt x="1388" y="195"/>
                  <a:pt x="1388" y="201"/>
                </a:cubicBezTo>
                <a:cubicBezTo>
                  <a:pt x="1388" y="205"/>
                  <a:pt x="1391" y="207"/>
                  <a:pt x="1393" y="209"/>
                </a:cubicBezTo>
                <a:cubicBezTo>
                  <a:pt x="1399" y="215"/>
                  <a:pt x="1405" y="216"/>
                  <a:pt x="1410" y="215"/>
                </a:cubicBezTo>
                <a:cubicBezTo>
                  <a:pt x="1411" y="215"/>
                  <a:pt x="1411" y="215"/>
                  <a:pt x="1412" y="215"/>
                </a:cubicBezTo>
                <a:cubicBezTo>
                  <a:pt x="1414" y="215"/>
                  <a:pt x="1416" y="216"/>
                  <a:pt x="1419" y="216"/>
                </a:cubicBezTo>
                <a:cubicBezTo>
                  <a:pt x="1421" y="217"/>
                  <a:pt x="1426" y="221"/>
                  <a:pt x="1430" y="227"/>
                </a:cubicBezTo>
                <a:cubicBezTo>
                  <a:pt x="1434" y="232"/>
                  <a:pt x="1437" y="238"/>
                  <a:pt x="1443" y="242"/>
                </a:cubicBezTo>
                <a:cubicBezTo>
                  <a:pt x="1445" y="243"/>
                  <a:pt x="1448" y="243"/>
                  <a:pt x="1450" y="243"/>
                </a:cubicBezTo>
                <a:cubicBezTo>
                  <a:pt x="1457" y="243"/>
                  <a:pt x="1464" y="240"/>
                  <a:pt x="1467" y="234"/>
                </a:cubicBezTo>
                <a:cubicBezTo>
                  <a:pt x="1468" y="232"/>
                  <a:pt x="1469" y="230"/>
                  <a:pt x="1470" y="228"/>
                </a:cubicBezTo>
                <a:cubicBezTo>
                  <a:pt x="1472" y="230"/>
                  <a:pt x="1474" y="232"/>
                  <a:pt x="1477" y="233"/>
                </a:cubicBezTo>
                <a:cubicBezTo>
                  <a:pt x="1480" y="235"/>
                  <a:pt x="1483" y="235"/>
                  <a:pt x="1486" y="235"/>
                </a:cubicBezTo>
                <a:cubicBezTo>
                  <a:pt x="1496" y="235"/>
                  <a:pt x="1509" y="232"/>
                  <a:pt x="1513" y="232"/>
                </a:cubicBezTo>
                <a:cubicBezTo>
                  <a:pt x="1513" y="232"/>
                  <a:pt x="1513" y="232"/>
                  <a:pt x="1513" y="232"/>
                </a:cubicBezTo>
                <a:cubicBezTo>
                  <a:pt x="1516" y="232"/>
                  <a:pt x="1525" y="234"/>
                  <a:pt x="1535" y="236"/>
                </a:cubicBezTo>
                <a:cubicBezTo>
                  <a:pt x="1545" y="238"/>
                  <a:pt x="1556" y="241"/>
                  <a:pt x="1559" y="243"/>
                </a:cubicBezTo>
                <a:cubicBezTo>
                  <a:pt x="1565" y="247"/>
                  <a:pt x="1572" y="249"/>
                  <a:pt x="1580" y="252"/>
                </a:cubicBezTo>
                <a:cubicBezTo>
                  <a:pt x="1587" y="255"/>
                  <a:pt x="1593" y="258"/>
                  <a:pt x="1594" y="262"/>
                </a:cubicBezTo>
                <a:cubicBezTo>
                  <a:pt x="1597" y="266"/>
                  <a:pt x="1599" y="279"/>
                  <a:pt x="1600" y="292"/>
                </a:cubicBezTo>
                <a:cubicBezTo>
                  <a:pt x="1601" y="298"/>
                  <a:pt x="1601" y="304"/>
                  <a:pt x="1602" y="309"/>
                </a:cubicBezTo>
                <a:cubicBezTo>
                  <a:pt x="1603" y="314"/>
                  <a:pt x="1603" y="317"/>
                  <a:pt x="1605" y="321"/>
                </a:cubicBezTo>
                <a:cubicBezTo>
                  <a:pt x="1607" y="322"/>
                  <a:pt x="1609" y="324"/>
                  <a:pt x="1612" y="324"/>
                </a:cubicBezTo>
                <a:cubicBezTo>
                  <a:pt x="1612" y="324"/>
                  <a:pt x="1613" y="324"/>
                  <a:pt x="1614" y="323"/>
                </a:cubicBezTo>
                <a:cubicBezTo>
                  <a:pt x="1613" y="327"/>
                  <a:pt x="1612" y="331"/>
                  <a:pt x="1612" y="334"/>
                </a:cubicBezTo>
                <a:cubicBezTo>
                  <a:pt x="1612" y="339"/>
                  <a:pt x="1613" y="343"/>
                  <a:pt x="1615" y="347"/>
                </a:cubicBezTo>
                <a:cubicBezTo>
                  <a:pt x="1617" y="350"/>
                  <a:pt x="1619" y="354"/>
                  <a:pt x="1625" y="354"/>
                </a:cubicBezTo>
                <a:cubicBezTo>
                  <a:pt x="1627" y="354"/>
                  <a:pt x="1630" y="354"/>
                  <a:pt x="1633" y="355"/>
                </a:cubicBezTo>
                <a:cubicBezTo>
                  <a:pt x="1632" y="356"/>
                  <a:pt x="1630" y="358"/>
                  <a:pt x="1629" y="360"/>
                </a:cubicBezTo>
                <a:cubicBezTo>
                  <a:pt x="1627" y="364"/>
                  <a:pt x="1624" y="367"/>
                  <a:pt x="1624" y="373"/>
                </a:cubicBezTo>
                <a:cubicBezTo>
                  <a:pt x="1624" y="373"/>
                  <a:pt x="1624" y="373"/>
                  <a:pt x="1624" y="374"/>
                </a:cubicBezTo>
                <a:cubicBezTo>
                  <a:pt x="1625" y="383"/>
                  <a:pt x="1634" y="403"/>
                  <a:pt x="1637" y="409"/>
                </a:cubicBezTo>
                <a:cubicBezTo>
                  <a:pt x="1641" y="414"/>
                  <a:pt x="1646" y="416"/>
                  <a:pt x="1651" y="418"/>
                </a:cubicBezTo>
                <a:cubicBezTo>
                  <a:pt x="1651" y="418"/>
                  <a:pt x="1652" y="419"/>
                  <a:pt x="1652" y="419"/>
                </a:cubicBezTo>
                <a:cubicBezTo>
                  <a:pt x="1652" y="420"/>
                  <a:pt x="1651" y="421"/>
                  <a:pt x="1651" y="423"/>
                </a:cubicBezTo>
                <a:cubicBezTo>
                  <a:pt x="1651" y="424"/>
                  <a:pt x="1652" y="426"/>
                  <a:pt x="1653" y="427"/>
                </a:cubicBezTo>
                <a:cubicBezTo>
                  <a:pt x="1654" y="430"/>
                  <a:pt x="1657" y="436"/>
                  <a:pt x="1659" y="441"/>
                </a:cubicBezTo>
                <a:cubicBezTo>
                  <a:pt x="1663" y="447"/>
                  <a:pt x="1666" y="453"/>
                  <a:pt x="1672" y="456"/>
                </a:cubicBezTo>
                <a:cubicBezTo>
                  <a:pt x="1675" y="457"/>
                  <a:pt x="1682" y="462"/>
                  <a:pt x="1689" y="467"/>
                </a:cubicBezTo>
                <a:cubicBezTo>
                  <a:pt x="1695" y="472"/>
                  <a:pt x="1701" y="479"/>
                  <a:pt x="1701" y="480"/>
                </a:cubicBezTo>
                <a:cubicBezTo>
                  <a:pt x="1703" y="484"/>
                  <a:pt x="1708" y="486"/>
                  <a:pt x="1711" y="486"/>
                </a:cubicBezTo>
                <a:cubicBezTo>
                  <a:pt x="1716" y="486"/>
                  <a:pt x="1720" y="483"/>
                  <a:pt x="1724" y="481"/>
                </a:cubicBezTo>
                <a:cubicBezTo>
                  <a:pt x="1726" y="481"/>
                  <a:pt x="1727" y="480"/>
                  <a:pt x="1727" y="480"/>
                </a:cubicBezTo>
                <a:cubicBezTo>
                  <a:pt x="1728" y="482"/>
                  <a:pt x="1729" y="484"/>
                  <a:pt x="1729" y="486"/>
                </a:cubicBezTo>
                <a:cubicBezTo>
                  <a:pt x="1731" y="490"/>
                  <a:pt x="1734" y="496"/>
                  <a:pt x="1742" y="497"/>
                </a:cubicBezTo>
                <a:cubicBezTo>
                  <a:pt x="1744" y="497"/>
                  <a:pt x="1745" y="496"/>
                  <a:pt x="1746" y="496"/>
                </a:cubicBezTo>
                <a:cubicBezTo>
                  <a:pt x="1746" y="496"/>
                  <a:pt x="1746" y="496"/>
                  <a:pt x="1747" y="496"/>
                </a:cubicBezTo>
                <a:cubicBezTo>
                  <a:pt x="1756" y="496"/>
                  <a:pt x="1762" y="492"/>
                  <a:pt x="1769" y="485"/>
                </a:cubicBezTo>
                <a:cubicBezTo>
                  <a:pt x="1780" y="474"/>
                  <a:pt x="1777" y="461"/>
                  <a:pt x="1778" y="454"/>
                </a:cubicBezTo>
                <a:cubicBezTo>
                  <a:pt x="1778" y="451"/>
                  <a:pt x="1778" y="449"/>
                  <a:pt x="1778" y="447"/>
                </a:cubicBezTo>
                <a:cubicBezTo>
                  <a:pt x="1778" y="447"/>
                  <a:pt x="1779" y="448"/>
                  <a:pt x="1779" y="448"/>
                </a:cubicBezTo>
                <a:cubicBezTo>
                  <a:pt x="1781" y="448"/>
                  <a:pt x="1783" y="449"/>
                  <a:pt x="1786" y="449"/>
                </a:cubicBezTo>
                <a:cubicBezTo>
                  <a:pt x="1790" y="449"/>
                  <a:pt x="1794" y="447"/>
                  <a:pt x="1797" y="444"/>
                </a:cubicBezTo>
                <a:cubicBezTo>
                  <a:pt x="1799" y="441"/>
                  <a:pt x="1800" y="437"/>
                  <a:pt x="1800" y="433"/>
                </a:cubicBezTo>
                <a:cubicBezTo>
                  <a:pt x="1800" y="432"/>
                  <a:pt x="1800" y="431"/>
                  <a:pt x="1800" y="431"/>
                </a:cubicBezTo>
                <a:cubicBezTo>
                  <a:pt x="1799" y="424"/>
                  <a:pt x="1797" y="419"/>
                  <a:pt x="1797" y="416"/>
                </a:cubicBezTo>
                <a:cubicBezTo>
                  <a:pt x="1797" y="415"/>
                  <a:pt x="1798" y="415"/>
                  <a:pt x="1798" y="415"/>
                </a:cubicBezTo>
                <a:cubicBezTo>
                  <a:pt x="1798" y="415"/>
                  <a:pt x="1799" y="414"/>
                  <a:pt x="1801" y="414"/>
                </a:cubicBezTo>
                <a:cubicBezTo>
                  <a:pt x="1810" y="412"/>
                  <a:pt x="1817" y="408"/>
                  <a:pt x="1822" y="405"/>
                </a:cubicBezTo>
                <a:cubicBezTo>
                  <a:pt x="1827" y="401"/>
                  <a:pt x="1830" y="399"/>
                  <a:pt x="1832" y="399"/>
                </a:cubicBezTo>
                <a:cubicBezTo>
                  <a:pt x="1837" y="399"/>
                  <a:pt x="1850" y="401"/>
                  <a:pt x="1860" y="401"/>
                </a:cubicBezTo>
                <a:cubicBezTo>
                  <a:pt x="1863" y="401"/>
                  <a:pt x="1865" y="401"/>
                  <a:pt x="1867" y="401"/>
                </a:cubicBezTo>
                <a:cubicBezTo>
                  <a:pt x="1869" y="400"/>
                  <a:pt x="1872" y="400"/>
                  <a:pt x="1874" y="397"/>
                </a:cubicBezTo>
                <a:cubicBezTo>
                  <a:pt x="1876" y="394"/>
                  <a:pt x="1879" y="388"/>
                  <a:pt x="1883" y="382"/>
                </a:cubicBezTo>
                <a:cubicBezTo>
                  <a:pt x="1885" y="379"/>
                  <a:pt x="1888" y="377"/>
                  <a:pt x="1889" y="375"/>
                </a:cubicBezTo>
                <a:cubicBezTo>
                  <a:pt x="1890" y="374"/>
                  <a:pt x="1891" y="373"/>
                  <a:pt x="1892" y="373"/>
                </a:cubicBezTo>
                <a:cubicBezTo>
                  <a:pt x="1892" y="373"/>
                  <a:pt x="1892" y="373"/>
                  <a:pt x="1892" y="373"/>
                </a:cubicBezTo>
                <a:cubicBezTo>
                  <a:pt x="1892" y="373"/>
                  <a:pt x="1892" y="373"/>
                  <a:pt x="1892" y="373"/>
                </a:cubicBezTo>
                <a:cubicBezTo>
                  <a:pt x="1900" y="372"/>
                  <a:pt x="1920" y="370"/>
                  <a:pt x="1939" y="366"/>
                </a:cubicBezTo>
                <a:cubicBezTo>
                  <a:pt x="1949" y="364"/>
                  <a:pt x="1958" y="359"/>
                  <a:pt x="1966" y="355"/>
                </a:cubicBezTo>
                <a:cubicBezTo>
                  <a:pt x="1973" y="352"/>
                  <a:pt x="1980" y="348"/>
                  <a:pt x="1981" y="348"/>
                </a:cubicBezTo>
                <a:cubicBezTo>
                  <a:pt x="1981" y="348"/>
                  <a:pt x="1981" y="348"/>
                  <a:pt x="1981" y="348"/>
                </a:cubicBezTo>
                <a:cubicBezTo>
                  <a:pt x="1984" y="348"/>
                  <a:pt x="1986" y="349"/>
                  <a:pt x="1989" y="349"/>
                </a:cubicBezTo>
                <a:cubicBezTo>
                  <a:pt x="1992" y="349"/>
                  <a:pt x="1995" y="350"/>
                  <a:pt x="1998" y="349"/>
                </a:cubicBezTo>
                <a:cubicBezTo>
                  <a:pt x="1999" y="349"/>
                  <a:pt x="2001" y="348"/>
                  <a:pt x="2002" y="347"/>
                </a:cubicBezTo>
                <a:cubicBezTo>
                  <a:pt x="2004" y="346"/>
                  <a:pt x="2006" y="344"/>
                  <a:pt x="2006" y="341"/>
                </a:cubicBezTo>
                <a:cubicBezTo>
                  <a:pt x="2006" y="339"/>
                  <a:pt x="2005" y="337"/>
                  <a:pt x="2004" y="336"/>
                </a:cubicBezTo>
                <a:cubicBezTo>
                  <a:pt x="2006" y="336"/>
                  <a:pt x="2007" y="337"/>
                  <a:pt x="2008" y="337"/>
                </a:cubicBezTo>
                <a:cubicBezTo>
                  <a:pt x="2010" y="337"/>
                  <a:pt x="2012" y="336"/>
                  <a:pt x="2014" y="336"/>
                </a:cubicBezTo>
                <a:cubicBezTo>
                  <a:pt x="2026" y="333"/>
                  <a:pt x="2030" y="323"/>
                  <a:pt x="2030" y="316"/>
                </a:cubicBezTo>
                <a:cubicBezTo>
                  <a:pt x="2030" y="312"/>
                  <a:pt x="2029" y="308"/>
                  <a:pt x="2027" y="305"/>
                </a:cubicBezTo>
                <a:cubicBezTo>
                  <a:pt x="2025" y="304"/>
                  <a:pt x="2023" y="294"/>
                  <a:pt x="2020" y="287"/>
                </a:cubicBezTo>
                <a:cubicBezTo>
                  <a:pt x="2019" y="286"/>
                  <a:pt x="2019" y="285"/>
                  <a:pt x="2019" y="284"/>
                </a:cubicBezTo>
                <a:cubicBezTo>
                  <a:pt x="2019" y="283"/>
                  <a:pt x="2019" y="282"/>
                  <a:pt x="2020" y="281"/>
                </a:cubicBezTo>
                <a:cubicBezTo>
                  <a:pt x="2021" y="281"/>
                  <a:pt x="2023" y="279"/>
                  <a:pt x="2028" y="279"/>
                </a:cubicBezTo>
                <a:close/>
                <a:moveTo>
                  <a:pt x="1640" y="304"/>
                </a:moveTo>
                <a:cubicBezTo>
                  <a:pt x="1639" y="304"/>
                  <a:pt x="1637" y="304"/>
                  <a:pt x="1636" y="304"/>
                </a:cubicBezTo>
                <a:cubicBezTo>
                  <a:pt x="1634" y="304"/>
                  <a:pt x="1633" y="304"/>
                  <a:pt x="1631" y="304"/>
                </a:cubicBezTo>
                <a:cubicBezTo>
                  <a:pt x="1632" y="303"/>
                  <a:pt x="1633" y="302"/>
                  <a:pt x="1633" y="302"/>
                </a:cubicBezTo>
                <a:cubicBezTo>
                  <a:pt x="1633" y="301"/>
                  <a:pt x="1634" y="301"/>
                  <a:pt x="1635" y="301"/>
                </a:cubicBezTo>
                <a:cubicBezTo>
                  <a:pt x="1637" y="301"/>
                  <a:pt x="1642" y="304"/>
                  <a:pt x="1645" y="304"/>
                </a:cubicBezTo>
                <a:cubicBezTo>
                  <a:pt x="1642" y="304"/>
                  <a:pt x="1641" y="304"/>
                  <a:pt x="1640" y="304"/>
                </a:cubicBezTo>
                <a:close/>
                <a:moveTo>
                  <a:pt x="1660" y="330"/>
                </a:moveTo>
                <a:cubicBezTo>
                  <a:pt x="1660" y="332"/>
                  <a:pt x="1660" y="335"/>
                  <a:pt x="1659" y="336"/>
                </a:cubicBezTo>
                <a:cubicBezTo>
                  <a:pt x="1658" y="336"/>
                  <a:pt x="1657" y="336"/>
                  <a:pt x="1657" y="335"/>
                </a:cubicBezTo>
                <a:cubicBezTo>
                  <a:pt x="1658" y="333"/>
                  <a:pt x="1658" y="329"/>
                  <a:pt x="1659" y="326"/>
                </a:cubicBezTo>
                <a:cubicBezTo>
                  <a:pt x="1660" y="328"/>
                  <a:pt x="1660" y="330"/>
                  <a:pt x="1660" y="330"/>
                </a:cubicBezTo>
                <a:close/>
                <a:moveTo>
                  <a:pt x="1978" y="315"/>
                </a:moveTo>
                <a:cubicBezTo>
                  <a:pt x="1978" y="313"/>
                  <a:pt x="1979" y="310"/>
                  <a:pt x="1980" y="308"/>
                </a:cubicBezTo>
                <a:cubicBezTo>
                  <a:pt x="1980" y="308"/>
                  <a:pt x="1980" y="307"/>
                  <a:pt x="1981" y="307"/>
                </a:cubicBezTo>
                <a:cubicBezTo>
                  <a:pt x="1982" y="307"/>
                  <a:pt x="1984" y="308"/>
                  <a:pt x="1985" y="308"/>
                </a:cubicBezTo>
                <a:cubicBezTo>
                  <a:pt x="1988" y="310"/>
                  <a:pt x="1989" y="311"/>
                  <a:pt x="1989" y="312"/>
                </a:cubicBezTo>
                <a:cubicBezTo>
                  <a:pt x="1989" y="312"/>
                  <a:pt x="1989" y="312"/>
                  <a:pt x="1989" y="312"/>
                </a:cubicBezTo>
                <a:cubicBezTo>
                  <a:pt x="1989" y="313"/>
                  <a:pt x="1989" y="313"/>
                  <a:pt x="1989" y="314"/>
                </a:cubicBezTo>
                <a:cubicBezTo>
                  <a:pt x="1989" y="316"/>
                  <a:pt x="1989" y="317"/>
                  <a:pt x="1989" y="319"/>
                </a:cubicBezTo>
                <a:cubicBezTo>
                  <a:pt x="1986" y="317"/>
                  <a:pt x="1982" y="315"/>
                  <a:pt x="1978" y="315"/>
                </a:cubicBezTo>
                <a:close/>
                <a:moveTo>
                  <a:pt x="2143" y="431"/>
                </a:moveTo>
                <a:cubicBezTo>
                  <a:pt x="2144" y="430"/>
                  <a:pt x="2149" y="428"/>
                  <a:pt x="2153" y="428"/>
                </a:cubicBezTo>
                <a:cubicBezTo>
                  <a:pt x="2158" y="427"/>
                  <a:pt x="2162" y="427"/>
                  <a:pt x="2162" y="427"/>
                </a:cubicBezTo>
                <a:cubicBezTo>
                  <a:pt x="2164" y="427"/>
                  <a:pt x="2165" y="426"/>
                  <a:pt x="2166" y="425"/>
                </a:cubicBezTo>
                <a:cubicBezTo>
                  <a:pt x="2166" y="425"/>
                  <a:pt x="2169" y="422"/>
                  <a:pt x="2173" y="418"/>
                </a:cubicBezTo>
                <a:cubicBezTo>
                  <a:pt x="2176" y="414"/>
                  <a:pt x="2180" y="409"/>
                  <a:pt x="2180" y="402"/>
                </a:cubicBezTo>
                <a:cubicBezTo>
                  <a:pt x="2180" y="400"/>
                  <a:pt x="2179" y="397"/>
                  <a:pt x="2177" y="395"/>
                </a:cubicBezTo>
                <a:cubicBezTo>
                  <a:pt x="2177" y="395"/>
                  <a:pt x="2177" y="395"/>
                  <a:pt x="2177" y="395"/>
                </a:cubicBezTo>
                <a:cubicBezTo>
                  <a:pt x="2177" y="395"/>
                  <a:pt x="2177" y="395"/>
                  <a:pt x="2177" y="395"/>
                </a:cubicBezTo>
                <a:cubicBezTo>
                  <a:pt x="2169" y="386"/>
                  <a:pt x="2154" y="382"/>
                  <a:pt x="2146" y="381"/>
                </a:cubicBezTo>
                <a:cubicBezTo>
                  <a:pt x="2145" y="381"/>
                  <a:pt x="2144" y="381"/>
                  <a:pt x="2144" y="381"/>
                </a:cubicBezTo>
                <a:cubicBezTo>
                  <a:pt x="2133" y="381"/>
                  <a:pt x="2129" y="387"/>
                  <a:pt x="2116" y="387"/>
                </a:cubicBezTo>
                <a:cubicBezTo>
                  <a:pt x="2104" y="387"/>
                  <a:pt x="2096" y="391"/>
                  <a:pt x="2092" y="391"/>
                </a:cubicBezTo>
                <a:cubicBezTo>
                  <a:pt x="2090" y="390"/>
                  <a:pt x="2090" y="390"/>
                  <a:pt x="2089" y="389"/>
                </a:cubicBezTo>
                <a:cubicBezTo>
                  <a:pt x="2082" y="381"/>
                  <a:pt x="2068" y="379"/>
                  <a:pt x="2058" y="379"/>
                </a:cubicBezTo>
                <a:cubicBezTo>
                  <a:pt x="2056" y="379"/>
                  <a:pt x="2054" y="379"/>
                  <a:pt x="2052" y="379"/>
                </a:cubicBezTo>
                <a:cubicBezTo>
                  <a:pt x="2050" y="380"/>
                  <a:pt x="2047" y="381"/>
                  <a:pt x="2045" y="384"/>
                </a:cubicBezTo>
                <a:cubicBezTo>
                  <a:pt x="2045" y="385"/>
                  <a:pt x="2044" y="386"/>
                  <a:pt x="2042" y="388"/>
                </a:cubicBezTo>
                <a:cubicBezTo>
                  <a:pt x="2041" y="390"/>
                  <a:pt x="2039" y="393"/>
                  <a:pt x="2039" y="397"/>
                </a:cubicBezTo>
                <a:cubicBezTo>
                  <a:pt x="2039" y="401"/>
                  <a:pt x="2040" y="404"/>
                  <a:pt x="2042" y="409"/>
                </a:cubicBezTo>
                <a:cubicBezTo>
                  <a:pt x="2045" y="415"/>
                  <a:pt x="2048" y="420"/>
                  <a:pt x="2051" y="424"/>
                </a:cubicBezTo>
                <a:cubicBezTo>
                  <a:pt x="2054" y="428"/>
                  <a:pt x="2057" y="431"/>
                  <a:pt x="2063" y="432"/>
                </a:cubicBezTo>
                <a:cubicBezTo>
                  <a:pt x="2063" y="432"/>
                  <a:pt x="2064" y="432"/>
                  <a:pt x="2065" y="431"/>
                </a:cubicBezTo>
                <a:cubicBezTo>
                  <a:pt x="2066" y="431"/>
                  <a:pt x="2069" y="431"/>
                  <a:pt x="2072" y="431"/>
                </a:cubicBezTo>
                <a:cubicBezTo>
                  <a:pt x="2076" y="431"/>
                  <a:pt x="2079" y="431"/>
                  <a:pt x="2082" y="432"/>
                </a:cubicBezTo>
                <a:cubicBezTo>
                  <a:pt x="2083" y="432"/>
                  <a:pt x="2084" y="433"/>
                  <a:pt x="2084" y="433"/>
                </a:cubicBezTo>
                <a:cubicBezTo>
                  <a:pt x="2084" y="433"/>
                  <a:pt x="2084" y="433"/>
                  <a:pt x="2084" y="433"/>
                </a:cubicBezTo>
                <a:cubicBezTo>
                  <a:pt x="2086" y="440"/>
                  <a:pt x="2092" y="448"/>
                  <a:pt x="2103" y="448"/>
                </a:cubicBezTo>
                <a:cubicBezTo>
                  <a:pt x="2103" y="448"/>
                  <a:pt x="2103" y="448"/>
                  <a:pt x="2103" y="448"/>
                </a:cubicBezTo>
                <a:cubicBezTo>
                  <a:pt x="2106" y="448"/>
                  <a:pt x="2110" y="447"/>
                  <a:pt x="2113" y="446"/>
                </a:cubicBezTo>
                <a:cubicBezTo>
                  <a:pt x="2120" y="444"/>
                  <a:pt x="2126" y="442"/>
                  <a:pt x="2131" y="440"/>
                </a:cubicBezTo>
                <a:cubicBezTo>
                  <a:pt x="2136" y="438"/>
                  <a:pt x="2140" y="435"/>
                  <a:pt x="2143" y="431"/>
                </a:cubicBezTo>
                <a:close/>
                <a:moveTo>
                  <a:pt x="3068" y="1676"/>
                </a:moveTo>
                <a:cubicBezTo>
                  <a:pt x="3066" y="1668"/>
                  <a:pt x="3063" y="1661"/>
                  <a:pt x="3055" y="1658"/>
                </a:cubicBezTo>
                <a:cubicBezTo>
                  <a:pt x="3053" y="1664"/>
                  <a:pt x="3053" y="1664"/>
                  <a:pt x="3053" y="1664"/>
                </a:cubicBezTo>
                <a:cubicBezTo>
                  <a:pt x="3055" y="1658"/>
                  <a:pt x="3055" y="1658"/>
                  <a:pt x="3055" y="1658"/>
                </a:cubicBezTo>
                <a:cubicBezTo>
                  <a:pt x="3053" y="1657"/>
                  <a:pt x="3051" y="1657"/>
                  <a:pt x="3049" y="1657"/>
                </a:cubicBezTo>
                <a:cubicBezTo>
                  <a:pt x="3045" y="1657"/>
                  <a:pt x="3041" y="1659"/>
                  <a:pt x="3038" y="1662"/>
                </a:cubicBezTo>
                <a:cubicBezTo>
                  <a:pt x="3031" y="1671"/>
                  <a:pt x="3028" y="1684"/>
                  <a:pt x="3021" y="1693"/>
                </a:cubicBezTo>
                <a:cubicBezTo>
                  <a:pt x="3015" y="1700"/>
                  <a:pt x="3010" y="1707"/>
                  <a:pt x="3005" y="1711"/>
                </a:cubicBezTo>
                <a:cubicBezTo>
                  <a:pt x="3003" y="1713"/>
                  <a:pt x="3001" y="1715"/>
                  <a:pt x="2999" y="1716"/>
                </a:cubicBezTo>
                <a:cubicBezTo>
                  <a:pt x="2998" y="1717"/>
                  <a:pt x="2998" y="1717"/>
                  <a:pt x="2997" y="1717"/>
                </a:cubicBezTo>
                <a:cubicBezTo>
                  <a:pt x="2997" y="1717"/>
                  <a:pt x="2996" y="1717"/>
                  <a:pt x="2996" y="1717"/>
                </a:cubicBezTo>
                <a:cubicBezTo>
                  <a:pt x="2991" y="1717"/>
                  <a:pt x="2985" y="1720"/>
                  <a:pt x="2979" y="1724"/>
                </a:cubicBezTo>
                <a:cubicBezTo>
                  <a:pt x="2973" y="1728"/>
                  <a:pt x="2967" y="1736"/>
                  <a:pt x="2967" y="1746"/>
                </a:cubicBezTo>
                <a:cubicBezTo>
                  <a:pt x="2967" y="1749"/>
                  <a:pt x="2968" y="1752"/>
                  <a:pt x="2969" y="1756"/>
                </a:cubicBezTo>
                <a:cubicBezTo>
                  <a:pt x="2973" y="1765"/>
                  <a:pt x="2974" y="1773"/>
                  <a:pt x="2974" y="1781"/>
                </a:cubicBezTo>
                <a:cubicBezTo>
                  <a:pt x="2974" y="1790"/>
                  <a:pt x="2972" y="1797"/>
                  <a:pt x="2969" y="1801"/>
                </a:cubicBezTo>
                <a:cubicBezTo>
                  <a:pt x="2966" y="1804"/>
                  <a:pt x="2965" y="1809"/>
                  <a:pt x="2965" y="1813"/>
                </a:cubicBezTo>
                <a:cubicBezTo>
                  <a:pt x="2966" y="1826"/>
                  <a:pt x="2973" y="1843"/>
                  <a:pt x="2973" y="1853"/>
                </a:cubicBezTo>
                <a:cubicBezTo>
                  <a:pt x="2973" y="1854"/>
                  <a:pt x="2972" y="1855"/>
                  <a:pt x="2972" y="1856"/>
                </a:cubicBezTo>
                <a:cubicBezTo>
                  <a:pt x="2972" y="1858"/>
                  <a:pt x="2972" y="1861"/>
                  <a:pt x="2972" y="1863"/>
                </a:cubicBezTo>
                <a:cubicBezTo>
                  <a:pt x="2972" y="1870"/>
                  <a:pt x="2974" y="1876"/>
                  <a:pt x="2978" y="1881"/>
                </a:cubicBezTo>
                <a:cubicBezTo>
                  <a:pt x="2983" y="1886"/>
                  <a:pt x="2990" y="1888"/>
                  <a:pt x="2998" y="1888"/>
                </a:cubicBezTo>
                <a:cubicBezTo>
                  <a:pt x="2998" y="1888"/>
                  <a:pt x="2998" y="1888"/>
                  <a:pt x="2998" y="1888"/>
                </a:cubicBezTo>
                <a:cubicBezTo>
                  <a:pt x="3007" y="1888"/>
                  <a:pt x="3014" y="1886"/>
                  <a:pt x="3020" y="1881"/>
                </a:cubicBezTo>
                <a:cubicBezTo>
                  <a:pt x="3025" y="1875"/>
                  <a:pt x="3029" y="1868"/>
                  <a:pt x="3032" y="1859"/>
                </a:cubicBezTo>
                <a:cubicBezTo>
                  <a:pt x="3040" y="1840"/>
                  <a:pt x="3041" y="1822"/>
                  <a:pt x="3047" y="1808"/>
                </a:cubicBezTo>
                <a:cubicBezTo>
                  <a:pt x="3051" y="1800"/>
                  <a:pt x="3054" y="1788"/>
                  <a:pt x="3057" y="1777"/>
                </a:cubicBezTo>
                <a:cubicBezTo>
                  <a:pt x="3060" y="1766"/>
                  <a:pt x="3062" y="1756"/>
                  <a:pt x="3063" y="1753"/>
                </a:cubicBezTo>
                <a:cubicBezTo>
                  <a:pt x="3067" y="1744"/>
                  <a:pt x="3073" y="1722"/>
                  <a:pt x="3073" y="1705"/>
                </a:cubicBezTo>
                <a:cubicBezTo>
                  <a:pt x="3073" y="1703"/>
                  <a:pt x="3073" y="1702"/>
                  <a:pt x="3073" y="1701"/>
                </a:cubicBezTo>
                <a:cubicBezTo>
                  <a:pt x="3072" y="1693"/>
                  <a:pt x="3071" y="1684"/>
                  <a:pt x="3068" y="1676"/>
                </a:cubicBezTo>
                <a:close/>
                <a:moveTo>
                  <a:pt x="4007" y="1637"/>
                </a:moveTo>
                <a:cubicBezTo>
                  <a:pt x="4007" y="1637"/>
                  <a:pt x="4008" y="1637"/>
                  <a:pt x="4008" y="1637"/>
                </a:cubicBezTo>
                <a:cubicBezTo>
                  <a:pt x="4014" y="1637"/>
                  <a:pt x="4021" y="1631"/>
                  <a:pt x="4021" y="1623"/>
                </a:cubicBezTo>
                <a:cubicBezTo>
                  <a:pt x="4021" y="1622"/>
                  <a:pt x="4021" y="1622"/>
                  <a:pt x="4021" y="1621"/>
                </a:cubicBezTo>
                <a:cubicBezTo>
                  <a:pt x="4021" y="1616"/>
                  <a:pt x="4019" y="1612"/>
                  <a:pt x="4016" y="1609"/>
                </a:cubicBezTo>
                <a:cubicBezTo>
                  <a:pt x="4013" y="1606"/>
                  <a:pt x="4010" y="1605"/>
                  <a:pt x="4006" y="1605"/>
                </a:cubicBezTo>
                <a:cubicBezTo>
                  <a:pt x="3999" y="1605"/>
                  <a:pt x="3992" y="1609"/>
                  <a:pt x="3991" y="1617"/>
                </a:cubicBezTo>
                <a:cubicBezTo>
                  <a:pt x="3991" y="1617"/>
                  <a:pt x="3991" y="1617"/>
                  <a:pt x="3991" y="1617"/>
                </a:cubicBezTo>
                <a:cubicBezTo>
                  <a:pt x="3991" y="1618"/>
                  <a:pt x="3990" y="1619"/>
                  <a:pt x="3990" y="1621"/>
                </a:cubicBezTo>
                <a:cubicBezTo>
                  <a:pt x="3991" y="1631"/>
                  <a:pt x="3999" y="1637"/>
                  <a:pt x="4007" y="1637"/>
                </a:cubicBezTo>
                <a:close/>
                <a:moveTo>
                  <a:pt x="1369" y="1135"/>
                </a:moveTo>
                <a:cubicBezTo>
                  <a:pt x="1368" y="1129"/>
                  <a:pt x="1365" y="1124"/>
                  <a:pt x="1360" y="1119"/>
                </a:cubicBezTo>
                <a:cubicBezTo>
                  <a:pt x="1355" y="1115"/>
                  <a:pt x="1350" y="1111"/>
                  <a:pt x="1343" y="1111"/>
                </a:cubicBezTo>
                <a:cubicBezTo>
                  <a:pt x="1342" y="1111"/>
                  <a:pt x="1342" y="1112"/>
                  <a:pt x="1341" y="1112"/>
                </a:cubicBezTo>
                <a:cubicBezTo>
                  <a:pt x="1341" y="1112"/>
                  <a:pt x="1341" y="1112"/>
                  <a:pt x="1341" y="1112"/>
                </a:cubicBezTo>
                <a:cubicBezTo>
                  <a:pt x="1339" y="1112"/>
                  <a:pt x="1333" y="1109"/>
                  <a:pt x="1327" y="1106"/>
                </a:cubicBezTo>
                <a:cubicBezTo>
                  <a:pt x="1322" y="1102"/>
                  <a:pt x="1316" y="1097"/>
                  <a:pt x="1312" y="1093"/>
                </a:cubicBezTo>
                <a:cubicBezTo>
                  <a:pt x="1300" y="1081"/>
                  <a:pt x="1281" y="1082"/>
                  <a:pt x="1274" y="1082"/>
                </a:cubicBezTo>
                <a:cubicBezTo>
                  <a:pt x="1269" y="1082"/>
                  <a:pt x="1261" y="1084"/>
                  <a:pt x="1253" y="1087"/>
                </a:cubicBezTo>
                <a:cubicBezTo>
                  <a:pt x="1245" y="1089"/>
                  <a:pt x="1238" y="1092"/>
                  <a:pt x="1238" y="1092"/>
                </a:cubicBezTo>
                <a:cubicBezTo>
                  <a:pt x="1235" y="1092"/>
                  <a:pt x="1234" y="1094"/>
                  <a:pt x="1234" y="1097"/>
                </a:cubicBezTo>
                <a:cubicBezTo>
                  <a:pt x="1233" y="1098"/>
                  <a:pt x="1233" y="1098"/>
                  <a:pt x="1233" y="1099"/>
                </a:cubicBezTo>
                <a:cubicBezTo>
                  <a:pt x="1233" y="1104"/>
                  <a:pt x="1235" y="1108"/>
                  <a:pt x="1239" y="1111"/>
                </a:cubicBezTo>
                <a:cubicBezTo>
                  <a:pt x="1243" y="1113"/>
                  <a:pt x="1246" y="1113"/>
                  <a:pt x="1250" y="1114"/>
                </a:cubicBezTo>
                <a:cubicBezTo>
                  <a:pt x="1254" y="1114"/>
                  <a:pt x="1259" y="1113"/>
                  <a:pt x="1264" y="1113"/>
                </a:cubicBezTo>
                <a:cubicBezTo>
                  <a:pt x="1270" y="1113"/>
                  <a:pt x="1278" y="1112"/>
                  <a:pt x="1286" y="1112"/>
                </a:cubicBezTo>
                <a:cubicBezTo>
                  <a:pt x="1290" y="1112"/>
                  <a:pt x="1294" y="1113"/>
                  <a:pt x="1298" y="1113"/>
                </a:cubicBezTo>
                <a:cubicBezTo>
                  <a:pt x="1299" y="1113"/>
                  <a:pt x="1300" y="1114"/>
                  <a:pt x="1301" y="1114"/>
                </a:cubicBezTo>
                <a:cubicBezTo>
                  <a:pt x="1301" y="1114"/>
                  <a:pt x="1301" y="1114"/>
                  <a:pt x="1301" y="1114"/>
                </a:cubicBezTo>
                <a:cubicBezTo>
                  <a:pt x="1301" y="1114"/>
                  <a:pt x="1301" y="1114"/>
                  <a:pt x="1301" y="1114"/>
                </a:cubicBezTo>
                <a:cubicBezTo>
                  <a:pt x="1301" y="1114"/>
                  <a:pt x="1301" y="1114"/>
                  <a:pt x="1301" y="1114"/>
                </a:cubicBezTo>
                <a:cubicBezTo>
                  <a:pt x="1305" y="1120"/>
                  <a:pt x="1312" y="1124"/>
                  <a:pt x="1318" y="1128"/>
                </a:cubicBezTo>
                <a:cubicBezTo>
                  <a:pt x="1325" y="1133"/>
                  <a:pt x="1331" y="1137"/>
                  <a:pt x="1333" y="1139"/>
                </a:cubicBezTo>
                <a:cubicBezTo>
                  <a:pt x="1339" y="1144"/>
                  <a:pt x="1347" y="1145"/>
                  <a:pt x="1354" y="1145"/>
                </a:cubicBezTo>
                <a:cubicBezTo>
                  <a:pt x="1357" y="1145"/>
                  <a:pt x="1359" y="1145"/>
                  <a:pt x="1362" y="1144"/>
                </a:cubicBezTo>
                <a:cubicBezTo>
                  <a:pt x="1364" y="1143"/>
                  <a:pt x="1368" y="1141"/>
                  <a:pt x="1369" y="1137"/>
                </a:cubicBezTo>
                <a:cubicBezTo>
                  <a:pt x="1363" y="1136"/>
                  <a:pt x="1363" y="1136"/>
                  <a:pt x="1363" y="1136"/>
                </a:cubicBezTo>
                <a:cubicBezTo>
                  <a:pt x="1369" y="1137"/>
                  <a:pt x="1369" y="1137"/>
                  <a:pt x="1369" y="1137"/>
                </a:cubicBezTo>
                <a:cubicBezTo>
                  <a:pt x="1369" y="1136"/>
                  <a:pt x="1369" y="1136"/>
                  <a:pt x="1369" y="1135"/>
                </a:cubicBezTo>
                <a:close/>
                <a:moveTo>
                  <a:pt x="1328" y="1167"/>
                </a:moveTo>
                <a:cubicBezTo>
                  <a:pt x="1328" y="1167"/>
                  <a:pt x="1328" y="1167"/>
                  <a:pt x="1328" y="1167"/>
                </a:cubicBezTo>
                <a:cubicBezTo>
                  <a:pt x="1319" y="1169"/>
                  <a:pt x="1317" y="1178"/>
                  <a:pt x="1317" y="1184"/>
                </a:cubicBezTo>
                <a:cubicBezTo>
                  <a:pt x="1317" y="1188"/>
                  <a:pt x="1318" y="1191"/>
                  <a:pt x="1320" y="1194"/>
                </a:cubicBezTo>
                <a:cubicBezTo>
                  <a:pt x="1322" y="1198"/>
                  <a:pt x="1326" y="1200"/>
                  <a:pt x="1331" y="1200"/>
                </a:cubicBezTo>
                <a:cubicBezTo>
                  <a:pt x="1331" y="1200"/>
                  <a:pt x="1331" y="1200"/>
                  <a:pt x="1331" y="1200"/>
                </a:cubicBezTo>
                <a:cubicBezTo>
                  <a:pt x="1333" y="1200"/>
                  <a:pt x="1334" y="1201"/>
                  <a:pt x="1336" y="1200"/>
                </a:cubicBezTo>
                <a:cubicBezTo>
                  <a:pt x="1343" y="1198"/>
                  <a:pt x="1347" y="1191"/>
                  <a:pt x="1347" y="1185"/>
                </a:cubicBezTo>
                <a:cubicBezTo>
                  <a:pt x="1347" y="1176"/>
                  <a:pt x="1342" y="1167"/>
                  <a:pt x="1331" y="1166"/>
                </a:cubicBezTo>
                <a:cubicBezTo>
                  <a:pt x="1330" y="1166"/>
                  <a:pt x="1329" y="1167"/>
                  <a:pt x="1328" y="1167"/>
                </a:cubicBezTo>
                <a:close/>
                <a:moveTo>
                  <a:pt x="1341" y="1066"/>
                </a:moveTo>
                <a:cubicBezTo>
                  <a:pt x="1341" y="1058"/>
                  <a:pt x="1334" y="1053"/>
                  <a:pt x="1325" y="1053"/>
                </a:cubicBezTo>
                <a:cubicBezTo>
                  <a:pt x="1324" y="1053"/>
                  <a:pt x="1324" y="1053"/>
                  <a:pt x="1323" y="1053"/>
                </a:cubicBezTo>
                <a:cubicBezTo>
                  <a:pt x="1316" y="1053"/>
                  <a:pt x="1311" y="1060"/>
                  <a:pt x="1311" y="1065"/>
                </a:cubicBezTo>
                <a:cubicBezTo>
                  <a:pt x="1311" y="1069"/>
                  <a:pt x="1312" y="1073"/>
                  <a:pt x="1315" y="1075"/>
                </a:cubicBezTo>
                <a:cubicBezTo>
                  <a:pt x="1317" y="1078"/>
                  <a:pt x="1321" y="1080"/>
                  <a:pt x="1325" y="1080"/>
                </a:cubicBezTo>
                <a:cubicBezTo>
                  <a:pt x="1325" y="1080"/>
                  <a:pt x="1325" y="1080"/>
                  <a:pt x="1325" y="1080"/>
                </a:cubicBezTo>
                <a:cubicBezTo>
                  <a:pt x="1327" y="1080"/>
                  <a:pt x="1328" y="1079"/>
                  <a:pt x="1329" y="1079"/>
                </a:cubicBezTo>
                <a:cubicBezTo>
                  <a:pt x="1328" y="1073"/>
                  <a:pt x="1328" y="1073"/>
                  <a:pt x="1328" y="1073"/>
                </a:cubicBezTo>
                <a:cubicBezTo>
                  <a:pt x="1329" y="1079"/>
                  <a:pt x="1329" y="1079"/>
                  <a:pt x="1329" y="1079"/>
                </a:cubicBezTo>
                <a:cubicBezTo>
                  <a:pt x="1336" y="1077"/>
                  <a:pt x="1341" y="1072"/>
                  <a:pt x="1341" y="1066"/>
                </a:cubicBezTo>
                <a:close/>
                <a:moveTo>
                  <a:pt x="3938" y="1610"/>
                </a:moveTo>
                <a:cubicBezTo>
                  <a:pt x="3940" y="1609"/>
                  <a:pt x="3943" y="1606"/>
                  <a:pt x="3943" y="1603"/>
                </a:cubicBezTo>
                <a:cubicBezTo>
                  <a:pt x="3937" y="1602"/>
                  <a:pt x="3937" y="1602"/>
                  <a:pt x="3937" y="1602"/>
                </a:cubicBezTo>
                <a:cubicBezTo>
                  <a:pt x="3943" y="1603"/>
                  <a:pt x="3943" y="1603"/>
                  <a:pt x="3943" y="1603"/>
                </a:cubicBezTo>
                <a:cubicBezTo>
                  <a:pt x="3943" y="1602"/>
                  <a:pt x="3943" y="1601"/>
                  <a:pt x="3943" y="1601"/>
                </a:cubicBezTo>
                <a:cubicBezTo>
                  <a:pt x="3943" y="1594"/>
                  <a:pt x="3938" y="1588"/>
                  <a:pt x="3934" y="1584"/>
                </a:cubicBezTo>
                <a:cubicBezTo>
                  <a:pt x="3929" y="1579"/>
                  <a:pt x="3925" y="1575"/>
                  <a:pt x="3919" y="1575"/>
                </a:cubicBezTo>
                <a:cubicBezTo>
                  <a:pt x="3917" y="1575"/>
                  <a:pt x="3908" y="1573"/>
                  <a:pt x="3901" y="1571"/>
                </a:cubicBezTo>
                <a:cubicBezTo>
                  <a:pt x="3893" y="1569"/>
                  <a:pt x="3886" y="1567"/>
                  <a:pt x="3886" y="1567"/>
                </a:cubicBezTo>
                <a:cubicBezTo>
                  <a:pt x="3884" y="1567"/>
                  <a:pt x="3883" y="1567"/>
                  <a:pt x="3881" y="1567"/>
                </a:cubicBezTo>
                <a:cubicBezTo>
                  <a:pt x="3878" y="1569"/>
                  <a:pt x="3874" y="1570"/>
                  <a:pt x="3870" y="1573"/>
                </a:cubicBezTo>
                <a:cubicBezTo>
                  <a:pt x="3870" y="1573"/>
                  <a:pt x="3869" y="1572"/>
                  <a:pt x="3869" y="1572"/>
                </a:cubicBezTo>
                <a:cubicBezTo>
                  <a:pt x="3861" y="1567"/>
                  <a:pt x="3852" y="1567"/>
                  <a:pt x="3847" y="1566"/>
                </a:cubicBezTo>
                <a:cubicBezTo>
                  <a:pt x="3844" y="1566"/>
                  <a:pt x="3842" y="1566"/>
                  <a:pt x="3841" y="1566"/>
                </a:cubicBezTo>
                <a:cubicBezTo>
                  <a:pt x="3840" y="1565"/>
                  <a:pt x="3840" y="1565"/>
                  <a:pt x="3839" y="1564"/>
                </a:cubicBezTo>
                <a:cubicBezTo>
                  <a:pt x="3836" y="1557"/>
                  <a:pt x="3831" y="1551"/>
                  <a:pt x="3824" y="1551"/>
                </a:cubicBezTo>
                <a:cubicBezTo>
                  <a:pt x="3823" y="1551"/>
                  <a:pt x="3822" y="1551"/>
                  <a:pt x="3821" y="1552"/>
                </a:cubicBezTo>
                <a:cubicBezTo>
                  <a:pt x="3821" y="1538"/>
                  <a:pt x="3824" y="1522"/>
                  <a:pt x="3828" y="1517"/>
                </a:cubicBezTo>
                <a:cubicBezTo>
                  <a:pt x="3828" y="1517"/>
                  <a:pt x="3828" y="1517"/>
                  <a:pt x="3828" y="1517"/>
                </a:cubicBezTo>
                <a:cubicBezTo>
                  <a:pt x="3831" y="1513"/>
                  <a:pt x="3832" y="1508"/>
                  <a:pt x="3832" y="1504"/>
                </a:cubicBezTo>
                <a:cubicBezTo>
                  <a:pt x="3832" y="1500"/>
                  <a:pt x="3831" y="1496"/>
                  <a:pt x="3829" y="1493"/>
                </a:cubicBezTo>
                <a:cubicBezTo>
                  <a:pt x="3827" y="1490"/>
                  <a:pt x="3823" y="1488"/>
                  <a:pt x="3819" y="1488"/>
                </a:cubicBezTo>
                <a:cubicBezTo>
                  <a:pt x="3818" y="1488"/>
                  <a:pt x="3817" y="1488"/>
                  <a:pt x="3816" y="1488"/>
                </a:cubicBezTo>
                <a:cubicBezTo>
                  <a:pt x="3816" y="1488"/>
                  <a:pt x="3816" y="1488"/>
                  <a:pt x="3816" y="1488"/>
                </a:cubicBezTo>
                <a:cubicBezTo>
                  <a:pt x="3816" y="1488"/>
                  <a:pt x="3815" y="1488"/>
                  <a:pt x="3814" y="1487"/>
                </a:cubicBezTo>
                <a:cubicBezTo>
                  <a:pt x="3808" y="1482"/>
                  <a:pt x="3801" y="1469"/>
                  <a:pt x="3789" y="1459"/>
                </a:cubicBezTo>
                <a:cubicBezTo>
                  <a:pt x="3774" y="1447"/>
                  <a:pt x="3763" y="1439"/>
                  <a:pt x="3750" y="1422"/>
                </a:cubicBezTo>
                <a:cubicBezTo>
                  <a:pt x="3735" y="1403"/>
                  <a:pt x="3717" y="1391"/>
                  <a:pt x="3709" y="1383"/>
                </a:cubicBezTo>
                <a:cubicBezTo>
                  <a:pt x="3699" y="1373"/>
                  <a:pt x="3687" y="1368"/>
                  <a:pt x="3678" y="1368"/>
                </a:cubicBezTo>
                <a:cubicBezTo>
                  <a:pt x="3677" y="1368"/>
                  <a:pt x="3676" y="1368"/>
                  <a:pt x="3674" y="1368"/>
                </a:cubicBezTo>
                <a:cubicBezTo>
                  <a:pt x="3670" y="1369"/>
                  <a:pt x="3666" y="1374"/>
                  <a:pt x="3666" y="1378"/>
                </a:cubicBezTo>
                <a:cubicBezTo>
                  <a:pt x="3666" y="1383"/>
                  <a:pt x="3669" y="1386"/>
                  <a:pt x="3671" y="1390"/>
                </a:cubicBezTo>
                <a:cubicBezTo>
                  <a:pt x="3675" y="1396"/>
                  <a:pt x="3681" y="1401"/>
                  <a:pt x="3686" y="1406"/>
                </a:cubicBezTo>
                <a:cubicBezTo>
                  <a:pt x="3690" y="1411"/>
                  <a:pt x="3695" y="1415"/>
                  <a:pt x="3695" y="1415"/>
                </a:cubicBezTo>
                <a:cubicBezTo>
                  <a:pt x="3697" y="1418"/>
                  <a:pt x="3706" y="1427"/>
                  <a:pt x="3714" y="1437"/>
                </a:cubicBezTo>
                <a:cubicBezTo>
                  <a:pt x="3722" y="1446"/>
                  <a:pt x="3729" y="1459"/>
                  <a:pt x="3728" y="1463"/>
                </a:cubicBezTo>
                <a:cubicBezTo>
                  <a:pt x="3729" y="1473"/>
                  <a:pt x="3734" y="1485"/>
                  <a:pt x="3740" y="1497"/>
                </a:cubicBezTo>
                <a:cubicBezTo>
                  <a:pt x="3746" y="1509"/>
                  <a:pt x="3752" y="1519"/>
                  <a:pt x="3757" y="1523"/>
                </a:cubicBezTo>
                <a:cubicBezTo>
                  <a:pt x="3760" y="1527"/>
                  <a:pt x="3769" y="1533"/>
                  <a:pt x="3777" y="1540"/>
                </a:cubicBezTo>
                <a:cubicBezTo>
                  <a:pt x="3785" y="1547"/>
                  <a:pt x="3793" y="1556"/>
                  <a:pt x="3794" y="1559"/>
                </a:cubicBezTo>
                <a:cubicBezTo>
                  <a:pt x="3797" y="1565"/>
                  <a:pt x="3801" y="1570"/>
                  <a:pt x="3808" y="1571"/>
                </a:cubicBezTo>
                <a:cubicBezTo>
                  <a:pt x="3808" y="1583"/>
                  <a:pt x="3816" y="1589"/>
                  <a:pt x="3819" y="1591"/>
                </a:cubicBezTo>
                <a:cubicBezTo>
                  <a:pt x="3825" y="1595"/>
                  <a:pt x="3834" y="1597"/>
                  <a:pt x="3844" y="1597"/>
                </a:cubicBezTo>
                <a:cubicBezTo>
                  <a:pt x="3847" y="1597"/>
                  <a:pt x="3849" y="1597"/>
                  <a:pt x="3851" y="1597"/>
                </a:cubicBezTo>
                <a:cubicBezTo>
                  <a:pt x="3855" y="1596"/>
                  <a:pt x="3859" y="1596"/>
                  <a:pt x="3863" y="1594"/>
                </a:cubicBezTo>
                <a:cubicBezTo>
                  <a:pt x="3865" y="1594"/>
                  <a:pt x="3866" y="1594"/>
                  <a:pt x="3868" y="1593"/>
                </a:cubicBezTo>
                <a:cubicBezTo>
                  <a:pt x="3868" y="1593"/>
                  <a:pt x="3868" y="1593"/>
                  <a:pt x="3868" y="1594"/>
                </a:cubicBezTo>
                <a:cubicBezTo>
                  <a:pt x="3876" y="1602"/>
                  <a:pt x="3884" y="1608"/>
                  <a:pt x="3896" y="1608"/>
                </a:cubicBezTo>
                <a:cubicBezTo>
                  <a:pt x="3898" y="1608"/>
                  <a:pt x="3900" y="1608"/>
                  <a:pt x="3902" y="1608"/>
                </a:cubicBezTo>
                <a:cubicBezTo>
                  <a:pt x="3903" y="1608"/>
                  <a:pt x="3903" y="1608"/>
                  <a:pt x="3904" y="1608"/>
                </a:cubicBezTo>
                <a:cubicBezTo>
                  <a:pt x="3912" y="1608"/>
                  <a:pt x="3923" y="1611"/>
                  <a:pt x="3931" y="1611"/>
                </a:cubicBezTo>
                <a:cubicBezTo>
                  <a:pt x="3933" y="1611"/>
                  <a:pt x="3936" y="1611"/>
                  <a:pt x="3938" y="1610"/>
                </a:cubicBezTo>
                <a:close/>
                <a:moveTo>
                  <a:pt x="4119" y="1427"/>
                </a:moveTo>
                <a:cubicBezTo>
                  <a:pt x="4111" y="1436"/>
                  <a:pt x="4105" y="1453"/>
                  <a:pt x="4104" y="1466"/>
                </a:cubicBezTo>
                <a:cubicBezTo>
                  <a:pt x="4104" y="1469"/>
                  <a:pt x="4105" y="1472"/>
                  <a:pt x="4106" y="1475"/>
                </a:cubicBezTo>
                <a:cubicBezTo>
                  <a:pt x="4107" y="1478"/>
                  <a:pt x="4110" y="1481"/>
                  <a:pt x="4114" y="1482"/>
                </a:cubicBezTo>
                <a:cubicBezTo>
                  <a:pt x="4115" y="1483"/>
                  <a:pt x="4116" y="1483"/>
                  <a:pt x="4117" y="1483"/>
                </a:cubicBezTo>
                <a:cubicBezTo>
                  <a:pt x="4128" y="1482"/>
                  <a:pt x="4131" y="1473"/>
                  <a:pt x="4135" y="1464"/>
                </a:cubicBezTo>
                <a:cubicBezTo>
                  <a:pt x="4138" y="1455"/>
                  <a:pt x="4140" y="1445"/>
                  <a:pt x="4140" y="1436"/>
                </a:cubicBezTo>
                <a:cubicBezTo>
                  <a:pt x="4140" y="1434"/>
                  <a:pt x="4140" y="1431"/>
                  <a:pt x="4139" y="1429"/>
                </a:cubicBezTo>
                <a:cubicBezTo>
                  <a:pt x="4139" y="1426"/>
                  <a:pt x="4138" y="1423"/>
                  <a:pt x="4134" y="1421"/>
                </a:cubicBezTo>
                <a:cubicBezTo>
                  <a:pt x="4134" y="1421"/>
                  <a:pt x="4134" y="1421"/>
                  <a:pt x="4134" y="1421"/>
                </a:cubicBezTo>
                <a:cubicBezTo>
                  <a:pt x="4133" y="1421"/>
                  <a:pt x="4131" y="1420"/>
                  <a:pt x="4130" y="1420"/>
                </a:cubicBezTo>
                <a:cubicBezTo>
                  <a:pt x="4124" y="1420"/>
                  <a:pt x="4121" y="1423"/>
                  <a:pt x="4119" y="1427"/>
                </a:cubicBezTo>
                <a:close/>
                <a:moveTo>
                  <a:pt x="4266" y="830"/>
                </a:moveTo>
                <a:cubicBezTo>
                  <a:pt x="4263" y="839"/>
                  <a:pt x="4260" y="846"/>
                  <a:pt x="4257" y="852"/>
                </a:cubicBezTo>
                <a:cubicBezTo>
                  <a:pt x="4256" y="855"/>
                  <a:pt x="4254" y="857"/>
                  <a:pt x="4253" y="858"/>
                </a:cubicBezTo>
                <a:cubicBezTo>
                  <a:pt x="4253" y="858"/>
                  <a:pt x="4253" y="858"/>
                  <a:pt x="4253" y="858"/>
                </a:cubicBezTo>
                <a:cubicBezTo>
                  <a:pt x="4251" y="859"/>
                  <a:pt x="4249" y="859"/>
                  <a:pt x="4246" y="860"/>
                </a:cubicBezTo>
                <a:cubicBezTo>
                  <a:pt x="4236" y="864"/>
                  <a:pt x="4221" y="872"/>
                  <a:pt x="4214" y="880"/>
                </a:cubicBezTo>
                <a:cubicBezTo>
                  <a:pt x="4214" y="880"/>
                  <a:pt x="4213" y="880"/>
                  <a:pt x="4211" y="880"/>
                </a:cubicBezTo>
                <a:cubicBezTo>
                  <a:pt x="4203" y="880"/>
                  <a:pt x="4189" y="876"/>
                  <a:pt x="4180" y="876"/>
                </a:cubicBezTo>
                <a:cubicBezTo>
                  <a:pt x="4176" y="876"/>
                  <a:pt x="4172" y="876"/>
                  <a:pt x="4169" y="880"/>
                </a:cubicBezTo>
                <a:cubicBezTo>
                  <a:pt x="4165" y="886"/>
                  <a:pt x="4156" y="894"/>
                  <a:pt x="4150" y="900"/>
                </a:cubicBezTo>
                <a:cubicBezTo>
                  <a:pt x="4150" y="900"/>
                  <a:pt x="4146" y="901"/>
                  <a:pt x="4141" y="903"/>
                </a:cubicBezTo>
                <a:cubicBezTo>
                  <a:pt x="4136" y="904"/>
                  <a:pt x="4129" y="909"/>
                  <a:pt x="4130" y="918"/>
                </a:cubicBezTo>
                <a:cubicBezTo>
                  <a:pt x="4130" y="920"/>
                  <a:pt x="4130" y="922"/>
                  <a:pt x="4130" y="924"/>
                </a:cubicBezTo>
                <a:cubicBezTo>
                  <a:pt x="4132" y="932"/>
                  <a:pt x="4135" y="941"/>
                  <a:pt x="4139" y="947"/>
                </a:cubicBezTo>
                <a:cubicBezTo>
                  <a:pt x="4142" y="954"/>
                  <a:pt x="4146" y="959"/>
                  <a:pt x="4154" y="960"/>
                </a:cubicBezTo>
                <a:cubicBezTo>
                  <a:pt x="4159" y="960"/>
                  <a:pt x="4165" y="958"/>
                  <a:pt x="4169" y="953"/>
                </a:cubicBezTo>
                <a:cubicBezTo>
                  <a:pt x="4173" y="949"/>
                  <a:pt x="4176" y="942"/>
                  <a:pt x="4176" y="933"/>
                </a:cubicBezTo>
                <a:cubicBezTo>
                  <a:pt x="4176" y="933"/>
                  <a:pt x="4176" y="933"/>
                  <a:pt x="4176" y="933"/>
                </a:cubicBezTo>
                <a:cubicBezTo>
                  <a:pt x="4176" y="933"/>
                  <a:pt x="4180" y="934"/>
                  <a:pt x="4182" y="935"/>
                </a:cubicBezTo>
                <a:cubicBezTo>
                  <a:pt x="4185" y="936"/>
                  <a:pt x="4189" y="938"/>
                  <a:pt x="4193" y="938"/>
                </a:cubicBezTo>
                <a:cubicBezTo>
                  <a:pt x="4194" y="938"/>
                  <a:pt x="4195" y="938"/>
                  <a:pt x="4195" y="938"/>
                </a:cubicBezTo>
                <a:cubicBezTo>
                  <a:pt x="4204" y="936"/>
                  <a:pt x="4209" y="930"/>
                  <a:pt x="4212" y="922"/>
                </a:cubicBezTo>
                <a:cubicBezTo>
                  <a:pt x="4214" y="924"/>
                  <a:pt x="4216" y="925"/>
                  <a:pt x="4218" y="925"/>
                </a:cubicBezTo>
                <a:cubicBezTo>
                  <a:pt x="4221" y="926"/>
                  <a:pt x="4223" y="926"/>
                  <a:pt x="4226" y="926"/>
                </a:cubicBezTo>
                <a:cubicBezTo>
                  <a:pt x="4232" y="926"/>
                  <a:pt x="4238" y="923"/>
                  <a:pt x="4240" y="919"/>
                </a:cubicBezTo>
                <a:cubicBezTo>
                  <a:pt x="4243" y="916"/>
                  <a:pt x="4244" y="914"/>
                  <a:pt x="4244" y="911"/>
                </a:cubicBezTo>
                <a:cubicBezTo>
                  <a:pt x="4246" y="910"/>
                  <a:pt x="4251" y="907"/>
                  <a:pt x="4256" y="905"/>
                </a:cubicBezTo>
                <a:cubicBezTo>
                  <a:pt x="4263" y="903"/>
                  <a:pt x="4268" y="901"/>
                  <a:pt x="4272" y="898"/>
                </a:cubicBezTo>
                <a:cubicBezTo>
                  <a:pt x="4273" y="897"/>
                  <a:pt x="4279" y="894"/>
                  <a:pt x="4285" y="891"/>
                </a:cubicBezTo>
                <a:cubicBezTo>
                  <a:pt x="4287" y="889"/>
                  <a:pt x="4290" y="888"/>
                  <a:pt x="4293" y="886"/>
                </a:cubicBezTo>
                <a:cubicBezTo>
                  <a:pt x="4295" y="884"/>
                  <a:pt x="4297" y="882"/>
                  <a:pt x="4298" y="878"/>
                </a:cubicBezTo>
                <a:cubicBezTo>
                  <a:pt x="4299" y="874"/>
                  <a:pt x="4299" y="865"/>
                  <a:pt x="4300" y="856"/>
                </a:cubicBezTo>
                <a:cubicBezTo>
                  <a:pt x="4300" y="852"/>
                  <a:pt x="4300" y="848"/>
                  <a:pt x="4301" y="845"/>
                </a:cubicBezTo>
                <a:cubicBezTo>
                  <a:pt x="4301" y="843"/>
                  <a:pt x="4302" y="842"/>
                  <a:pt x="4302" y="842"/>
                </a:cubicBezTo>
                <a:cubicBezTo>
                  <a:pt x="4303" y="841"/>
                  <a:pt x="4305" y="841"/>
                  <a:pt x="4308" y="839"/>
                </a:cubicBezTo>
                <a:cubicBezTo>
                  <a:pt x="4310" y="837"/>
                  <a:pt x="4313" y="833"/>
                  <a:pt x="4313" y="828"/>
                </a:cubicBezTo>
                <a:cubicBezTo>
                  <a:pt x="4313" y="824"/>
                  <a:pt x="4312" y="819"/>
                  <a:pt x="4308" y="812"/>
                </a:cubicBezTo>
                <a:cubicBezTo>
                  <a:pt x="4305" y="805"/>
                  <a:pt x="4303" y="797"/>
                  <a:pt x="4300" y="791"/>
                </a:cubicBezTo>
                <a:cubicBezTo>
                  <a:pt x="4300" y="789"/>
                  <a:pt x="4299" y="788"/>
                  <a:pt x="4298" y="786"/>
                </a:cubicBezTo>
                <a:cubicBezTo>
                  <a:pt x="4303" y="785"/>
                  <a:pt x="4308" y="783"/>
                  <a:pt x="4313" y="783"/>
                </a:cubicBezTo>
                <a:cubicBezTo>
                  <a:pt x="4327" y="782"/>
                  <a:pt x="4340" y="780"/>
                  <a:pt x="4344" y="776"/>
                </a:cubicBezTo>
                <a:cubicBezTo>
                  <a:pt x="4344" y="776"/>
                  <a:pt x="4345" y="776"/>
                  <a:pt x="4345" y="776"/>
                </a:cubicBezTo>
                <a:cubicBezTo>
                  <a:pt x="4348" y="776"/>
                  <a:pt x="4353" y="776"/>
                  <a:pt x="4358" y="775"/>
                </a:cubicBezTo>
                <a:cubicBezTo>
                  <a:pt x="4363" y="773"/>
                  <a:pt x="4370" y="769"/>
                  <a:pt x="4370" y="761"/>
                </a:cubicBezTo>
                <a:cubicBezTo>
                  <a:pt x="4370" y="759"/>
                  <a:pt x="4370" y="758"/>
                  <a:pt x="4370" y="757"/>
                </a:cubicBezTo>
                <a:cubicBezTo>
                  <a:pt x="4367" y="748"/>
                  <a:pt x="4360" y="744"/>
                  <a:pt x="4354" y="741"/>
                </a:cubicBezTo>
                <a:cubicBezTo>
                  <a:pt x="4347" y="739"/>
                  <a:pt x="4340" y="738"/>
                  <a:pt x="4335" y="738"/>
                </a:cubicBezTo>
                <a:cubicBezTo>
                  <a:pt x="4333" y="738"/>
                  <a:pt x="4332" y="738"/>
                  <a:pt x="4330" y="738"/>
                </a:cubicBezTo>
                <a:cubicBezTo>
                  <a:pt x="4329" y="737"/>
                  <a:pt x="4327" y="735"/>
                  <a:pt x="4325" y="732"/>
                </a:cubicBezTo>
                <a:cubicBezTo>
                  <a:pt x="4321" y="729"/>
                  <a:pt x="4317" y="726"/>
                  <a:pt x="4311" y="726"/>
                </a:cubicBezTo>
                <a:cubicBezTo>
                  <a:pt x="4309" y="726"/>
                  <a:pt x="4308" y="726"/>
                  <a:pt x="4307" y="726"/>
                </a:cubicBezTo>
                <a:cubicBezTo>
                  <a:pt x="4300" y="728"/>
                  <a:pt x="4296" y="734"/>
                  <a:pt x="4294" y="739"/>
                </a:cubicBezTo>
                <a:cubicBezTo>
                  <a:pt x="4292" y="743"/>
                  <a:pt x="4292" y="747"/>
                  <a:pt x="4291" y="750"/>
                </a:cubicBezTo>
                <a:cubicBezTo>
                  <a:pt x="4289" y="751"/>
                  <a:pt x="4284" y="754"/>
                  <a:pt x="4280" y="756"/>
                </a:cubicBezTo>
                <a:cubicBezTo>
                  <a:pt x="4275" y="760"/>
                  <a:pt x="4268" y="763"/>
                  <a:pt x="4267" y="772"/>
                </a:cubicBezTo>
                <a:cubicBezTo>
                  <a:pt x="4267" y="775"/>
                  <a:pt x="4269" y="778"/>
                  <a:pt x="4271" y="780"/>
                </a:cubicBezTo>
                <a:cubicBezTo>
                  <a:pt x="4272" y="782"/>
                  <a:pt x="4274" y="783"/>
                  <a:pt x="4275" y="784"/>
                </a:cubicBezTo>
                <a:cubicBezTo>
                  <a:pt x="4271" y="790"/>
                  <a:pt x="4271" y="797"/>
                  <a:pt x="4270" y="805"/>
                </a:cubicBezTo>
                <a:cubicBezTo>
                  <a:pt x="4270" y="814"/>
                  <a:pt x="4269" y="824"/>
                  <a:pt x="4266" y="830"/>
                </a:cubicBezTo>
                <a:close/>
                <a:moveTo>
                  <a:pt x="3920" y="1392"/>
                </a:moveTo>
                <a:cubicBezTo>
                  <a:pt x="3917" y="1395"/>
                  <a:pt x="3916" y="1398"/>
                  <a:pt x="3915" y="1401"/>
                </a:cubicBezTo>
                <a:cubicBezTo>
                  <a:pt x="3914" y="1402"/>
                  <a:pt x="3914" y="1403"/>
                  <a:pt x="3914" y="1404"/>
                </a:cubicBezTo>
                <a:cubicBezTo>
                  <a:pt x="3914" y="1404"/>
                  <a:pt x="3913" y="1404"/>
                  <a:pt x="3913" y="1404"/>
                </a:cubicBezTo>
                <a:cubicBezTo>
                  <a:pt x="3910" y="1407"/>
                  <a:pt x="3907" y="1408"/>
                  <a:pt x="3897" y="1411"/>
                </a:cubicBezTo>
                <a:cubicBezTo>
                  <a:pt x="3886" y="1415"/>
                  <a:pt x="3883" y="1425"/>
                  <a:pt x="3881" y="1432"/>
                </a:cubicBezTo>
                <a:cubicBezTo>
                  <a:pt x="3880" y="1431"/>
                  <a:pt x="3878" y="1430"/>
                  <a:pt x="3877" y="1429"/>
                </a:cubicBezTo>
                <a:cubicBezTo>
                  <a:pt x="3873" y="1427"/>
                  <a:pt x="3870" y="1424"/>
                  <a:pt x="3864" y="1424"/>
                </a:cubicBezTo>
                <a:cubicBezTo>
                  <a:pt x="3862" y="1424"/>
                  <a:pt x="3859" y="1425"/>
                  <a:pt x="3857" y="1427"/>
                </a:cubicBezTo>
                <a:cubicBezTo>
                  <a:pt x="3854" y="1431"/>
                  <a:pt x="3854" y="1436"/>
                  <a:pt x="3854" y="1441"/>
                </a:cubicBezTo>
                <a:cubicBezTo>
                  <a:pt x="3854" y="1453"/>
                  <a:pt x="3857" y="1471"/>
                  <a:pt x="3863" y="1487"/>
                </a:cubicBezTo>
                <a:cubicBezTo>
                  <a:pt x="3868" y="1499"/>
                  <a:pt x="3876" y="1509"/>
                  <a:pt x="3883" y="1515"/>
                </a:cubicBezTo>
                <a:cubicBezTo>
                  <a:pt x="3891" y="1522"/>
                  <a:pt x="3897" y="1526"/>
                  <a:pt x="3903" y="1527"/>
                </a:cubicBezTo>
                <a:cubicBezTo>
                  <a:pt x="3909" y="1526"/>
                  <a:pt x="3920" y="1527"/>
                  <a:pt x="3927" y="1529"/>
                </a:cubicBezTo>
                <a:cubicBezTo>
                  <a:pt x="3931" y="1530"/>
                  <a:pt x="3938" y="1532"/>
                  <a:pt x="3946" y="1532"/>
                </a:cubicBezTo>
                <a:cubicBezTo>
                  <a:pt x="3950" y="1532"/>
                  <a:pt x="3955" y="1531"/>
                  <a:pt x="3959" y="1529"/>
                </a:cubicBezTo>
                <a:cubicBezTo>
                  <a:pt x="3964" y="1528"/>
                  <a:pt x="3968" y="1523"/>
                  <a:pt x="3968" y="1517"/>
                </a:cubicBezTo>
                <a:cubicBezTo>
                  <a:pt x="3968" y="1517"/>
                  <a:pt x="3968" y="1516"/>
                  <a:pt x="3968" y="1516"/>
                </a:cubicBezTo>
                <a:cubicBezTo>
                  <a:pt x="3968" y="1511"/>
                  <a:pt x="3967" y="1506"/>
                  <a:pt x="3967" y="1501"/>
                </a:cubicBezTo>
                <a:cubicBezTo>
                  <a:pt x="3967" y="1491"/>
                  <a:pt x="3969" y="1482"/>
                  <a:pt x="3975" y="1476"/>
                </a:cubicBezTo>
                <a:cubicBezTo>
                  <a:pt x="3979" y="1472"/>
                  <a:pt x="3984" y="1467"/>
                  <a:pt x="3988" y="1462"/>
                </a:cubicBezTo>
                <a:cubicBezTo>
                  <a:pt x="3992" y="1458"/>
                  <a:pt x="3995" y="1451"/>
                  <a:pt x="3995" y="1444"/>
                </a:cubicBezTo>
                <a:cubicBezTo>
                  <a:pt x="3995" y="1440"/>
                  <a:pt x="3995" y="1437"/>
                  <a:pt x="3993" y="1433"/>
                </a:cubicBezTo>
                <a:cubicBezTo>
                  <a:pt x="3988" y="1419"/>
                  <a:pt x="3981" y="1408"/>
                  <a:pt x="3982" y="1404"/>
                </a:cubicBezTo>
                <a:cubicBezTo>
                  <a:pt x="3982" y="1403"/>
                  <a:pt x="3982" y="1403"/>
                  <a:pt x="3983" y="1402"/>
                </a:cubicBezTo>
                <a:cubicBezTo>
                  <a:pt x="3986" y="1398"/>
                  <a:pt x="3990" y="1396"/>
                  <a:pt x="3994" y="1393"/>
                </a:cubicBezTo>
                <a:cubicBezTo>
                  <a:pt x="3997" y="1390"/>
                  <a:pt x="4002" y="1386"/>
                  <a:pt x="4002" y="1380"/>
                </a:cubicBezTo>
                <a:cubicBezTo>
                  <a:pt x="4002" y="1379"/>
                  <a:pt x="4002" y="1377"/>
                  <a:pt x="4000" y="1375"/>
                </a:cubicBezTo>
                <a:cubicBezTo>
                  <a:pt x="3999" y="1373"/>
                  <a:pt x="3996" y="1373"/>
                  <a:pt x="3995" y="1373"/>
                </a:cubicBezTo>
                <a:cubicBezTo>
                  <a:pt x="3991" y="1373"/>
                  <a:pt x="3990" y="1374"/>
                  <a:pt x="3989" y="1374"/>
                </a:cubicBezTo>
                <a:cubicBezTo>
                  <a:pt x="3987" y="1375"/>
                  <a:pt x="3986" y="1375"/>
                  <a:pt x="3985" y="1375"/>
                </a:cubicBezTo>
                <a:cubicBezTo>
                  <a:pt x="3985" y="1375"/>
                  <a:pt x="3985" y="1375"/>
                  <a:pt x="3985" y="1375"/>
                </a:cubicBezTo>
                <a:cubicBezTo>
                  <a:pt x="3985" y="1375"/>
                  <a:pt x="3985" y="1375"/>
                  <a:pt x="3983" y="1373"/>
                </a:cubicBezTo>
                <a:cubicBezTo>
                  <a:pt x="3982" y="1370"/>
                  <a:pt x="3980" y="1364"/>
                  <a:pt x="3980" y="1353"/>
                </a:cubicBezTo>
                <a:cubicBezTo>
                  <a:pt x="3980" y="1351"/>
                  <a:pt x="3979" y="1349"/>
                  <a:pt x="3977" y="1347"/>
                </a:cubicBezTo>
                <a:cubicBezTo>
                  <a:pt x="3975" y="1345"/>
                  <a:pt x="3973" y="1344"/>
                  <a:pt x="3971" y="1344"/>
                </a:cubicBezTo>
                <a:cubicBezTo>
                  <a:pt x="3965" y="1344"/>
                  <a:pt x="3961" y="1347"/>
                  <a:pt x="3957" y="1351"/>
                </a:cubicBezTo>
                <a:cubicBezTo>
                  <a:pt x="3953" y="1355"/>
                  <a:pt x="3949" y="1359"/>
                  <a:pt x="3948" y="1365"/>
                </a:cubicBezTo>
                <a:cubicBezTo>
                  <a:pt x="3948" y="1366"/>
                  <a:pt x="3948" y="1367"/>
                  <a:pt x="3948" y="1367"/>
                </a:cubicBezTo>
                <a:cubicBezTo>
                  <a:pt x="3948" y="1371"/>
                  <a:pt x="3949" y="1374"/>
                  <a:pt x="3950" y="1376"/>
                </a:cubicBezTo>
                <a:cubicBezTo>
                  <a:pt x="3950" y="1377"/>
                  <a:pt x="3950" y="1377"/>
                  <a:pt x="3951" y="1378"/>
                </a:cubicBezTo>
                <a:cubicBezTo>
                  <a:pt x="3949" y="1378"/>
                  <a:pt x="3947" y="1378"/>
                  <a:pt x="3945" y="1378"/>
                </a:cubicBezTo>
                <a:cubicBezTo>
                  <a:pt x="3932" y="1378"/>
                  <a:pt x="3924" y="1385"/>
                  <a:pt x="3920" y="1392"/>
                </a:cubicBezTo>
                <a:close/>
                <a:moveTo>
                  <a:pt x="4009" y="1068"/>
                </a:moveTo>
                <a:cubicBezTo>
                  <a:pt x="4005" y="1076"/>
                  <a:pt x="4003" y="1085"/>
                  <a:pt x="4003" y="1093"/>
                </a:cubicBezTo>
                <a:cubicBezTo>
                  <a:pt x="4003" y="1096"/>
                  <a:pt x="4003" y="1099"/>
                  <a:pt x="4005" y="1102"/>
                </a:cubicBezTo>
                <a:cubicBezTo>
                  <a:pt x="4006" y="1106"/>
                  <a:pt x="4010" y="1108"/>
                  <a:pt x="4014" y="1108"/>
                </a:cubicBezTo>
                <a:cubicBezTo>
                  <a:pt x="4014" y="1108"/>
                  <a:pt x="4014" y="1108"/>
                  <a:pt x="4015" y="1108"/>
                </a:cubicBezTo>
                <a:cubicBezTo>
                  <a:pt x="4015" y="1108"/>
                  <a:pt x="4015" y="1108"/>
                  <a:pt x="4016" y="1108"/>
                </a:cubicBezTo>
                <a:cubicBezTo>
                  <a:pt x="4025" y="1107"/>
                  <a:pt x="4030" y="1099"/>
                  <a:pt x="4034" y="1091"/>
                </a:cubicBezTo>
                <a:cubicBezTo>
                  <a:pt x="4038" y="1083"/>
                  <a:pt x="4041" y="1073"/>
                  <a:pt x="4041" y="1065"/>
                </a:cubicBezTo>
                <a:cubicBezTo>
                  <a:pt x="4041" y="1062"/>
                  <a:pt x="4041" y="1059"/>
                  <a:pt x="4039" y="1056"/>
                </a:cubicBezTo>
                <a:cubicBezTo>
                  <a:pt x="4038" y="1053"/>
                  <a:pt x="4034" y="1051"/>
                  <a:pt x="4030" y="1051"/>
                </a:cubicBezTo>
                <a:cubicBezTo>
                  <a:pt x="4029" y="1051"/>
                  <a:pt x="4029" y="1051"/>
                  <a:pt x="4028" y="1051"/>
                </a:cubicBezTo>
                <a:cubicBezTo>
                  <a:pt x="4028" y="1051"/>
                  <a:pt x="4028" y="1051"/>
                  <a:pt x="4028" y="1051"/>
                </a:cubicBezTo>
                <a:cubicBezTo>
                  <a:pt x="4019" y="1053"/>
                  <a:pt x="4013" y="1061"/>
                  <a:pt x="4009" y="1068"/>
                </a:cubicBezTo>
                <a:close/>
                <a:moveTo>
                  <a:pt x="3994" y="1206"/>
                </a:moveTo>
                <a:cubicBezTo>
                  <a:pt x="3994" y="1209"/>
                  <a:pt x="3995" y="1213"/>
                  <a:pt x="3997" y="1217"/>
                </a:cubicBezTo>
                <a:cubicBezTo>
                  <a:pt x="3997" y="1217"/>
                  <a:pt x="3997" y="1217"/>
                  <a:pt x="3997" y="1217"/>
                </a:cubicBezTo>
                <a:cubicBezTo>
                  <a:pt x="4001" y="1226"/>
                  <a:pt x="4008" y="1233"/>
                  <a:pt x="4014" y="1238"/>
                </a:cubicBezTo>
                <a:cubicBezTo>
                  <a:pt x="4017" y="1241"/>
                  <a:pt x="4019" y="1244"/>
                  <a:pt x="4021" y="1246"/>
                </a:cubicBezTo>
                <a:cubicBezTo>
                  <a:pt x="4021" y="1246"/>
                  <a:pt x="4022" y="1247"/>
                  <a:pt x="4022" y="1247"/>
                </a:cubicBezTo>
                <a:cubicBezTo>
                  <a:pt x="4017" y="1254"/>
                  <a:pt x="4000" y="1267"/>
                  <a:pt x="3997" y="1282"/>
                </a:cubicBezTo>
                <a:cubicBezTo>
                  <a:pt x="3996" y="1283"/>
                  <a:pt x="3996" y="1284"/>
                  <a:pt x="3996" y="1285"/>
                </a:cubicBezTo>
                <a:cubicBezTo>
                  <a:pt x="3996" y="1286"/>
                  <a:pt x="3997" y="1288"/>
                  <a:pt x="3998" y="1289"/>
                </a:cubicBezTo>
                <a:cubicBezTo>
                  <a:pt x="3999" y="1291"/>
                  <a:pt x="4002" y="1292"/>
                  <a:pt x="4003" y="1292"/>
                </a:cubicBezTo>
                <a:cubicBezTo>
                  <a:pt x="4003" y="1292"/>
                  <a:pt x="4004" y="1292"/>
                  <a:pt x="4004" y="1292"/>
                </a:cubicBezTo>
                <a:cubicBezTo>
                  <a:pt x="4009" y="1292"/>
                  <a:pt x="4011" y="1289"/>
                  <a:pt x="4014" y="1287"/>
                </a:cubicBezTo>
                <a:cubicBezTo>
                  <a:pt x="4024" y="1279"/>
                  <a:pt x="4038" y="1264"/>
                  <a:pt x="4043" y="1255"/>
                </a:cubicBezTo>
                <a:cubicBezTo>
                  <a:pt x="4046" y="1251"/>
                  <a:pt x="4049" y="1250"/>
                  <a:pt x="4054" y="1249"/>
                </a:cubicBezTo>
                <a:cubicBezTo>
                  <a:pt x="4057" y="1249"/>
                  <a:pt x="4060" y="1249"/>
                  <a:pt x="4063" y="1248"/>
                </a:cubicBezTo>
                <a:cubicBezTo>
                  <a:pt x="4065" y="1248"/>
                  <a:pt x="4069" y="1246"/>
                  <a:pt x="4071" y="1242"/>
                </a:cubicBezTo>
                <a:cubicBezTo>
                  <a:pt x="4075" y="1235"/>
                  <a:pt x="4075" y="1235"/>
                  <a:pt x="4075" y="1235"/>
                </a:cubicBezTo>
                <a:cubicBezTo>
                  <a:pt x="4076" y="1233"/>
                  <a:pt x="4076" y="1231"/>
                  <a:pt x="4075" y="1230"/>
                </a:cubicBezTo>
                <a:cubicBezTo>
                  <a:pt x="4074" y="1228"/>
                  <a:pt x="4072" y="1227"/>
                  <a:pt x="4071" y="1226"/>
                </a:cubicBezTo>
                <a:cubicBezTo>
                  <a:pt x="4071" y="1226"/>
                  <a:pt x="4058" y="1224"/>
                  <a:pt x="4048" y="1220"/>
                </a:cubicBezTo>
                <a:cubicBezTo>
                  <a:pt x="4046" y="1219"/>
                  <a:pt x="4044" y="1219"/>
                  <a:pt x="4042" y="1219"/>
                </a:cubicBezTo>
                <a:cubicBezTo>
                  <a:pt x="4039" y="1219"/>
                  <a:pt x="4036" y="1219"/>
                  <a:pt x="4034" y="1220"/>
                </a:cubicBezTo>
                <a:cubicBezTo>
                  <a:pt x="4034" y="1219"/>
                  <a:pt x="4034" y="1218"/>
                  <a:pt x="4035" y="1216"/>
                </a:cubicBezTo>
                <a:cubicBezTo>
                  <a:pt x="4037" y="1207"/>
                  <a:pt x="4041" y="1204"/>
                  <a:pt x="4045" y="1201"/>
                </a:cubicBezTo>
                <a:cubicBezTo>
                  <a:pt x="4049" y="1198"/>
                  <a:pt x="4055" y="1193"/>
                  <a:pt x="4055" y="1184"/>
                </a:cubicBezTo>
                <a:cubicBezTo>
                  <a:pt x="4055" y="1182"/>
                  <a:pt x="4055" y="1181"/>
                  <a:pt x="4054" y="1179"/>
                </a:cubicBezTo>
                <a:cubicBezTo>
                  <a:pt x="4053" y="1169"/>
                  <a:pt x="4048" y="1163"/>
                  <a:pt x="4043" y="1159"/>
                </a:cubicBezTo>
                <a:cubicBezTo>
                  <a:pt x="4038" y="1155"/>
                  <a:pt x="4034" y="1153"/>
                  <a:pt x="4030" y="1153"/>
                </a:cubicBezTo>
                <a:cubicBezTo>
                  <a:pt x="4026" y="1153"/>
                  <a:pt x="4021" y="1157"/>
                  <a:pt x="4021" y="1160"/>
                </a:cubicBezTo>
                <a:cubicBezTo>
                  <a:pt x="4019" y="1169"/>
                  <a:pt x="4022" y="1175"/>
                  <a:pt x="4016" y="1179"/>
                </a:cubicBezTo>
                <a:cubicBezTo>
                  <a:pt x="4012" y="1183"/>
                  <a:pt x="4007" y="1186"/>
                  <a:pt x="4003" y="1190"/>
                </a:cubicBezTo>
                <a:cubicBezTo>
                  <a:pt x="3998" y="1193"/>
                  <a:pt x="3994" y="1199"/>
                  <a:pt x="3994" y="1206"/>
                </a:cubicBezTo>
                <a:close/>
              </a:path>
            </a:pathLst>
          </a:custGeom>
          <a:solidFill>
            <a:schemeClr val="bg1">
              <a:alpha val="1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: 圆角 5"/>
          <p:cNvSpPr/>
          <p:nvPr userDrawn="1"/>
        </p:nvSpPr>
        <p:spPr>
          <a:xfrm>
            <a:off x="1463864" y="2607129"/>
            <a:ext cx="9804400" cy="2260600"/>
          </a:xfrm>
          <a:prstGeom prst="roundRect">
            <a:avLst/>
          </a:prstGeom>
          <a:gradFill>
            <a:gsLst>
              <a:gs pos="100000">
                <a:schemeClr val="accent2">
                  <a:alpha val="0"/>
                </a:schemeClr>
              </a:gs>
              <a:gs pos="0">
                <a:schemeClr val="accent1">
                  <a:alpha val="40000"/>
                </a:schemeClr>
              </a:gs>
            </a:gsLst>
            <a:lin ang="2700000" scaled="1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endParaRPr kumimoji="0" lang="zh-CN" altLang="en-US" sz="1800" b="0" i="0" u="none" strike="noStrike" kern="0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</a:endParaRPr>
          </a:p>
        </p:txBody>
      </p:sp>
      <p:sp>
        <p:nvSpPr>
          <p:cNvPr id="2" name="矩形: 圆角 1"/>
          <p:cNvSpPr/>
          <p:nvPr userDrawn="1"/>
        </p:nvSpPr>
        <p:spPr>
          <a:xfrm>
            <a:off x="1333500" y="2377673"/>
            <a:ext cx="9804400" cy="2260600"/>
          </a:xfrm>
          <a:prstGeom prst="roundRect">
            <a:avLst/>
          </a:prstGeo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2700000" scaled="1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endParaRPr kumimoji="0" lang="zh-CN" altLang="en-US" sz="1800" b="0" i="0" u="none" strike="noStrike" kern="0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</a:endParaRPr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5482370" y="2533650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5483486" y="3429002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pic>
        <p:nvPicPr>
          <p:cNvPr id="4" name="图形 3"/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10262"/>
          <a:stretch>
            <a:fillRect/>
          </a:stretch>
        </p:blipFill>
        <p:spPr>
          <a:xfrm>
            <a:off x="923737" y="1983973"/>
            <a:ext cx="4323404" cy="3113212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t>2022/9/8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669925" y="1130301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t>2022/9/8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16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2700000" scaled="1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  <p:sp>
        <p:nvSpPr>
          <p:cNvPr id="8" name="Freeform 113"/>
          <p:cNvSpPr>
            <a:spLocks noEditPoints="1"/>
          </p:cNvSpPr>
          <p:nvPr userDrawn="1"/>
        </p:nvSpPr>
        <p:spPr bwMode="auto">
          <a:xfrm>
            <a:off x="561232" y="688977"/>
            <a:ext cx="11069536" cy="5442156"/>
          </a:xfrm>
          <a:custGeom>
            <a:avLst/>
            <a:gdLst>
              <a:gd name="T0" fmla="*/ 1302 w 4832"/>
              <a:gd name="T1" fmla="*/ 472 h 2374"/>
              <a:gd name="T2" fmla="*/ 92 w 4832"/>
              <a:gd name="T3" fmla="*/ 600 h 2374"/>
              <a:gd name="T4" fmla="*/ 1495 w 4832"/>
              <a:gd name="T5" fmla="*/ 1292 h 2374"/>
              <a:gd name="T6" fmla="*/ 1140 w 4832"/>
              <a:gd name="T7" fmla="*/ 1152 h 2374"/>
              <a:gd name="T8" fmla="*/ 1388 w 4832"/>
              <a:gd name="T9" fmla="*/ 822 h 2374"/>
              <a:gd name="T10" fmla="*/ 1513 w 4832"/>
              <a:gd name="T11" fmla="*/ 658 h 2374"/>
              <a:gd name="T12" fmla="*/ 1510 w 4832"/>
              <a:gd name="T13" fmla="*/ 476 h 2374"/>
              <a:gd name="T14" fmla="*/ 1245 w 4832"/>
              <a:gd name="T15" fmla="*/ 556 h 2374"/>
              <a:gd name="T16" fmla="*/ 1284 w 4832"/>
              <a:gd name="T17" fmla="*/ 342 h 2374"/>
              <a:gd name="T18" fmla="*/ 1483 w 4832"/>
              <a:gd name="T19" fmla="*/ 457 h 2374"/>
              <a:gd name="T20" fmla="*/ 1210 w 4832"/>
              <a:gd name="T21" fmla="*/ 260 h 2374"/>
              <a:gd name="T22" fmla="*/ 1115 w 4832"/>
              <a:gd name="T23" fmla="*/ 248 h 2374"/>
              <a:gd name="T24" fmla="*/ 972 w 4832"/>
              <a:gd name="T25" fmla="*/ 264 h 2374"/>
              <a:gd name="T26" fmla="*/ 897 w 4832"/>
              <a:gd name="T27" fmla="*/ 188 h 2374"/>
              <a:gd name="T28" fmla="*/ 782 w 4832"/>
              <a:gd name="T29" fmla="*/ 326 h 2374"/>
              <a:gd name="T30" fmla="*/ 208 w 4832"/>
              <a:gd name="T31" fmla="*/ 312 h 2374"/>
              <a:gd name="T32" fmla="*/ 196 w 4832"/>
              <a:gd name="T33" fmla="*/ 519 h 2374"/>
              <a:gd name="T34" fmla="*/ 417 w 4832"/>
              <a:gd name="T35" fmla="*/ 484 h 2374"/>
              <a:gd name="T36" fmla="*/ 813 w 4832"/>
              <a:gd name="T37" fmla="*/ 1027 h 2374"/>
              <a:gd name="T38" fmla="*/ 1225 w 4832"/>
              <a:gd name="T39" fmla="*/ 1313 h 2374"/>
              <a:gd name="T40" fmla="*/ 1402 w 4832"/>
              <a:gd name="T41" fmla="*/ 1972 h 2374"/>
              <a:gd name="T42" fmla="*/ 1500 w 4832"/>
              <a:gd name="T43" fmla="*/ 2229 h 2374"/>
              <a:gd name="T44" fmla="*/ 1858 w 4832"/>
              <a:gd name="T45" fmla="*/ 1697 h 2374"/>
              <a:gd name="T46" fmla="*/ 1242 w 4832"/>
              <a:gd name="T47" fmla="*/ 708 h 2374"/>
              <a:gd name="T48" fmla="*/ 1197 w 4832"/>
              <a:gd name="T49" fmla="*/ 354 h 2374"/>
              <a:gd name="T50" fmla="*/ 1678 w 4832"/>
              <a:gd name="T51" fmla="*/ 1473 h 2374"/>
              <a:gd name="T52" fmla="*/ 4069 w 4832"/>
              <a:gd name="T53" fmla="*/ 1312 h 2374"/>
              <a:gd name="T54" fmla="*/ 4372 w 4832"/>
              <a:gd name="T55" fmla="*/ 1753 h 2374"/>
              <a:gd name="T56" fmla="*/ 4278 w 4832"/>
              <a:gd name="T57" fmla="*/ 1604 h 2374"/>
              <a:gd name="T58" fmla="*/ 3915 w 4832"/>
              <a:gd name="T59" fmla="*/ 1902 h 2374"/>
              <a:gd name="T60" fmla="*/ 4355 w 4832"/>
              <a:gd name="T61" fmla="*/ 2105 h 2374"/>
              <a:gd name="T62" fmla="*/ 4769 w 4832"/>
              <a:gd name="T63" fmla="*/ 2066 h 2374"/>
              <a:gd name="T64" fmla="*/ 2422 w 4832"/>
              <a:gd name="T65" fmla="*/ 804 h 2374"/>
              <a:gd name="T66" fmla="*/ 4823 w 4832"/>
              <a:gd name="T67" fmla="*/ 362 h 2374"/>
              <a:gd name="T68" fmla="*/ 4216 w 4832"/>
              <a:gd name="T69" fmla="*/ 296 h 2374"/>
              <a:gd name="T70" fmla="*/ 3529 w 4832"/>
              <a:gd name="T71" fmla="*/ 259 h 2374"/>
              <a:gd name="T72" fmla="*/ 3291 w 4832"/>
              <a:gd name="T73" fmla="*/ 342 h 2374"/>
              <a:gd name="T74" fmla="*/ 2474 w 4832"/>
              <a:gd name="T75" fmla="*/ 531 h 2374"/>
              <a:gd name="T76" fmla="*/ 2305 w 4832"/>
              <a:gd name="T77" fmla="*/ 617 h 2374"/>
              <a:gd name="T78" fmla="*/ 2144 w 4832"/>
              <a:gd name="T79" fmla="*/ 1215 h 2374"/>
              <a:gd name="T80" fmla="*/ 2625 w 4832"/>
              <a:gd name="T81" fmla="*/ 2014 h 2374"/>
              <a:gd name="T82" fmla="*/ 2980 w 4832"/>
              <a:gd name="T83" fmla="*/ 1294 h 2374"/>
              <a:gd name="T84" fmla="*/ 3319 w 4832"/>
              <a:gd name="T85" fmla="*/ 1093 h 2374"/>
              <a:gd name="T86" fmla="*/ 3704 w 4832"/>
              <a:gd name="T87" fmla="*/ 1197 h 2374"/>
              <a:gd name="T88" fmla="*/ 3889 w 4832"/>
              <a:gd name="T89" fmla="*/ 1144 h 2374"/>
              <a:gd name="T90" fmla="*/ 4171 w 4832"/>
              <a:gd name="T91" fmla="*/ 771 h 2374"/>
              <a:gd name="T92" fmla="*/ 4460 w 4832"/>
              <a:gd name="T93" fmla="*/ 517 h 2374"/>
              <a:gd name="T94" fmla="*/ 2804 w 4832"/>
              <a:gd name="T95" fmla="*/ 472 h 2374"/>
              <a:gd name="T96" fmla="*/ 2604 w 4832"/>
              <a:gd name="T97" fmla="*/ 555 h 2374"/>
              <a:gd name="T98" fmla="*/ 2520 w 4832"/>
              <a:gd name="T99" fmla="*/ 531 h 2374"/>
              <a:gd name="T100" fmla="*/ 2577 w 4832"/>
              <a:gd name="T101" fmla="*/ 935 h 2374"/>
              <a:gd name="T102" fmla="*/ 2607 w 4832"/>
              <a:gd name="T103" fmla="*/ 851 h 2374"/>
              <a:gd name="T104" fmla="*/ 2929 w 4832"/>
              <a:gd name="T105" fmla="*/ 1150 h 2374"/>
              <a:gd name="T106" fmla="*/ 3433 w 4832"/>
              <a:gd name="T107" fmla="*/ 335 h 2374"/>
              <a:gd name="T108" fmla="*/ 2048 w 4832"/>
              <a:gd name="T109" fmla="*/ 113 h 2374"/>
              <a:gd name="T110" fmla="*/ 1424 w 4832"/>
              <a:gd name="T111" fmla="*/ 188 h 2374"/>
              <a:gd name="T112" fmla="*/ 1778 w 4832"/>
              <a:gd name="T113" fmla="*/ 447 h 2374"/>
              <a:gd name="T114" fmla="*/ 1978 w 4832"/>
              <a:gd name="T115" fmla="*/ 315 h 2374"/>
              <a:gd name="T116" fmla="*/ 3020 w 4832"/>
              <a:gd name="T117" fmla="*/ 1881 h 2374"/>
              <a:gd name="T118" fmla="*/ 1328 w 4832"/>
              <a:gd name="T119" fmla="*/ 1167 h 2374"/>
              <a:gd name="T120" fmla="*/ 3863 w 4832"/>
              <a:gd name="T121" fmla="*/ 1594 h 2374"/>
              <a:gd name="T122" fmla="*/ 4308 w 4832"/>
              <a:gd name="T123" fmla="*/ 812 h 2374"/>
              <a:gd name="T124" fmla="*/ 3980 w 4832"/>
              <a:gd name="T125" fmla="*/ 1353 h 23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832" h="2374">
                <a:moveTo>
                  <a:pt x="3080" y="309"/>
                </a:moveTo>
                <a:cubicBezTo>
                  <a:pt x="3080" y="309"/>
                  <a:pt x="3080" y="309"/>
                  <a:pt x="3080" y="309"/>
                </a:cubicBezTo>
                <a:cubicBezTo>
                  <a:pt x="3088" y="312"/>
                  <a:pt x="3102" y="313"/>
                  <a:pt x="3113" y="320"/>
                </a:cubicBezTo>
                <a:cubicBezTo>
                  <a:pt x="3121" y="325"/>
                  <a:pt x="3131" y="328"/>
                  <a:pt x="3140" y="328"/>
                </a:cubicBezTo>
                <a:cubicBezTo>
                  <a:pt x="3140" y="328"/>
                  <a:pt x="3140" y="328"/>
                  <a:pt x="3140" y="328"/>
                </a:cubicBezTo>
                <a:cubicBezTo>
                  <a:pt x="3148" y="328"/>
                  <a:pt x="3155" y="326"/>
                  <a:pt x="3160" y="320"/>
                </a:cubicBezTo>
                <a:cubicBezTo>
                  <a:pt x="3163" y="316"/>
                  <a:pt x="3165" y="312"/>
                  <a:pt x="3165" y="307"/>
                </a:cubicBezTo>
                <a:cubicBezTo>
                  <a:pt x="3165" y="303"/>
                  <a:pt x="3163" y="299"/>
                  <a:pt x="3161" y="295"/>
                </a:cubicBezTo>
                <a:cubicBezTo>
                  <a:pt x="3159" y="292"/>
                  <a:pt x="3156" y="289"/>
                  <a:pt x="3152" y="288"/>
                </a:cubicBezTo>
                <a:cubicBezTo>
                  <a:pt x="3152" y="288"/>
                  <a:pt x="3152" y="288"/>
                  <a:pt x="3152" y="288"/>
                </a:cubicBezTo>
                <a:cubicBezTo>
                  <a:pt x="3152" y="287"/>
                  <a:pt x="3152" y="287"/>
                  <a:pt x="3152" y="286"/>
                </a:cubicBezTo>
                <a:cubicBezTo>
                  <a:pt x="3152" y="285"/>
                  <a:pt x="3153" y="281"/>
                  <a:pt x="3160" y="277"/>
                </a:cubicBezTo>
                <a:cubicBezTo>
                  <a:pt x="3175" y="267"/>
                  <a:pt x="3191" y="255"/>
                  <a:pt x="3206" y="253"/>
                </a:cubicBezTo>
                <a:cubicBezTo>
                  <a:pt x="3215" y="251"/>
                  <a:pt x="3231" y="250"/>
                  <a:pt x="3245" y="250"/>
                </a:cubicBezTo>
                <a:cubicBezTo>
                  <a:pt x="3257" y="250"/>
                  <a:pt x="3269" y="251"/>
                  <a:pt x="3273" y="253"/>
                </a:cubicBezTo>
                <a:cubicBezTo>
                  <a:pt x="3275" y="253"/>
                  <a:pt x="3277" y="253"/>
                  <a:pt x="3279" y="253"/>
                </a:cubicBezTo>
                <a:cubicBezTo>
                  <a:pt x="3288" y="253"/>
                  <a:pt x="3297" y="247"/>
                  <a:pt x="3304" y="241"/>
                </a:cubicBezTo>
                <a:cubicBezTo>
                  <a:pt x="3312" y="235"/>
                  <a:pt x="3318" y="228"/>
                  <a:pt x="3321" y="222"/>
                </a:cubicBezTo>
                <a:cubicBezTo>
                  <a:pt x="3322" y="220"/>
                  <a:pt x="3322" y="218"/>
                  <a:pt x="3322" y="216"/>
                </a:cubicBezTo>
                <a:cubicBezTo>
                  <a:pt x="3322" y="211"/>
                  <a:pt x="3319" y="207"/>
                  <a:pt x="3315" y="205"/>
                </a:cubicBezTo>
                <a:cubicBezTo>
                  <a:pt x="3311" y="203"/>
                  <a:pt x="3307" y="202"/>
                  <a:pt x="3302" y="202"/>
                </a:cubicBezTo>
                <a:cubicBezTo>
                  <a:pt x="3296" y="202"/>
                  <a:pt x="3289" y="204"/>
                  <a:pt x="3285" y="210"/>
                </a:cubicBezTo>
                <a:cubicBezTo>
                  <a:pt x="3285" y="213"/>
                  <a:pt x="3274" y="216"/>
                  <a:pt x="3263" y="216"/>
                </a:cubicBezTo>
                <a:cubicBezTo>
                  <a:pt x="3255" y="216"/>
                  <a:pt x="3247" y="214"/>
                  <a:pt x="3245" y="214"/>
                </a:cubicBezTo>
                <a:cubicBezTo>
                  <a:pt x="3243" y="213"/>
                  <a:pt x="3242" y="213"/>
                  <a:pt x="3240" y="213"/>
                </a:cubicBezTo>
                <a:cubicBezTo>
                  <a:pt x="3232" y="213"/>
                  <a:pt x="3217" y="216"/>
                  <a:pt x="3202" y="218"/>
                </a:cubicBezTo>
                <a:cubicBezTo>
                  <a:pt x="3188" y="221"/>
                  <a:pt x="3173" y="224"/>
                  <a:pt x="3169" y="224"/>
                </a:cubicBezTo>
                <a:cubicBezTo>
                  <a:pt x="3160" y="224"/>
                  <a:pt x="3155" y="230"/>
                  <a:pt x="3151" y="235"/>
                </a:cubicBezTo>
                <a:cubicBezTo>
                  <a:pt x="3146" y="241"/>
                  <a:pt x="3141" y="246"/>
                  <a:pt x="3134" y="250"/>
                </a:cubicBezTo>
                <a:cubicBezTo>
                  <a:pt x="3118" y="258"/>
                  <a:pt x="3096" y="270"/>
                  <a:pt x="3088" y="274"/>
                </a:cubicBezTo>
                <a:cubicBezTo>
                  <a:pt x="3080" y="279"/>
                  <a:pt x="3074" y="289"/>
                  <a:pt x="3073" y="299"/>
                </a:cubicBezTo>
                <a:cubicBezTo>
                  <a:pt x="3073" y="302"/>
                  <a:pt x="3075" y="307"/>
                  <a:pt x="3080" y="309"/>
                </a:cubicBezTo>
                <a:close/>
                <a:moveTo>
                  <a:pt x="969" y="199"/>
                </a:moveTo>
                <a:cubicBezTo>
                  <a:pt x="977" y="199"/>
                  <a:pt x="989" y="196"/>
                  <a:pt x="995" y="196"/>
                </a:cubicBezTo>
                <a:cubicBezTo>
                  <a:pt x="995" y="196"/>
                  <a:pt x="995" y="196"/>
                  <a:pt x="995" y="196"/>
                </a:cubicBezTo>
                <a:cubicBezTo>
                  <a:pt x="995" y="200"/>
                  <a:pt x="995" y="199"/>
                  <a:pt x="996" y="201"/>
                </a:cubicBezTo>
                <a:cubicBezTo>
                  <a:pt x="999" y="206"/>
                  <a:pt x="1003" y="208"/>
                  <a:pt x="1009" y="209"/>
                </a:cubicBezTo>
                <a:cubicBezTo>
                  <a:pt x="1019" y="210"/>
                  <a:pt x="1024" y="213"/>
                  <a:pt x="1031" y="213"/>
                </a:cubicBezTo>
                <a:cubicBezTo>
                  <a:pt x="1031" y="213"/>
                  <a:pt x="1032" y="213"/>
                  <a:pt x="1032" y="213"/>
                </a:cubicBezTo>
                <a:cubicBezTo>
                  <a:pt x="1035" y="213"/>
                  <a:pt x="1038" y="211"/>
                  <a:pt x="1039" y="209"/>
                </a:cubicBezTo>
                <a:cubicBezTo>
                  <a:pt x="1041" y="206"/>
                  <a:pt x="1041" y="204"/>
                  <a:pt x="1041" y="202"/>
                </a:cubicBezTo>
                <a:cubicBezTo>
                  <a:pt x="1041" y="195"/>
                  <a:pt x="1039" y="189"/>
                  <a:pt x="1035" y="183"/>
                </a:cubicBezTo>
                <a:cubicBezTo>
                  <a:pt x="1032" y="179"/>
                  <a:pt x="1031" y="177"/>
                  <a:pt x="1028" y="174"/>
                </a:cubicBezTo>
                <a:cubicBezTo>
                  <a:pt x="1024" y="172"/>
                  <a:pt x="1021" y="171"/>
                  <a:pt x="1014" y="169"/>
                </a:cubicBezTo>
                <a:cubicBezTo>
                  <a:pt x="1004" y="165"/>
                  <a:pt x="994" y="164"/>
                  <a:pt x="985" y="164"/>
                </a:cubicBezTo>
                <a:cubicBezTo>
                  <a:pt x="981" y="164"/>
                  <a:pt x="978" y="165"/>
                  <a:pt x="975" y="165"/>
                </a:cubicBezTo>
                <a:cubicBezTo>
                  <a:pt x="971" y="165"/>
                  <a:pt x="966" y="165"/>
                  <a:pt x="960" y="166"/>
                </a:cubicBezTo>
                <a:cubicBezTo>
                  <a:pt x="955" y="167"/>
                  <a:pt x="949" y="173"/>
                  <a:pt x="948" y="181"/>
                </a:cubicBezTo>
                <a:cubicBezTo>
                  <a:pt x="948" y="182"/>
                  <a:pt x="948" y="182"/>
                  <a:pt x="948" y="183"/>
                </a:cubicBezTo>
                <a:cubicBezTo>
                  <a:pt x="948" y="194"/>
                  <a:pt x="959" y="199"/>
                  <a:pt x="969" y="199"/>
                </a:cubicBezTo>
                <a:close/>
                <a:moveTo>
                  <a:pt x="1296" y="449"/>
                </a:moveTo>
                <a:cubicBezTo>
                  <a:pt x="1294" y="449"/>
                  <a:pt x="1292" y="449"/>
                  <a:pt x="1290" y="450"/>
                </a:cubicBezTo>
                <a:cubicBezTo>
                  <a:pt x="1290" y="450"/>
                  <a:pt x="1290" y="450"/>
                  <a:pt x="1290" y="450"/>
                </a:cubicBezTo>
                <a:cubicBezTo>
                  <a:pt x="1285" y="452"/>
                  <a:pt x="1281" y="455"/>
                  <a:pt x="1281" y="461"/>
                </a:cubicBezTo>
                <a:cubicBezTo>
                  <a:pt x="1282" y="470"/>
                  <a:pt x="1289" y="473"/>
                  <a:pt x="1296" y="474"/>
                </a:cubicBezTo>
                <a:cubicBezTo>
                  <a:pt x="1298" y="474"/>
                  <a:pt x="1300" y="473"/>
                  <a:pt x="1302" y="472"/>
                </a:cubicBezTo>
                <a:cubicBezTo>
                  <a:pt x="1306" y="470"/>
                  <a:pt x="1309" y="466"/>
                  <a:pt x="1309" y="461"/>
                </a:cubicBezTo>
                <a:cubicBezTo>
                  <a:pt x="1309" y="458"/>
                  <a:pt x="1308" y="455"/>
                  <a:pt x="1305" y="452"/>
                </a:cubicBezTo>
                <a:cubicBezTo>
                  <a:pt x="1303" y="450"/>
                  <a:pt x="1300" y="449"/>
                  <a:pt x="1296" y="449"/>
                </a:cubicBezTo>
                <a:close/>
                <a:moveTo>
                  <a:pt x="1480" y="1152"/>
                </a:moveTo>
                <a:cubicBezTo>
                  <a:pt x="1480" y="1152"/>
                  <a:pt x="1480" y="1152"/>
                  <a:pt x="1480" y="1152"/>
                </a:cubicBezTo>
                <a:cubicBezTo>
                  <a:pt x="1480" y="1152"/>
                  <a:pt x="1480" y="1152"/>
                  <a:pt x="1480" y="1152"/>
                </a:cubicBezTo>
                <a:cubicBezTo>
                  <a:pt x="1471" y="1152"/>
                  <a:pt x="1469" y="1162"/>
                  <a:pt x="1469" y="1169"/>
                </a:cubicBezTo>
                <a:cubicBezTo>
                  <a:pt x="1469" y="1173"/>
                  <a:pt x="1470" y="1177"/>
                  <a:pt x="1472" y="1181"/>
                </a:cubicBezTo>
                <a:cubicBezTo>
                  <a:pt x="1474" y="1184"/>
                  <a:pt x="1478" y="1188"/>
                  <a:pt x="1483" y="1188"/>
                </a:cubicBezTo>
                <a:cubicBezTo>
                  <a:pt x="1483" y="1188"/>
                  <a:pt x="1483" y="1188"/>
                  <a:pt x="1483" y="1188"/>
                </a:cubicBezTo>
                <a:cubicBezTo>
                  <a:pt x="1485" y="1188"/>
                  <a:pt x="1486" y="1187"/>
                  <a:pt x="1488" y="1186"/>
                </a:cubicBezTo>
                <a:cubicBezTo>
                  <a:pt x="1495" y="1184"/>
                  <a:pt x="1499" y="1176"/>
                  <a:pt x="1499" y="1170"/>
                </a:cubicBezTo>
                <a:cubicBezTo>
                  <a:pt x="1499" y="1162"/>
                  <a:pt x="1494" y="1152"/>
                  <a:pt x="1483" y="1152"/>
                </a:cubicBezTo>
                <a:cubicBezTo>
                  <a:pt x="1482" y="1152"/>
                  <a:pt x="1481" y="1152"/>
                  <a:pt x="1480" y="1152"/>
                </a:cubicBezTo>
                <a:cubicBezTo>
                  <a:pt x="1480" y="1152"/>
                  <a:pt x="1480" y="1152"/>
                  <a:pt x="1480" y="1152"/>
                </a:cubicBezTo>
                <a:cubicBezTo>
                  <a:pt x="1480" y="1152"/>
                  <a:pt x="1480" y="1152"/>
                  <a:pt x="1480" y="1152"/>
                </a:cubicBezTo>
                <a:close/>
                <a:moveTo>
                  <a:pt x="54" y="612"/>
                </a:moveTo>
                <a:cubicBezTo>
                  <a:pt x="51" y="611"/>
                  <a:pt x="38" y="605"/>
                  <a:pt x="38" y="605"/>
                </a:cubicBezTo>
                <a:cubicBezTo>
                  <a:pt x="37" y="605"/>
                  <a:pt x="37" y="605"/>
                  <a:pt x="37" y="605"/>
                </a:cubicBezTo>
                <a:cubicBezTo>
                  <a:pt x="33" y="604"/>
                  <a:pt x="30" y="604"/>
                  <a:pt x="26" y="604"/>
                </a:cubicBezTo>
                <a:cubicBezTo>
                  <a:pt x="21" y="604"/>
                  <a:pt x="16" y="605"/>
                  <a:pt x="12" y="606"/>
                </a:cubicBezTo>
                <a:cubicBezTo>
                  <a:pt x="7" y="607"/>
                  <a:pt x="3" y="609"/>
                  <a:pt x="0" y="614"/>
                </a:cubicBezTo>
                <a:cubicBezTo>
                  <a:pt x="0" y="615"/>
                  <a:pt x="0" y="616"/>
                  <a:pt x="0" y="617"/>
                </a:cubicBezTo>
                <a:cubicBezTo>
                  <a:pt x="0" y="622"/>
                  <a:pt x="2" y="624"/>
                  <a:pt x="4" y="626"/>
                </a:cubicBezTo>
                <a:cubicBezTo>
                  <a:pt x="11" y="630"/>
                  <a:pt x="20" y="632"/>
                  <a:pt x="28" y="632"/>
                </a:cubicBezTo>
                <a:cubicBezTo>
                  <a:pt x="33" y="632"/>
                  <a:pt x="40" y="630"/>
                  <a:pt x="45" y="628"/>
                </a:cubicBezTo>
                <a:cubicBezTo>
                  <a:pt x="48" y="627"/>
                  <a:pt x="50" y="627"/>
                  <a:pt x="53" y="626"/>
                </a:cubicBezTo>
                <a:cubicBezTo>
                  <a:pt x="54" y="625"/>
                  <a:pt x="54" y="624"/>
                  <a:pt x="55" y="624"/>
                </a:cubicBezTo>
                <a:cubicBezTo>
                  <a:pt x="56" y="623"/>
                  <a:pt x="58" y="622"/>
                  <a:pt x="59" y="618"/>
                </a:cubicBezTo>
                <a:cubicBezTo>
                  <a:pt x="59" y="614"/>
                  <a:pt x="55" y="612"/>
                  <a:pt x="54" y="612"/>
                </a:cubicBezTo>
                <a:close/>
                <a:moveTo>
                  <a:pt x="1421" y="1133"/>
                </a:moveTo>
                <a:cubicBezTo>
                  <a:pt x="1413" y="1133"/>
                  <a:pt x="1406" y="1135"/>
                  <a:pt x="1402" y="1135"/>
                </a:cubicBezTo>
                <a:cubicBezTo>
                  <a:pt x="1395" y="1137"/>
                  <a:pt x="1389" y="1143"/>
                  <a:pt x="1383" y="1148"/>
                </a:cubicBezTo>
                <a:cubicBezTo>
                  <a:pt x="1377" y="1154"/>
                  <a:pt x="1372" y="1159"/>
                  <a:pt x="1372" y="1159"/>
                </a:cubicBezTo>
                <a:cubicBezTo>
                  <a:pt x="1371" y="1161"/>
                  <a:pt x="1370" y="1163"/>
                  <a:pt x="1371" y="1165"/>
                </a:cubicBezTo>
                <a:cubicBezTo>
                  <a:pt x="1371" y="1167"/>
                  <a:pt x="1373" y="1169"/>
                  <a:pt x="1375" y="1169"/>
                </a:cubicBezTo>
                <a:cubicBezTo>
                  <a:pt x="1376" y="1169"/>
                  <a:pt x="1388" y="1172"/>
                  <a:pt x="1397" y="1172"/>
                </a:cubicBezTo>
                <a:cubicBezTo>
                  <a:pt x="1402" y="1172"/>
                  <a:pt x="1406" y="1176"/>
                  <a:pt x="1414" y="1181"/>
                </a:cubicBezTo>
                <a:cubicBezTo>
                  <a:pt x="1416" y="1182"/>
                  <a:pt x="1419" y="1183"/>
                  <a:pt x="1421" y="1183"/>
                </a:cubicBezTo>
                <a:cubicBezTo>
                  <a:pt x="1426" y="1183"/>
                  <a:pt x="1431" y="1181"/>
                  <a:pt x="1435" y="1179"/>
                </a:cubicBezTo>
                <a:cubicBezTo>
                  <a:pt x="1437" y="1178"/>
                  <a:pt x="1438" y="1178"/>
                  <a:pt x="1440" y="1177"/>
                </a:cubicBezTo>
                <a:cubicBezTo>
                  <a:pt x="1440" y="1177"/>
                  <a:pt x="1440" y="1177"/>
                  <a:pt x="1440" y="1177"/>
                </a:cubicBezTo>
                <a:cubicBezTo>
                  <a:pt x="1441" y="1177"/>
                  <a:pt x="1441" y="1178"/>
                  <a:pt x="1442" y="1179"/>
                </a:cubicBezTo>
                <a:cubicBezTo>
                  <a:pt x="1444" y="1180"/>
                  <a:pt x="1444" y="1183"/>
                  <a:pt x="1450" y="1183"/>
                </a:cubicBezTo>
                <a:cubicBezTo>
                  <a:pt x="1454" y="1183"/>
                  <a:pt x="1457" y="1179"/>
                  <a:pt x="1457" y="1178"/>
                </a:cubicBezTo>
                <a:cubicBezTo>
                  <a:pt x="1458" y="1175"/>
                  <a:pt x="1458" y="1173"/>
                  <a:pt x="1459" y="1169"/>
                </a:cubicBezTo>
                <a:cubicBezTo>
                  <a:pt x="1459" y="1169"/>
                  <a:pt x="1459" y="1168"/>
                  <a:pt x="1459" y="1167"/>
                </a:cubicBezTo>
                <a:cubicBezTo>
                  <a:pt x="1458" y="1146"/>
                  <a:pt x="1441" y="1137"/>
                  <a:pt x="1431" y="1134"/>
                </a:cubicBezTo>
                <a:cubicBezTo>
                  <a:pt x="1428" y="1133"/>
                  <a:pt x="1424" y="1133"/>
                  <a:pt x="1421" y="1133"/>
                </a:cubicBezTo>
                <a:close/>
                <a:moveTo>
                  <a:pt x="128" y="575"/>
                </a:moveTo>
                <a:cubicBezTo>
                  <a:pt x="128" y="575"/>
                  <a:pt x="128" y="575"/>
                  <a:pt x="128" y="575"/>
                </a:cubicBezTo>
                <a:cubicBezTo>
                  <a:pt x="124" y="574"/>
                  <a:pt x="124" y="574"/>
                  <a:pt x="122" y="574"/>
                </a:cubicBezTo>
                <a:cubicBezTo>
                  <a:pt x="118" y="573"/>
                  <a:pt x="114" y="577"/>
                  <a:pt x="113" y="580"/>
                </a:cubicBezTo>
                <a:cubicBezTo>
                  <a:pt x="111" y="584"/>
                  <a:pt x="110" y="588"/>
                  <a:pt x="109" y="591"/>
                </a:cubicBezTo>
                <a:cubicBezTo>
                  <a:pt x="108" y="594"/>
                  <a:pt x="107" y="595"/>
                  <a:pt x="106" y="595"/>
                </a:cubicBezTo>
                <a:cubicBezTo>
                  <a:pt x="101" y="596"/>
                  <a:pt x="96" y="598"/>
                  <a:pt x="92" y="600"/>
                </a:cubicBezTo>
                <a:cubicBezTo>
                  <a:pt x="90" y="601"/>
                  <a:pt x="88" y="602"/>
                  <a:pt x="86" y="604"/>
                </a:cubicBezTo>
                <a:cubicBezTo>
                  <a:pt x="85" y="605"/>
                  <a:pt x="82" y="607"/>
                  <a:pt x="82" y="611"/>
                </a:cubicBezTo>
                <a:cubicBezTo>
                  <a:pt x="82" y="613"/>
                  <a:pt x="84" y="616"/>
                  <a:pt x="85" y="617"/>
                </a:cubicBezTo>
                <a:cubicBezTo>
                  <a:pt x="87" y="618"/>
                  <a:pt x="88" y="619"/>
                  <a:pt x="89" y="619"/>
                </a:cubicBezTo>
                <a:cubicBezTo>
                  <a:pt x="92" y="620"/>
                  <a:pt x="96" y="620"/>
                  <a:pt x="99" y="620"/>
                </a:cubicBezTo>
                <a:cubicBezTo>
                  <a:pt x="104" y="620"/>
                  <a:pt x="110" y="620"/>
                  <a:pt x="116" y="618"/>
                </a:cubicBezTo>
                <a:cubicBezTo>
                  <a:pt x="121" y="616"/>
                  <a:pt x="125" y="616"/>
                  <a:pt x="129" y="611"/>
                </a:cubicBezTo>
                <a:cubicBezTo>
                  <a:pt x="130" y="608"/>
                  <a:pt x="131" y="605"/>
                  <a:pt x="131" y="601"/>
                </a:cubicBezTo>
                <a:cubicBezTo>
                  <a:pt x="132" y="597"/>
                  <a:pt x="132" y="592"/>
                  <a:pt x="132" y="588"/>
                </a:cubicBezTo>
                <a:cubicBezTo>
                  <a:pt x="132" y="586"/>
                  <a:pt x="133" y="584"/>
                  <a:pt x="132" y="582"/>
                </a:cubicBezTo>
                <a:cubicBezTo>
                  <a:pt x="132" y="580"/>
                  <a:pt x="132" y="577"/>
                  <a:pt x="128" y="575"/>
                </a:cubicBezTo>
                <a:close/>
                <a:moveTo>
                  <a:pt x="1894" y="1537"/>
                </a:moveTo>
                <a:cubicBezTo>
                  <a:pt x="1894" y="1537"/>
                  <a:pt x="1894" y="1537"/>
                  <a:pt x="1894" y="1537"/>
                </a:cubicBezTo>
                <a:cubicBezTo>
                  <a:pt x="1884" y="1532"/>
                  <a:pt x="1868" y="1530"/>
                  <a:pt x="1864" y="1523"/>
                </a:cubicBezTo>
                <a:cubicBezTo>
                  <a:pt x="1860" y="1517"/>
                  <a:pt x="1854" y="1511"/>
                  <a:pt x="1847" y="1507"/>
                </a:cubicBezTo>
                <a:cubicBezTo>
                  <a:pt x="1841" y="1503"/>
                  <a:pt x="1834" y="1500"/>
                  <a:pt x="1828" y="1500"/>
                </a:cubicBezTo>
                <a:cubicBezTo>
                  <a:pt x="1826" y="1500"/>
                  <a:pt x="1825" y="1500"/>
                  <a:pt x="1823" y="1501"/>
                </a:cubicBezTo>
                <a:cubicBezTo>
                  <a:pt x="1820" y="1502"/>
                  <a:pt x="1816" y="1504"/>
                  <a:pt x="1811" y="1504"/>
                </a:cubicBezTo>
                <a:cubicBezTo>
                  <a:pt x="1808" y="1504"/>
                  <a:pt x="1804" y="1503"/>
                  <a:pt x="1801" y="1500"/>
                </a:cubicBezTo>
                <a:cubicBezTo>
                  <a:pt x="1792" y="1493"/>
                  <a:pt x="1777" y="1485"/>
                  <a:pt x="1772" y="1480"/>
                </a:cubicBezTo>
                <a:cubicBezTo>
                  <a:pt x="1764" y="1473"/>
                  <a:pt x="1749" y="1469"/>
                  <a:pt x="1740" y="1469"/>
                </a:cubicBezTo>
                <a:cubicBezTo>
                  <a:pt x="1739" y="1469"/>
                  <a:pt x="1739" y="1468"/>
                  <a:pt x="1734" y="1468"/>
                </a:cubicBezTo>
                <a:cubicBezTo>
                  <a:pt x="1732" y="1468"/>
                  <a:pt x="1730" y="1469"/>
                  <a:pt x="1728" y="1470"/>
                </a:cubicBezTo>
                <a:cubicBezTo>
                  <a:pt x="1728" y="1466"/>
                  <a:pt x="1726" y="1463"/>
                  <a:pt x="1723" y="1460"/>
                </a:cubicBezTo>
                <a:cubicBezTo>
                  <a:pt x="1720" y="1457"/>
                  <a:pt x="1715" y="1456"/>
                  <a:pt x="1711" y="1456"/>
                </a:cubicBezTo>
                <a:cubicBezTo>
                  <a:pt x="1711" y="1456"/>
                  <a:pt x="1710" y="1456"/>
                  <a:pt x="1710" y="1456"/>
                </a:cubicBezTo>
                <a:cubicBezTo>
                  <a:pt x="1712" y="1453"/>
                  <a:pt x="1715" y="1451"/>
                  <a:pt x="1715" y="1446"/>
                </a:cubicBezTo>
                <a:cubicBezTo>
                  <a:pt x="1715" y="1442"/>
                  <a:pt x="1715" y="1437"/>
                  <a:pt x="1712" y="1431"/>
                </a:cubicBezTo>
                <a:cubicBezTo>
                  <a:pt x="1711" y="1426"/>
                  <a:pt x="1706" y="1419"/>
                  <a:pt x="1698" y="1419"/>
                </a:cubicBezTo>
                <a:cubicBezTo>
                  <a:pt x="1697" y="1419"/>
                  <a:pt x="1697" y="1419"/>
                  <a:pt x="1697" y="1419"/>
                </a:cubicBezTo>
                <a:cubicBezTo>
                  <a:pt x="1697" y="1419"/>
                  <a:pt x="1697" y="1419"/>
                  <a:pt x="1697" y="1419"/>
                </a:cubicBezTo>
                <a:cubicBezTo>
                  <a:pt x="1695" y="1417"/>
                  <a:pt x="1693" y="1404"/>
                  <a:pt x="1682" y="1390"/>
                </a:cubicBezTo>
                <a:cubicBezTo>
                  <a:pt x="1669" y="1373"/>
                  <a:pt x="1653" y="1361"/>
                  <a:pt x="1636" y="1361"/>
                </a:cubicBezTo>
                <a:cubicBezTo>
                  <a:pt x="1635" y="1361"/>
                  <a:pt x="1633" y="1361"/>
                  <a:pt x="1631" y="1362"/>
                </a:cubicBezTo>
                <a:cubicBezTo>
                  <a:pt x="1625" y="1363"/>
                  <a:pt x="1619" y="1364"/>
                  <a:pt x="1616" y="1364"/>
                </a:cubicBezTo>
                <a:cubicBezTo>
                  <a:pt x="1612" y="1364"/>
                  <a:pt x="1610" y="1364"/>
                  <a:pt x="1606" y="1357"/>
                </a:cubicBezTo>
                <a:cubicBezTo>
                  <a:pt x="1599" y="1340"/>
                  <a:pt x="1590" y="1336"/>
                  <a:pt x="1587" y="1330"/>
                </a:cubicBezTo>
                <a:cubicBezTo>
                  <a:pt x="1584" y="1325"/>
                  <a:pt x="1578" y="1323"/>
                  <a:pt x="1574" y="1323"/>
                </a:cubicBezTo>
                <a:cubicBezTo>
                  <a:pt x="1570" y="1323"/>
                  <a:pt x="1567" y="1324"/>
                  <a:pt x="1566" y="1324"/>
                </a:cubicBezTo>
                <a:cubicBezTo>
                  <a:pt x="1563" y="1321"/>
                  <a:pt x="1563" y="1321"/>
                  <a:pt x="1563" y="1321"/>
                </a:cubicBezTo>
                <a:cubicBezTo>
                  <a:pt x="1562" y="1319"/>
                  <a:pt x="1559" y="1318"/>
                  <a:pt x="1557" y="1319"/>
                </a:cubicBezTo>
                <a:cubicBezTo>
                  <a:pt x="1564" y="1308"/>
                  <a:pt x="1567" y="1294"/>
                  <a:pt x="1567" y="1285"/>
                </a:cubicBezTo>
                <a:cubicBezTo>
                  <a:pt x="1567" y="1284"/>
                  <a:pt x="1567" y="1283"/>
                  <a:pt x="1566" y="1281"/>
                </a:cubicBezTo>
                <a:cubicBezTo>
                  <a:pt x="1566" y="1280"/>
                  <a:pt x="1566" y="1279"/>
                  <a:pt x="1565" y="1278"/>
                </a:cubicBezTo>
                <a:cubicBezTo>
                  <a:pt x="1564" y="1277"/>
                  <a:pt x="1562" y="1276"/>
                  <a:pt x="1560" y="1276"/>
                </a:cubicBezTo>
                <a:cubicBezTo>
                  <a:pt x="1559" y="1276"/>
                  <a:pt x="1558" y="1276"/>
                  <a:pt x="1557" y="1277"/>
                </a:cubicBezTo>
                <a:cubicBezTo>
                  <a:pt x="1557" y="1277"/>
                  <a:pt x="1557" y="1277"/>
                  <a:pt x="1557" y="1277"/>
                </a:cubicBezTo>
                <a:cubicBezTo>
                  <a:pt x="1553" y="1279"/>
                  <a:pt x="1553" y="1281"/>
                  <a:pt x="1551" y="1283"/>
                </a:cubicBezTo>
                <a:cubicBezTo>
                  <a:pt x="1550" y="1286"/>
                  <a:pt x="1548" y="1290"/>
                  <a:pt x="1546" y="1292"/>
                </a:cubicBezTo>
                <a:cubicBezTo>
                  <a:pt x="1546" y="1293"/>
                  <a:pt x="1545" y="1293"/>
                  <a:pt x="1545" y="1294"/>
                </a:cubicBezTo>
                <a:cubicBezTo>
                  <a:pt x="1544" y="1291"/>
                  <a:pt x="1541" y="1288"/>
                  <a:pt x="1535" y="1284"/>
                </a:cubicBezTo>
                <a:cubicBezTo>
                  <a:pt x="1530" y="1280"/>
                  <a:pt x="1525" y="1279"/>
                  <a:pt x="1519" y="1279"/>
                </a:cubicBezTo>
                <a:cubicBezTo>
                  <a:pt x="1514" y="1279"/>
                  <a:pt x="1509" y="1280"/>
                  <a:pt x="1504" y="1283"/>
                </a:cubicBezTo>
                <a:cubicBezTo>
                  <a:pt x="1500" y="1285"/>
                  <a:pt x="1496" y="1288"/>
                  <a:pt x="1496" y="1294"/>
                </a:cubicBezTo>
                <a:cubicBezTo>
                  <a:pt x="1496" y="1294"/>
                  <a:pt x="1496" y="1294"/>
                  <a:pt x="1496" y="1294"/>
                </a:cubicBezTo>
                <a:cubicBezTo>
                  <a:pt x="1496" y="1294"/>
                  <a:pt x="1495" y="1293"/>
                  <a:pt x="1495" y="1292"/>
                </a:cubicBezTo>
                <a:cubicBezTo>
                  <a:pt x="1491" y="1284"/>
                  <a:pt x="1483" y="1281"/>
                  <a:pt x="1476" y="1281"/>
                </a:cubicBezTo>
                <a:cubicBezTo>
                  <a:pt x="1470" y="1281"/>
                  <a:pt x="1464" y="1283"/>
                  <a:pt x="1459" y="1287"/>
                </a:cubicBezTo>
                <a:cubicBezTo>
                  <a:pt x="1458" y="1285"/>
                  <a:pt x="1456" y="1282"/>
                  <a:pt x="1455" y="1279"/>
                </a:cubicBezTo>
                <a:cubicBezTo>
                  <a:pt x="1454" y="1276"/>
                  <a:pt x="1453" y="1274"/>
                  <a:pt x="1452" y="1272"/>
                </a:cubicBezTo>
                <a:cubicBezTo>
                  <a:pt x="1450" y="1270"/>
                  <a:pt x="1449" y="1267"/>
                  <a:pt x="1443" y="1266"/>
                </a:cubicBezTo>
                <a:cubicBezTo>
                  <a:pt x="1434" y="1267"/>
                  <a:pt x="1422" y="1275"/>
                  <a:pt x="1415" y="1289"/>
                </a:cubicBezTo>
                <a:cubicBezTo>
                  <a:pt x="1414" y="1290"/>
                  <a:pt x="1414" y="1292"/>
                  <a:pt x="1413" y="1293"/>
                </a:cubicBezTo>
                <a:cubicBezTo>
                  <a:pt x="1413" y="1291"/>
                  <a:pt x="1413" y="1289"/>
                  <a:pt x="1414" y="1288"/>
                </a:cubicBezTo>
                <a:cubicBezTo>
                  <a:pt x="1414" y="1287"/>
                  <a:pt x="1415" y="1283"/>
                  <a:pt x="1417" y="1280"/>
                </a:cubicBezTo>
                <a:cubicBezTo>
                  <a:pt x="1419" y="1276"/>
                  <a:pt x="1421" y="1272"/>
                  <a:pt x="1422" y="1267"/>
                </a:cubicBezTo>
                <a:cubicBezTo>
                  <a:pt x="1422" y="1263"/>
                  <a:pt x="1418" y="1258"/>
                  <a:pt x="1414" y="1257"/>
                </a:cubicBezTo>
                <a:cubicBezTo>
                  <a:pt x="1413" y="1257"/>
                  <a:pt x="1411" y="1256"/>
                  <a:pt x="1410" y="1256"/>
                </a:cubicBezTo>
                <a:cubicBezTo>
                  <a:pt x="1402" y="1257"/>
                  <a:pt x="1397" y="1261"/>
                  <a:pt x="1392" y="1265"/>
                </a:cubicBezTo>
                <a:cubicBezTo>
                  <a:pt x="1389" y="1267"/>
                  <a:pt x="1387" y="1269"/>
                  <a:pt x="1385" y="1270"/>
                </a:cubicBezTo>
                <a:cubicBezTo>
                  <a:pt x="1384" y="1271"/>
                  <a:pt x="1383" y="1271"/>
                  <a:pt x="1383" y="1272"/>
                </a:cubicBezTo>
                <a:cubicBezTo>
                  <a:pt x="1382" y="1272"/>
                  <a:pt x="1382" y="1272"/>
                  <a:pt x="1382" y="1272"/>
                </a:cubicBezTo>
                <a:cubicBezTo>
                  <a:pt x="1382" y="1272"/>
                  <a:pt x="1382" y="1272"/>
                  <a:pt x="1382" y="1272"/>
                </a:cubicBezTo>
                <a:cubicBezTo>
                  <a:pt x="1373" y="1275"/>
                  <a:pt x="1362" y="1284"/>
                  <a:pt x="1354" y="1297"/>
                </a:cubicBezTo>
                <a:cubicBezTo>
                  <a:pt x="1347" y="1308"/>
                  <a:pt x="1344" y="1314"/>
                  <a:pt x="1339" y="1317"/>
                </a:cubicBezTo>
                <a:cubicBezTo>
                  <a:pt x="1338" y="1317"/>
                  <a:pt x="1336" y="1318"/>
                  <a:pt x="1335" y="1318"/>
                </a:cubicBezTo>
                <a:cubicBezTo>
                  <a:pt x="1334" y="1318"/>
                  <a:pt x="1332" y="1318"/>
                  <a:pt x="1332" y="1317"/>
                </a:cubicBezTo>
                <a:cubicBezTo>
                  <a:pt x="1332" y="1317"/>
                  <a:pt x="1332" y="1317"/>
                  <a:pt x="1332" y="1317"/>
                </a:cubicBezTo>
                <a:cubicBezTo>
                  <a:pt x="1332" y="1313"/>
                  <a:pt x="1330" y="1311"/>
                  <a:pt x="1329" y="1309"/>
                </a:cubicBezTo>
                <a:cubicBezTo>
                  <a:pt x="1323" y="1303"/>
                  <a:pt x="1315" y="1297"/>
                  <a:pt x="1306" y="1297"/>
                </a:cubicBezTo>
                <a:cubicBezTo>
                  <a:pt x="1304" y="1297"/>
                  <a:pt x="1301" y="1298"/>
                  <a:pt x="1299" y="1301"/>
                </a:cubicBezTo>
                <a:cubicBezTo>
                  <a:pt x="1298" y="1303"/>
                  <a:pt x="1288" y="1308"/>
                  <a:pt x="1277" y="1314"/>
                </a:cubicBezTo>
                <a:cubicBezTo>
                  <a:pt x="1276" y="1314"/>
                  <a:pt x="1275" y="1315"/>
                  <a:pt x="1275" y="1315"/>
                </a:cubicBezTo>
                <a:cubicBezTo>
                  <a:pt x="1271" y="1315"/>
                  <a:pt x="1265" y="1308"/>
                  <a:pt x="1264" y="1304"/>
                </a:cubicBezTo>
                <a:cubicBezTo>
                  <a:pt x="1260" y="1296"/>
                  <a:pt x="1257" y="1299"/>
                  <a:pt x="1256" y="1282"/>
                </a:cubicBezTo>
                <a:cubicBezTo>
                  <a:pt x="1256" y="1279"/>
                  <a:pt x="1256" y="1277"/>
                  <a:pt x="1256" y="1275"/>
                </a:cubicBezTo>
                <a:cubicBezTo>
                  <a:pt x="1256" y="1260"/>
                  <a:pt x="1259" y="1244"/>
                  <a:pt x="1261" y="1236"/>
                </a:cubicBezTo>
                <a:cubicBezTo>
                  <a:pt x="1262" y="1234"/>
                  <a:pt x="1262" y="1232"/>
                  <a:pt x="1262" y="1231"/>
                </a:cubicBezTo>
                <a:cubicBezTo>
                  <a:pt x="1262" y="1223"/>
                  <a:pt x="1257" y="1215"/>
                  <a:pt x="1251" y="1208"/>
                </a:cubicBezTo>
                <a:cubicBezTo>
                  <a:pt x="1245" y="1202"/>
                  <a:pt x="1239" y="1196"/>
                  <a:pt x="1231" y="1196"/>
                </a:cubicBezTo>
                <a:cubicBezTo>
                  <a:pt x="1231" y="1196"/>
                  <a:pt x="1230" y="1196"/>
                  <a:pt x="1229" y="1196"/>
                </a:cubicBezTo>
                <a:cubicBezTo>
                  <a:pt x="1224" y="1197"/>
                  <a:pt x="1220" y="1200"/>
                  <a:pt x="1216" y="1202"/>
                </a:cubicBezTo>
                <a:cubicBezTo>
                  <a:pt x="1212" y="1205"/>
                  <a:pt x="1209" y="1206"/>
                  <a:pt x="1208" y="1206"/>
                </a:cubicBezTo>
                <a:cubicBezTo>
                  <a:pt x="1208" y="1206"/>
                  <a:pt x="1207" y="1206"/>
                  <a:pt x="1207" y="1206"/>
                </a:cubicBezTo>
                <a:cubicBezTo>
                  <a:pt x="1204" y="1205"/>
                  <a:pt x="1205" y="1205"/>
                  <a:pt x="1202" y="1204"/>
                </a:cubicBezTo>
                <a:cubicBezTo>
                  <a:pt x="1200" y="1203"/>
                  <a:pt x="1197" y="1202"/>
                  <a:pt x="1192" y="1202"/>
                </a:cubicBezTo>
                <a:cubicBezTo>
                  <a:pt x="1193" y="1199"/>
                  <a:pt x="1194" y="1197"/>
                  <a:pt x="1195" y="1194"/>
                </a:cubicBezTo>
                <a:cubicBezTo>
                  <a:pt x="1195" y="1191"/>
                  <a:pt x="1196" y="1188"/>
                  <a:pt x="1196" y="1186"/>
                </a:cubicBezTo>
                <a:cubicBezTo>
                  <a:pt x="1196" y="1181"/>
                  <a:pt x="1195" y="1177"/>
                  <a:pt x="1195" y="1173"/>
                </a:cubicBezTo>
                <a:cubicBezTo>
                  <a:pt x="1195" y="1166"/>
                  <a:pt x="1196" y="1161"/>
                  <a:pt x="1201" y="1157"/>
                </a:cubicBezTo>
                <a:cubicBezTo>
                  <a:pt x="1209" y="1150"/>
                  <a:pt x="1211" y="1141"/>
                  <a:pt x="1211" y="1132"/>
                </a:cubicBezTo>
                <a:cubicBezTo>
                  <a:pt x="1211" y="1127"/>
                  <a:pt x="1210" y="1122"/>
                  <a:pt x="1208" y="1117"/>
                </a:cubicBezTo>
                <a:cubicBezTo>
                  <a:pt x="1206" y="1113"/>
                  <a:pt x="1204" y="1109"/>
                  <a:pt x="1198" y="1108"/>
                </a:cubicBezTo>
                <a:cubicBezTo>
                  <a:pt x="1197" y="1108"/>
                  <a:pt x="1195" y="1108"/>
                  <a:pt x="1194" y="1108"/>
                </a:cubicBezTo>
                <a:cubicBezTo>
                  <a:pt x="1185" y="1108"/>
                  <a:pt x="1175" y="1111"/>
                  <a:pt x="1167" y="1111"/>
                </a:cubicBezTo>
                <a:cubicBezTo>
                  <a:pt x="1166" y="1111"/>
                  <a:pt x="1165" y="1111"/>
                  <a:pt x="1164" y="1111"/>
                </a:cubicBezTo>
                <a:cubicBezTo>
                  <a:pt x="1164" y="1110"/>
                  <a:pt x="1163" y="1110"/>
                  <a:pt x="1162" y="1110"/>
                </a:cubicBezTo>
                <a:cubicBezTo>
                  <a:pt x="1150" y="1111"/>
                  <a:pt x="1142" y="1121"/>
                  <a:pt x="1142" y="1133"/>
                </a:cubicBezTo>
                <a:cubicBezTo>
                  <a:pt x="1142" y="1135"/>
                  <a:pt x="1142" y="1138"/>
                  <a:pt x="1143" y="1140"/>
                </a:cubicBezTo>
                <a:cubicBezTo>
                  <a:pt x="1143" y="1142"/>
                  <a:pt x="1143" y="1143"/>
                  <a:pt x="1143" y="1144"/>
                </a:cubicBezTo>
                <a:cubicBezTo>
                  <a:pt x="1143" y="1147"/>
                  <a:pt x="1142" y="1149"/>
                  <a:pt x="1141" y="1151"/>
                </a:cubicBezTo>
                <a:cubicBezTo>
                  <a:pt x="1141" y="1151"/>
                  <a:pt x="1141" y="1151"/>
                  <a:pt x="1140" y="1152"/>
                </a:cubicBezTo>
                <a:cubicBezTo>
                  <a:pt x="1139" y="1150"/>
                  <a:pt x="1136" y="1148"/>
                  <a:pt x="1131" y="1148"/>
                </a:cubicBezTo>
                <a:cubicBezTo>
                  <a:pt x="1126" y="1148"/>
                  <a:pt x="1121" y="1151"/>
                  <a:pt x="1115" y="1156"/>
                </a:cubicBezTo>
                <a:cubicBezTo>
                  <a:pt x="1110" y="1160"/>
                  <a:pt x="1108" y="1161"/>
                  <a:pt x="1106" y="1161"/>
                </a:cubicBezTo>
                <a:cubicBezTo>
                  <a:pt x="1105" y="1161"/>
                  <a:pt x="1101" y="1159"/>
                  <a:pt x="1093" y="1151"/>
                </a:cubicBezTo>
                <a:cubicBezTo>
                  <a:pt x="1080" y="1138"/>
                  <a:pt x="1068" y="1127"/>
                  <a:pt x="1066" y="1110"/>
                </a:cubicBezTo>
                <a:cubicBezTo>
                  <a:pt x="1065" y="1101"/>
                  <a:pt x="1064" y="1091"/>
                  <a:pt x="1064" y="1083"/>
                </a:cubicBezTo>
                <a:cubicBezTo>
                  <a:pt x="1064" y="1075"/>
                  <a:pt x="1065" y="1068"/>
                  <a:pt x="1067" y="1064"/>
                </a:cubicBezTo>
                <a:cubicBezTo>
                  <a:pt x="1069" y="1058"/>
                  <a:pt x="1071" y="1051"/>
                  <a:pt x="1071" y="1044"/>
                </a:cubicBezTo>
                <a:cubicBezTo>
                  <a:pt x="1071" y="1040"/>
                  <a:pt x="1070" y="1036"/>
                  <a:pt x="1069" y="1032"/>
                </a:cubicBezTo>
                <a:cubicBezTo>
                  <a:pt x="1068" y="1029"/>
                  <a:pt x="1067" y="1027"/>
                  <a:pt x="1064" y="1025"/>
                </a:cubicBezTo>
                <a:cubicBezTo>
                  <a:pt x="1064" y="1025"/>
                  <a:pt x="1064" y="1024"/>
                  <a:pt x="1064" y="1024"/>
                </a:cubicBezTo>
                <a:cubicBezTo>
                  <a:pt x="1067" y="1021"/>
                  <a:pt x="1074" y="1016"/>
                  <a:pt x="1077" y="1015"/>
                </a:cubicBezTo>
                <a:cubicBezTo>
                  <a:pt x="1088" y="1010"/>
                  <a:pt x="1099" y="999"/>
                  <a:pt x="1104" y="991"/>
                </a:cubicBezTo>
                <a:cubicBezTo>
                  <a:pt x="1104" y="991"/>
                  <a:pt x="1108" y="990"/>
                  <a:pt x="1113" y="990"/>
                </a:cubicBezTo>
                <a:cubicBezTo>
                  <a:pt x="1116" y="990"/>
                  <a:pt x="1120" y="990"/>
                  <a:pt x="1125" y="990"/>
                </a:cubicBezTo>
                <a:cubicBezTo>
                  <a:pt x="1138" y="991"/>
                  <a:pt x="1136" y="990"/>
                  <a:pt x="1149" y="998"/>
                </a:cubicBezTo>
                <a:cubicBezTo>
                  <a:pt x="1153" y="1000"/>
                  <a:pt x="1156" y="1001"/>
                  <a:pt x="1160" y="1001"/>
                </a:cubicBezTo>
                <a:cubicBezTo>
                  <a:pt x="1166" y="1001"/>
                  <a:pt x="1170" y="997"/>
                  <a:pt x="1171" y="993"/>
                </a:cubicBezTo>
                <a:cubicBezTo>
                  <a:pt x="1173" y="990"/>
                  <a:pt x="1173" y="987"/>
                  <a:pt x="1173" y="984"/>
                </a:cubicBezTo>
                <a:cubicBezTo>
                  <a:pt x="1173" y="984"/>
                  <a:pt x="1174" y="979"/>
                  <a:pt x="1183" y="979"/>
                </a:cubicBezTo>
                <a:cubicBezTo>
                  <a:pt x="1183" y="979"/>
                  <a:pt x="1184" y="979"/>
                  <a:pt x="1185" y="979"/>
                </a:cubicBezTo>
                <a:cubicBezTo>
                  <a:pt x="1186" y="979"/>
                  <a:pt x="1188" y="979"/>
                  <a:pt x="1189" y="979"/>
                </a:cubicBezTo>
                <a:cubicBezTo>
                  <a:pt x="1200" y="979"/>
                  <a:pt x="1212" y="976"/>
                  <a:pt x="1217" y="977"/>
                </a:cubicBezTo>
                <a:cubicBezTo>
                  <a:pt x="1218" y="977"/>
                  <a:pt x="1218" y="977"/>
                  <a:pt x="1218" y="977"/>
                </a:cubicBezTo>
                <a:cubicBezTo>
                  <a:pt x="1219" y="978"/>
                  <a:pt x="1221" y="982"/>
                  <a:pt x="1223" y="985"/>
                </a:cubicBezTo>
                <a:cubicBezTo>
                  <a:pt x="1226" y="988"/>
                  <a:pt x="1229" y="993"/>
                  <a:pt x="1237" y="994"/>
                </a:cubicBezTo>
                <a:cubicBezTo>
                  <a:pt x="1239" y="994"/>
                  <a:pt x="1242" y="993"/>
                  <a:pt x="1243" y="992"/>
                </a:cubicBezTo>
                <a:cubicBezTo>
                  <a:pt x="1244" y="991"/>
                  <a:pt x="1245" y="991"/>
                  <a:pt x="1245" y="990"/>
                </a:cubicBezTo>
                <a:cubicBezTo>
                  <a:pt x="1246" y="998"/>
                  <a:pt x="1248" y="1009"/>
                  <a:pt x="1252" y="1018"/>
                </a:cubicBezTo>
                <a:cubicBezTo>
                  <a:pt x="1255" y="1027"/>
                  <a:pt x="1259" y="1036"/>
                  <a:pt x="1267" y="1040"/>
                </a:cubicBezTo>
                <a:cubicBezTo>
                  <a:pt x="1269" y="1040"/>
                  <a:pt x="1270" y="1042"/>
                  <a:pt x="1271" y="1047"/>
                </a:cubicBezTo>
                <a:cubicBezTo>
                  <a:pt x="1272" y="1050"/>
                  <a:pt x="1272" y="1053"/>
                  <a:pt x="1274" y="1056"/>
                </a:cubicBezTo>
                <a:cubicBezTo>
                  <a:pt x="1276" y="1059"/>
                  <a:pt x="1279" y="1062"/>
                  <a:pt x="1284" y="1062"/>
                </a:cubicBezTo>
                <a:cubicBezTo>
                  <a:pt x="1284" y="1062"/>
                  <a:pt x="1285" y="1062"/>
                  <a:pt x="1285" y="1062"/>
                </a:cubicBezTo>
                <a:cubicBezTo>
                  <a:pt x="1289" y="1062"/>
                  <a:pt x="1293" y="1060"/>
                  <a:pt x="1295" y="1057"/>
                </a:cubicBezTo>
                <a:cubicBezTo>
                  <a:pt x="1301" y="1050"/>
                  <a:pt x="1303" y="1038"/>
                  <a:pt x="1303" y="1029"/>
                </a:cubicBezTo>
                <a:cubicBezTo>
                  <a:pt x="1303" y="1025"/>
                  <a:pt x="1303" y="1021"/>
                  <a:pt x="1302" y="1018"/>
                </a:cubicBezTo>
                <a:cubicBezTo>
                  <a:pt x="1300" y="1014"/>
                  <a:pt x="1298" y="1004"/>
                  <a:pt x="1295" y="994"/>
                </a:cubicBezTo>
                <a:cubicBezTo>
                  <a:pt x="1292" y="985"/>
                  <a:pt x="1289" y="976"/>
                  <a:pt x="1285" y="971"/>
                </a:cubicBezTo>
                <a:cubicBezTo>
                  <a:pt x="1283" y="969"/>
                  <a:pt x="1282" y="966"/>
                  <a:pt x="1282" y="962"/>
                </a:cubicBezTo>
                <a:cubicBezTo>
                  <a:pt x="1282" y="956"/>
                  <a:pt x="1284" y="951"/>
                  <a:pt x="1288" y="950"/>
                </a:cubicBezTo>
                <a:cubicBezTo>
                  <a:pt x="1296" y="946"/>
                  <a:pt x="1305" y="938"/>
                  <a:pt x="1315" y="929"/>
                </a:cubicBezTo>
                <a:cubicBezTo>
                  <a:pt x="1324" y="920"/>
                  <a:pt x="1333" y="911"/>
                  <a:pt x="1337" y="907"/>
                </a:cubicBezTo>
                <a:cubicBezTo>
                  <a:pt x="1340" y="905"/>
                  <a:pt x="1345" y="901"/>
                  <a:pt x="1351" y="898"/>
                </a:cubicBezTo>
                <a:cubicBezTo>
                  <a:pt x="1356" y="894"/>
                  <a:pt x="1363" y="890"/>
                  <a:pt x="1363" y="881"/>
                </a:cubicBezTo>
                <a:cubicBezTo>
                  <a:pt x="1363" y="878"/>
                  <a:pt x="1362" y="876"/>
                  <a:pt x="1361" y="873"/>
                </a:cubicBezTo>
                <a:cubicBezTo>
                  <a:pt x="1356" y="865"/>
                  <a:pt x="1354" y="860"/>
                  <a:pt x="1353" y="855"/>
                </a:cubicBezTo>
                <a:cubicBezTo>
                  <a:pt x="1355" y="857"/>
                  <a:pt x="1357" y="858"/>
                  <a:pt x="1359" y="858"/>
                </a:cubicBezTo>
                <a:cubicBezTo>
                  <a:pt x="1365" y="857"/>
                  <a:pt x="1368" y="854"/>
                  <a:pt x="1371" y="851"/>
                </a:cubicBezTo>
                <a:cubicBezTo>
                  <a:pt x="1375" y="847"/>
                  <a:pt x="1377" y="843"/>
                  <a:pt x="1377" y="838"/>
                </a:cubicBezTo>
                <a:cubicBezTo>
                  <a:pt x="1377" y="836"/>
                  <a:pt x="1377" y="834"/>
                  <a:pt x="1376" y="833"/>
                </a:cubicBezTo>
                <a:cubicBezTo>
                  <a:pt x="1375" y="831"/>
                  <a:pt x="1375" y="829"/>
                  <a:pt x="1375" y="828"/>
                </a:cubicBezTo>
                <a:cubicBezTo>
                  <a:pt x="1375" y="827"/>
                  <a:pt x="1375" y="826"/>
                  <a:pt x="1375" y="826"/>
                </a:cubicBezTo>
                <a:cubicBezTo>
                  <a:pt x="1375" y="826"/>
                  <a:pt x="1375" y="826"/>
                  <a:pt x="1376" y="826"/>
                </a:cubicBezTo>
                <a:cubicBezTo>
                  <a:pt x="1376" y="826"/>
                  <a:pt x="1377" y="826"/>
                  <a:pt x="1378" y="826"/>
                </a:cubicBezTo>
                <a:cubicBezTo>
                  <a:pt x="1382" y="826"/>
                  <a:pt x="1386" y="825"/>
                  <a:pt x="1388" y="822"/>
                </a:cubicBezTo>
                <a:cubicBezTo>
                  <a:pt x="1390" y="819"/>
                  <a:pt x="1391" y="816"/>
                  <a:pt x="1391" y="813"/>
                </a:cubicBezTo>
                <a:cubicBezTo>
                  <a:pt x="1391" y="811"/>
                  <a:pt x="1390" y="808"/>
                  <a:pt x="1389" y="806"/>
                </a:cubicBezTo>
                <a:cubicBezTo>
                  <a:pt x="1390" y="805"/>
                  <a:pt x="1393" y="803"/>
                  <a:pt x="1396" y="804"/>
                </a:cubicBezTo>
                <a:cubicBezTo>
                  <a:pt x="1396" y="804"/>
                  <a:pt x="1397" y="804"/>
                  <a:pt x="1398" y="804"/>
                </a:cubicBezTo>
                <a:cubicBezTo>
                  <a:pt x="1400" y="805"/>
                  <a:pt x="1403" y="805"/>
                  <a:pt x="1406" y="805"/>
                </a:cubicBezTo>
                <a:cubicBezTo>
                  <a:pt x="1412" y="805"/>
                  <a:pt x="1418" y="804"/>
                  <a:pt x="1423" y="803"/>
                </a:cubicBezTo>
                <a:cubicBezTo>
                  <a:pt x="1429" y="801"/>
                  <a:pt x="1433" y="799"/>
                  <a:pt x="1437" y="794"/>
                </a:cubicBezTo>
                <a:cubicBezTo>
                  <a:pt x="1438" y="793"/>
                  <a:pt x="1439" y="791"/>
                  <a:pt x="1439" y="789"/>
                </a:cubicBezTo>
                <a:cubicBezTo>
                  <a:pt x="1438" y="783"/>
                  <a:pt x="1435" y="781"/>
                  <a:pt x="1434" y="778"/>
                </a:cubicBezTo>
                <a:cubicBezTo>
                  <a:pt x="1432" y="775"/>
                  <a:pt x="1431" y="772"/>
                  <a:pt x="1431" y="769"/>
                </a:cubicBezTo>
                <a:cubicBezTo>
                  <a:pt x="1431" y="766"/>
                  <a:pt x="1433" y="762"/>
                  <a:pt x="1437" y="759"/>
                </a:cubicBezTo>
                <a:cubicBezTo>
                  <a:pt x="1440" y="756"/>
                  <a:pt x="1445" y="753"/>
                  <a:pt x="1448" y="753"/>
                </a:cubicBezTo>
                <a:cubicBezTo>
                  <a:pt x="1451" y="753"/>
                  <a:pt x="1456" y="752"/>
                  <a:pt x="1460" y="752"/>
                </a:cubicBezTo>
                <a:cubicBezTo>
                  <a:pt x="1462" y="752"/>
                  <a:pt x="1464" y="752"/>
                  <a:pt x="1466" y="751"/>
                </a:cubicBezTo>
                <a:cubicBezTo>
                  <a:pt x="1468" y="750"/>
                  <a:pt x="1471" y="748"/>
                  <a:pt x="1472" y="745"/>
                </a:cubicBezTo>
                <a:cubicBezTo>
                  <a:pt x="1472" y="745"/>
                  <a:pt x="1472" y="745"/>
                  <a:pt x="1472" y="745"/>
                </a:cubicBezTo>
                <a:cubicBezTo>
                  <a:pt x="1472" y="744"/>
                  <a:pt x="1473" y="743"/>
                  <a:pt x="1474" y="742"/>
                </a:cubicBezTo>
                <a:cubicBezTo>
                  <a:pt x="1475" y="746"/>
                  <a:pt x="1475" y="751"/>
                  <a:pt x="1476" y="755"/>
                </a:cubicBezTo>
                <a:cubicBezTo>
                  <a:pt x="1476" y="758"/>
                  <a:pt x="1477" y="762"/>
                  <a:pt x="1479" y="764"/>
                </a:cubicBezTo>
                <a:cubicBezTo>
                  <a:pt x="1481" y="767"/>
                  <a:pt x="1485" y="770"/>
                  <a:pt x="1489" y="770"/>
                </a:cubicBezTo>
                <a:cubicBezTo>
                  <a:pt x="1497" y="770"/>
                  <a:pt x="1502" y="766"/>
                  <a:pt x="1507" y="762"/>
                </a:cubicBezTo>
                <a:cubicBezTo>
                  <a:pt x="1510" y="760"/>
                  <a:pt x="1512" y="759"/>
                  <a:pt x="1513" y="757"/>
                </a:cubicBezTo>
                <a:cubicBezTo>
                  <a:pt x="1514" y="757"/>
                  <a:pt x="1515" y="756"/>
                  <a:pt x="1515" y="756"/>
                </a:cubicBezTo>
                <a:cubicBezTo>
                  <a:pt x="1516" y="756"/>
                  <a:pt x="1516" y="756"/>
                  <a:pt x="1516" y="756"/>
                </a:cubicBezTo>
                <a:cubicBezTo>
                  <a:pt x="1516" y="755"/>
                  <a:pt x="1516" y="755"/>
                  <a:pt x="1516" y="755"/>
                </a:cubicBezTo>
                <a:cubicBezTo>
                  <a:pt x="1520" y="754"/>
                  <a:pt x="1541" y="749"/>
                  <a:pt x="1545" y="747"/>
                </a:cubicBezTo>
                <a:cubicBezTo>
                  <a:pt x="1546" y="747"/>
                  <a:pt x="1554" y="746"/>
                  <a:pt x="1561" y="744"/>
                </a:cubicBezTo>
                <a:cubicBezTo>
                  <a:pt x="1565" y="743"/>
                  <a:pt x="1568" y="742"/>
                  <a:pt x="1572" y="740"/>
                </a:cubicBezTo>
                <a:cubicBezTo>
                  <a:pt x="1575" y="738"/>
                  <a:pt x="1578" y="735"/>
                  <a:pt x="1579" y="729"/>
                </a:cubicBezTo>
                <a:cubicBezTo>
                  <a:pt x="1579" y="728"/>
                  <a:pt x="1578" y="727"/>
                  <a:pt x="1578" y="726"/>
                </a:cubicBezTo>
                <a:cubicBezTo>
                  <a:pt x="1574" y="716"/>
                  <a:pt x="1571" y="706"/>
                  <a:pt x="1566" y="701"/>
                </a:cubicBezTo>
                <a:cubicBezTo>
                  <a:pt x="1565" y="699"/>
                  <a:pt x="1562" y="697"/>
                  <a:pt x="1559" y="697"/>
                </a:cubicBezTo>
                <a:cubicBezTo>
                  <a:pt x="1554" y="697"/>
                  <a:pt x="1552" y="700"/>
                  <a:pt x="1551" y="702"/>
                </a:cubicBezTo>
                <a:cubicBezTo>
                  <a:pt x="1549" y="704"/>
                  <a:pt x="1547" y="707"/>
                  <a:pt x="1545" y="709"/>
                </a:cubicBezTo>
                <a:cubicBezTo>
                  <a:pt x="1544" y="712"/>
                  <a:pt x="1542" y="712"/>
                  <a:pt x="1542" y="712"/>
                </a:cubicBezTo>
                <a:cubicBezTo>
                  <a:pt x="1541" y="712"/>
                  <a:pt x="1541" y="712"/>
                  <a:pt x="1541" y="712"/>
                </a:cubicBezTo>
                <a:cubicBezTo>
                  <a:pt x="1541" y="712"/>
                  <a:pt x="1540" y="707"/>
                  <a:pt x="1540" y="703"/>
                </a:cubicBezTo>
                <a:cubicBezTo>
                  <a:pt x="1540" y="701"/>
                  <a:pt x="1540" y="699"/>
                  <a:pt x="1539" y="697"/>
                </a:cubicBezTo>
                <a:cubicBezTo>
                  <a:pt x="1539" y="694"/>
                  <a:pt x="1536" y="690"/>
                  <a:pt x="1531" y="690"/>
                </a:cubicBezTo>
                <a:cubicBezTo>
                  <a:pt x="1529" y="690"/>
                  <a:pt x="1527" y="691"/>
                  <a:pt x="1525" y="693"/>
                </a:cubicBezTo>
                <a:cubicBezTo>
                  <a:pt x="1521" y="695"/>
                  <a:pt x="1519" y="698"/>
                  <a:pt x="1517" y="699"/>
                </a:cubicBezTo>
                <a:cubicBezTo>
                  <a:pt x="1517" y="699"/>
                  <a:pt x="1517" y="700"/>
                  <a:pt x="1517" y="700"/>
                </a:cubicBezTo>
                <a:cubicBezTo>
                  <a:pt x="1516" y="699"/>
                  <a:pt x="1514" y="697"/>
                  <a:pt x="1513" y="695"/>
                </a:cubicBezTo>
                <a:cubicBezTo>
                  <a:pt x="1513" y="695"/>
                  <a:pt x="1513" y="695"/>
                  <a:pt x="1513" y="695"/>
                </a:cubicBezTo>
                <a:cubicBezTo>
                  <a:pt x="1515" y="692"/>
                  <a:pt x="1518" y="688"/>
                  <a:pt x="1518" y="683"/>
                </a:cubicBezTo>
                <a:cubicBezTo>
                  <a:pt x="1518" y="679"/>
                  <a:pt x="1517" y="675"/>
                  <a:pt x="1514" y="671"/>
                </a:cubicBezTo>
                <a:cubicBezTo>
                  <a:pt x="1509" y="663"/>
                  <a:pt x="1502" y="659"/>
                  <a:pt x="1495" y="659"/>
                </a:cubicBezTo>
                <a:cubicBezTo>
                  <a:pt x="1487" y="659"/>
                  <a:pt x="1481" y="662"/>
                  <a:pt x="1475" y="666"/>
                </a:cubicBezTo>
                <a:cubicBezTo>
                  <a:pt x="1468" y="670"/>
                  <a:pt x="1466" y="671"/>
                  <a:pt x="1463" y="672"/>
                </a:cubicBezTo>
                <a:cubicBezTo>
                  <a:pt x="1463" y="672"/>
                  <a:pt x="1464" y="672"/>
                  <a:pt x="1464" y="671"/>
                </a:cubicBezTo>
                <a:cubicBezTo>
                  <a:pt x="1471" y="664"/>
                  <a:pt x="1481" y="660"/>
                  <a:pt x="1489" y="650"/>
                </a:cubicBezTo>
                <a:cubicBezTo>
                  <a:pt x="1490" y="650"/>
                  <a:pt x="1490" y="650"/>
                  <a:pt x="1492" y="650"/>
                </a:cubicBezTo>
                <a:cubicBezTo>
                  <a:pt x="1494" y="650"/>
                  <a:pt x="1498" y="651"/>
                  <a:pt x="1501" y="653"/>
                </a:cubicBezTo>
                <a:cubicBezTo>
                  <a:pt x="1504" y="654"/>
                  <a:pt x="1507" y="656"/>
                  <a:pt x="1507" y="656"/>
                </a:cubicBezTo>
                <a:cubicBezTo>
                  <a:pt x="1509" y="657"/>
                  <a:pt x="1511" y="657"/>
                  <a:pt x="1513" y="656"/>
                </a:cubicBezTo>
                <a:cubicBezTo>
                  <a:pt x="1513" y="657"/>
                  <a:pt x="1513" y="657"/>
                  <a:pt x="1513" y="658"/>
                </a:cubicBezTo>
                <a:cubicBezTo>
                  <a:pt x="1513" y="662"/>
                  <a:pt x="1513" y="665"/>
                  <a:pt x="1514" y="669"/>
                </a:cubicBezTo>
                <a:cubicBezTo>
                  <a:pt x="1515" y="672"/>
                  <a:pt x="1518" y="677"/>
                  <a:pt x="1524" y="677"/>
                </a:cubicBezTo>
                <a:cubicBezTo>
                  <a:pt x="1529" y="677"/>
                  <a:pt x="1534" y="675"/>
                  <a:pt x="1539" y="672"/>
                </a:cubicBezTo>
                <a:cubicBezTo>
                  <a:pt x="1542" y="671"/>
                  <a:pt x="1544" y="669"/>
                  <a:pt x="1546" y="668"/>
                </a:cubicBezTo>
                <a:cubicBezTo>
                  <a:pt x="1547" y="666"/>
                  <a:pt x="1549" y="665"/>
                  <a:pt x="1550" y="661"/>
                </a:cubicBezTo>
                <a:cubicBezTo>
                  <a:pt x="1550" y="661"/>
                  <a:pt x="1551" y="661"/>
                  <a:pt x="1551" y="661"/>
                </a:cubicBezTo>
                <a:cubicBezTo>
                  <a:pt x="1556" y="660"/>
                  <a:pt x="1561" y="659"/>
                  <a:pt x="1566" y="655"/>
                </a:cubicBezTo>
                <a:cubicBezTo>
                  <a:pt x="1572" y="650"/>
                  <a:pt x="1579" y="650"/>
                  <a:pt x="1587" y="646"/>
                </a:cubicBezTo>
                <a:cubicBezTo>
                  <a:pt x="1592" y="643"/>
                  <a:pt x="1593" y="639"/>
                  <a:pt x="1595" y="636"/>
                </a:cubicBezTo>
                <a:cubicBezTo>
                  <a:pt x="1598" y="633"/>
                  <a:pt x="1599" y="632"/>
                  <a:pt x="1600" y="632"/>
                </a:cubicBezTo>
                <a:cubicBezTo>
                  <a:pt x="1600" y="632"/>
                  <a:pt x="1601" y="632"/>
                  <a:pt x="1601" y="634"/>
                </a:cubicBezTo>
                <a:cubicBezTo>
                  <a:pt x="1601" y="636"/>
                  <a:pt x="1600" y="639"/>
                  <a:pt x="1596" y="642"/>
                </a:cubicBezTo>
                <a:cubicBezTo>
                  <a:pt x="1589" y="647"/>
                  <a:pt x="1585" y="656"/>
                  <a:pt x="1583" y="663"/>
                </a:cubicBezTo>
                <a:cubicBezTo>
                  <a:pt x="1580" y="670"/>
                  <a:pt x="1578" y="676"/>
                  <a:pt x="1577" y="677"/>
                </a:cubicBezTo>
                <a:cubicBezTo>
                  <a:pt x="1574" y="679"/>
                  <a:pt x="1573" y="683"/>
                  <a:pt x="1573" y="687"/>
                </a:cubicBezTo>
                <a:cubicBezTo>
                  <a:pt x="1572" y="690"/>
                  <a:pt x="1574" y="693"/>
                  <a:pt x="1577" y="695"/>
                </a:cubicBezTo>
                <a:cubicBezTo>
                  <a:pt x="1579" y="697"/>
                  <a:pt x="1583" y="698"/>
                  <a:pt x="1586" y="698"/>
                </a:cubicBezTo>
                <a:cubicBezTo>
                  <a:pt x="1587" y="698"/>
                  <a:pt x="1588" y="698"/>
                  <a:pt x="1589" y="698"/>
                </a:cubicBezTo>
                <a:cubicBezTo>
                  <a:pt x="1591" y="698"/>
                  <a:pt x="1593" y="698"/>
                  <a:pt x="1594" y="698"/>
                </a:cubicBezTo>
                <a:cubicBezTo>
                  <a:pt x="1598" y="698"/>
                  <a:pt x="1601" y="698"/>
                  <a:pt x="1605" y="698"/>
                </a:cubicBezTo>
                <a:cubicBezTo>
                  <a:pt x="1608" y="698"/>
                  <a:pt x="1612" y="698"/>
                  <a:pt x="1616" y="696"/>
                </a:cubicBezTo>
                <a:cubicBezTo>
                  <a:pt x="1617" y="696"/>
                  <a:pt x="1617" y="696"/>
                  <a:pt x="1618" y="696"/>
                </a:cubicBezTo>
                <a:cubicBezTo>
                  <a:pt x="1620" y="696"/>
                  <a:pt x="1622" y="698"/>
                  <a:pt x="1623" y="700"/>
                </a:cubicBezTo>
                <a:cubicBezTo>
                  <a:pt x="1624" y="703"/>
                  <a:pt x="1628" y="705"/>
                  <a:pt x="1630" y="705"/>
                </a:cubicBezTo>
                <a:cubicBezTo>
                  <a:pt x="1635" y="704"/>
                  <a:pt x="1637" y="702"/>
                  <a:pt x="1639" y="701"/>
                </a:cubicBezTo>
                <a:cubicBezTo>
                  <a:pt x="1640" y="700"/>
                  <a:pt x="1641" y="699"/>
                  <a:pt x="1641" y="699"/>
                </a:cubicBezTo>
                <a:cubicBezTo>
                  <a:pt x="1641" y="699"/>
                  <a:pt x="1641" y="699"/>
                  <a:pt x="1642" y="699"/>
                </a:cubicBezTo>
                <a:cubicBezTo>
                  <a:pt x="1643" y="698"/>
                  <a:pt x="1645" y="698"/>
                  <a:pt x="1647" y="698"/>
                </a:cubicBezTo>
                <a:cubicBezTo>
                  <a:pt x="1650" y="698"/>
                  <a:pt x="1652" y="699"/>
                  <a:pt x="1652" y="699"/>
                </a:cubicBezTo>
                <a:cubicBezTo>
                  <a:pt x="1654" y="702"/>
                  <a:pt x="1656" y="704"/>
                  <a:pt x="1660" y="704"/>
                </a:cubicBezTo>
                <a:cubicBezTo>
                  <a:pt x="1665" y="704"/>
                  <a:pt x="1667" y="701"/>
                  <a:pt x="1668" y="699"/>
                </a:cubicBezTo>
                <a:cubicBezTo>
                  <a:pt x="1669" y="696"/>
                  <a:pt x="1669" y="694"/>
                  <a:pt x="1669" y="691"/>
                </a:cubicBezTo>
                <a:cubicBezTo>
                  <a:pt x="1669" y="689"/>
                  <a:pt x="1669" y="685"/>
                  <a:pt x="1667" y="682"/>
                </a:cubicBezTo>
                <a:cubicBezTo>
                  <a:pt x="1664" y="675"/>
                  <a:pt x="1659" y="668"/>
                  <a:pt x="1656" y="661"/>
                </a:cubicBezTo>
                <a:cubicBezTo>
                  <a:pt x="1653" y="654"/>
                  <a:pt x="1647" y="647"/>
                  <a:pt x="1639" y="648"/>
                </a:cubicBezTo>
                <a:cubicBezTo>
                  <a:pt x="1637" y="648"/>
                  <a:pt x="1634" y="648"/>
                  <a:pt x="1631" y="649"/>
                </a:cubicBezTo>
                <a:cubicBezTo>
                  <a:pt x="1630" y="649"/>
                  <a:pt x="1629" y="649"/>
                  <a:pt x="1629" y="649"/>
                </a:cubicBezTo>
                <a:cubicBezTo>
                  <a:pt x="1627" y="649"/>
                  <a:pt x="1627" y="649"/>
                  <a:pt x="1626" y="648"/>
                </a:cubicBezTo>
                <a:cubicBezTo>
                  <a:pt x="1624" y="647"/>
                  <a:pt x="1622" y="645"/>
                  <a:pt x="1619" y="643"/>
                </a:cubicBezTo>
                <a:cubicBezTo>
                  <a:pt x="1619" y="643"/>
                  <a:pt x="1618" y="642"/>
                  <a:pt x="1618" y="642"/>
                </a:cubicBezTo>
                <a:cubicBezTo>
                  <a:pt x="1621" y="636"/>
                  <a:pt x="1623" y="633"/>
                  <a:pt x="1626" y="625"/>
                </a:cubicBezTo>
                <a:cubicBezTo>
                  <a:pt x="1627" y="624"/>
                  <a:pt x="1629" y="620"/>
                  <a:pt x="1632" y="616"/>
                </a:cubicBezTo>
                <a:cubicBezTo>
                  <a:pt x="1634" y="612"/>
                  <a:pt x="1636" y="608"/>
                  <a:pt x="1637" y="602"/>
                </a:cubicBezTo>
                <a:cubicBezTo>
                  <a:pt x="1637" y="597"/>
                  <a:pt x="1632" y="591"/>
                  <a:pt x="1626" y="590"/>
                </a:cubicBezTo>
                <a:cubicBezTo>
                  <a:pt x="1618" y="588"/>
                  <a:pt x="1614" y="586"/>
                  <a:pt x="1612" y="584"/>
                </a:cubicBezTo>
                <a:cubicBezTo>
                  <a:pt x="1610" y="583"/>
                  <a:pt x="1609" y="582"/>
                  <a:pt x="1608" y="579"/>
                </a:cubicBezTo>
                <a:cubicBezTo>
                  <a:pt x="1606" y="572"/>
                  <a:pt x="1601" y="566"/>
                  <a:pt x="1595" y="561"/>
                </a:cubicBezTo>
                <a:cubicBezTo>
                  <a:pt x="1592" y="558"/>
                  <a:pt x="1589" y="556"/>
                  <a:pt x="1587" y="554"/>
                </a:cubicBezTo>
                <a:cubicBezTo>
                  <a:pt x="1584" y="553"/>
                  <a:pt x="1582" y="551"/>
                  <a:pt x="1578" y="551"/>
                </a:cubicBezTo>
                <a:cubicBezTo>
                  <a:pt x="1576" y="551"/>
                  <a:pt x="1571" y="551"/>
                  <a:pt x="1567" y="550"/>
                </a:cubicBezTo>
                <a:cubicBezTo>
                  <a:pt x="1565" y="550"/>
                  <a:pt x="1563" y="549"/>
                  <a:pt x="1562" y="549"/>
                </a:cubicBezTo>
                <a:cubicBezTo>
                  <a:pt x="1562" y="549"/>
                  <a:pt x="1562" y="549"/>
                  <a:pt x="1562" y="548"/>
                </a:cubicBezTo>
                <a:cubicBezTo>
                  <a:pt x="1559" y="538"/>
                  <a:pt x="1548" y="525"/>
                  <a:pt x="1542" y="517"/>
                </a:cubicBezTo>
                <a:cubicBezTo>
                  <a:pt x="1540" y="514"/>
                  <a:pt x="1533" y="505"/>
                  <a:pt x="1526" y="496"/>
                </a:cubicBezTo>
                <a:cubicBezTo>
                  <a:pt x="1523" y="491"/>
                  <a:pt x="1520" y="487"/>
                  <a:pt x="1517" y="484"/>
                </a:cubicBezTo>
                <a:cubicBezTo>
                  <a:pt x="1514" y="480"/>
                  <a:pt x="1512" y="478"/>
                  <a:pt x="1510" y="476"/>
                </a:cubicBezTo>
                <a:cubicBezTo>
                  <a:pt x="1509" y="475"/>
                  <a:pt x="1506" y="474"/>
                  <a:pt x="1504" y="474"/>
                </a:cubicBezTo>
                <a:cubicBezTo>
                  <a:pt x="1495" y="475"/>
                  <a:pt x="1491" y="481"/>
                  <a:pt x="1483" y="493"/>
                </a:cubicBezTo>
                <a:cubicBezTo>
                  <a:pt x="1476" y="505"/>
                  <a:pt x="1470" y="507"/>
                  <a:pt x="1467" y="507"/>
                </a:cubicBezTo>
                <a:cubicBezTo>
                  <a:pt x="1466" y="507"/>
                  <a:pt x="1465" y="507"/>
                  <a:pt x="1463" y="506"/>
                </a:cubicBezTo>
                <a:cubicBezTo>
                  <a:pt x="1459" y="504"/>
                  <a:pt x="1457" y="503"/>
                  <a:pt x="1455" y="502"/>
                </a:cubicBezTo>
                <a:cubicBezTo>
                  <a:pt x="1454" y="501"/>
                  <a:pt x="1452" y="499"/>
                  <a:pt x="1448" y="494"/>
                </a:cubicBezTo>
                <a:cubicBezTo>
                  <a:pt x="1447" y="493"/>
                  <a:pt x="1447" y="492"/>
                  <a:pt x="1447" y="492"/>
                </a:cubicBezTo>
                <a:cubicBezTo>
                  <a:pt x="1447" y="492"/>
                  <a:pt x="1448" y="491"/>
                  <a:pt x="1450" y="489"/>
                </a:cubicBezTo>
                <a:cubicBezTo>
                  <a:pt x="1451" y="488"/>
                  <a:pt x="1454" y="486"/>
                  <a:pt x="1454" y="480"/>
                </a:cubicBezTo>
                <a:cubicBezTo>
                  <a:pt x="1454" y="479"/>
                  <a:pt x="1454" y="477"/>
                  <a:pt x="1453" y="476"/>
                </a:cubicBezTo>
                <a:cubicBezTo>
                  <a:pt x="1449" y="469"/>
                  <a:pt x="1443" y="467"/>
                  <a:pt x="1436" y="465"/>
                </a:cubicBezTo>
                <a:cubicBezTo>
                  <a:pt x="1429" y="463"/>
                  <a:pt x="1421" y="462"/>
                  <a:pt x="1415" y="461"/>
                </a:cubicBezTo>
                <a:cubicBezTo>
                  <a:pt x="1412" y="461"/>
                  <a:pt x="1408" y="458"/>
                  <a:pt x="1402" y="453"/>
                </a:cubicBezTo>
                <a:cubicBezTo>
                  <a:pt x="1396" y="449"/>
                  <a:pt x="1389" y="444"/>
                  <a:pt x="1378" y="443"/>
                </a:cubicBezTo>
                <a:cubicBezTo>
                  <a:pt x="1376" y="443"/>
                  <a:pt x="1373" y="443"/>
                  <a:pt x="1370" y="443"/>
                </a:cubicBezTo>
                <a:cubicBezTo>
                  <a:pt x="1354" y="443"/>
                  <a:pt x="1337" y="446"/>
                  <a:pt x="1334" y="446"/>
                </a:cubicBezTo>
                <a:cubicBezTo>
                  <a:pt x="1331" y="446"/>
                  <a:pt x="1327" y="448"/>
                  <a:pt x="1326" y="450"/>
                </a:cubicBezTo>
                <a:cubicBezTo>
                  <a:pt x="1321" y="457"/>
                  <a:pt x="1322" y="465"/>
                  <a:pt x="1320" y="476"/>
                </a:cubicBezTo>
                <a:cubicBezTo>
                  <a:pt x="1320" y="478"/>
                  <a:pt x="1320" y="480"/>
                  <a:pt x="1320" y="481"/>
                </a:cubicBezTo>
                <a:cubicBezTo>
                  <a:pt x="1320" y="486"/>
                  <a:pt x="1320" y="489"/>
                  <a:pt x="1321" y="492"/>
                </a:cubicBezTo>
                <a:cubicBezTo>
                  <a:pt x="1321" y="492"/>
                  <a:pt x="1322" y="493"/>
                  <a:pt x="1322" y="493"/>
                </a:cubicBezTo>
                <a:cubicBezTo>
                  <a:pt x="1319" y="494"/>
                  <a:pt x="1316" y="495"/>
                  <a:pt x="1314" y="496"/>
                </a:cubicBezTo>
                <a:cubicBezTo>
                  <a:pt x="1313" y="496"/>
                  <a:pt x="1311" y="497"/>
                  <a:pt x="1310" y="498"/>
                </a:cubicBezTo>
                <a:cubicBezTo>
                  <a:pt x="1309" y="499"/>
                  <a:pt x="1307" y="501"/>
                  <a:pt x="1307" y="504"/>
                </a:cubicBezTo>
                <a:cubicBezTo>
                  <a:pt x="1307" y="507"/>
                  <a:pt x="1309" y="509"/>
                  <a:pt x="1311" y="510"/>
                </a:cubicBezTo>
                <a:cubicBezTo>
                  <a:pt x="1312" y="512"/>
                  <a:pt x="1314" y="513"/>
                  <a:pt x="1316" y="514"/>
                </a:cubicBezTo>
                <a:cubicBezTo>
                  <a:pt x="1320" y="516"/>
                  <a:pt x="1326" y="522"/>
                  <a:pt x="1330" y="528"/>
                </a:cubicBezTo>
                <a:cubicBezTo>
                  <a:pt x="1333" y="532"/>
                  <a:pt x="1336" y="536"/>
                  <a:pt x="1337" y="538"/>
                </a:cubicBezTo>
                <a:cubicBezTo>
                  <a:pt x="1337" y="539"/>
                  <a:pt x="1337" y="540"/>
                  <a:pt x="1336" y="542"/>
                </a:cubicBezTo>
                <a:cubicBezTo>
                  <a:pt x="1335" y="545"/>
                  <a:pt x="1334" y="549"/>
                  <a:pt x="1331" y="551"/>
                </a:cubicBezTo>
                <a:cubicBezTo>
                  <a:pt x="1327" y="555"/>
                  <a:pt x="1321" y="558"/>
                  <a:pt x="1320" y="559"/>
                </a:cubicBezTo>
                <a:cubicBezTo>
                  <a:pt x="1320" y="559"/>
                  <a:pt x="1320" y="558"/>
                  <a:pt x="1320" y="558"/>
                </a:cubicBezTo>
                <a:cubicBezTo>
                  <a:pt x="1316" y="552"/>
                  <a:pt x="1311" y="549"/>
                  <a:pt x="1305" y="549"/>
                </a:cubicBezTo>
                <a:cubicBezTo>
                  <a:pt x="1303" y="549"/>
                  <a:pt x="1300" y="550"/>
                  <a:pt x="1298" y="552"/>
                </a:cubicBezTo>
                <a:cubicBezTo>
                  <a:pt x="1296" y="553"/>
                  <a:pt x="1294" y="557"/>
                  <a:pt x="1294" y="560"/>
                </a:cubicBezTo>
                <a:cubicBezTo>
                  <a:pt x="1294" y="561"/>
                  <a:pt x="1294" y="563"/>
                  <a:pt x="1295" y="565"/>
                </a:cubicBezTo>
                <a:cubicBezTo>
                  <a:pt x="1297" y="570"/>
                  <a:pt x="1300" y="573"/>
                  <a:pt x="1302" y="576"/>
                </a:cubicBezTo>
                <a:cubicBezTo>
                  <a:pt x="1304" y="579"/>
                  <a:pt x="1305" y="581"/>
                  <a:pt x="1305" y="583"/>
                </a:cubicBezTo>
                <a:cubicBezTo>
                  <a:pt x="1305" y="588"/>
                  <a:pt x="1307" y="593"/>
                  <a:pt x="1308" y="598"/>
                </a:cubicBezTo>
                <a:cubicBezTo>
                  <a:pt x="1310" y="603"/>
                  <a:pt x="1311" y="608"/>
                  <a:pt x="1311" y="612"/>
                </a:cubicBezTo>
                <a:cubicBezTo>
                  <a:pt x="1311" y="614"/>
                  <a:pt x="1310" y="615"/>
                  <a:pt x="1310" y="615"/>
                </a:cubicBezTo>
                <a:cubicBezTo>
                  <a:pt x="1308" y="616"/>
                  <a:pt x="1308" y="616"/>
                  <a:pt x="1306" y="616"/>
                </a:cubicBezTo>
                <a:cubicBezTo>
                  <a:pt x="1303" y="616"/>
                  <a:pt x="1300" y="615"/>
                  <a:pt x="1296" y="615"/>
                </a:cubicBezTo>
                <a:cubicBezTo>
                  <a:pt x="1295" y="615"/>
                  <a:pt x="1294" y="615"/>
                  <a:pt x="1293" y="616"/>
                </a:cubicBezTo>
                <a:cubicBezTo>
                  <a:pt x="1292" y="615"/>
                  <a:pt x="1291" y="613"/>
                  <a:pt x="1291" y="612"/>
                </a:cubicBezTo>
                <a:cubicBezTo>
                  <a:pt x="1295" y="609"/>
                  <a:pt x="1294" y="605"/>
                  <a:pt x="1295" y="602"/>
                </a:cubicBezTo>
                <a:cubicBezTo>
                  <a:pt x="1295" y="593"/>
                  <a:pt x="1292" y="583"/>
                  <a:pt x="1291" y="583"/>
                </a:cubicBezTo>
                <a:cubicBezTo>
                  <a:pt x="1291" y="581"/>
                  <a:pt x="1289" y="579"/>
                  <a:pt x="1286" y="578"/>
                </a:cubicBezTo>
                <a:cubicBezTo>
                  <a:pt x="1284" y="578"/>
                  <a:pt x="1282" y="579"/>
                  <a:pt x="1280" y="581"/>
                </a:cubicBezTo>
                <a:cubicBezTo>
                  <a:pt x="1280" y="581"/>
                  <a:pt x="1280" y="583"/>
                  <a:pt x="1278" y="585"/>
                </a:cubicBezTo>
                <a:cubicBezTo>
                  <a:pt x="1277" y="583"/>
                  <a:pt x="1276" y="581"/>
                  <a:pt x="1276" y="579"/>
                </a:cubicBezTo>
                <a:cubicBezTo>
                  <a:pt x="1274" y="576"/>
                  <a:pt x="1273" y="575"/>
                  <a:pt x="1273" y="572"/>
                </a:cubicBezTo>
                <a:cubicBezTo>
                  <a:pt x="1273" y="567"/>
                  <a:pt x="1272" y="562"/>
                  <a:pt x="1269" y="559"/>
                </a:cubicBezTo>
                <a:cubicBezTo>
                  <a:pt x="1265" y="556"/>
                  <a:pt x="1261" y="554"/>
                  <a:pt x="1256" y="554"/>
                </a:cubicBezTo>
                <a:cubicBezTo>
                  <a:pt x="1253" y="554"/>
                  <a:pt x="1251" y="555"/>
                  <a:pt x="1248" y="555"/>
                </a:cubicBezTo>
                <a:cubicBezTo>
                  <a:pt x="1247" y="555"/>
                  <a:pt x="1246" y="556"/>
                  <a:pt x="1245" y="556"/>
                </a:cubicBezTo>
                <a:cubicBezTo>
                  <a:pt x="1238" y="556"/>
                  <a:pt x="1226" y="550"/>
                  <a:pt x="1209" y="547"/>
                </a:cubicBezTo>
                <a:cubicBezTo>
                  <a:pt x="1189" y="543"/>
                  <a:pt x="1183" y="540"/>
                  <a:pt x="1167" y="531"/>
                </a:cubicBezTo>
                <a:cubicBezTo>
                  <a:pt x="1160" y="527"/>
                  <a:pt x="1154" y="525"/>
                  <a:pt x="1149" y="525"/>
                </a:cubicBezTo>
                <a:cubicBezTo>
                  <a:pt x="1142" y="525"/>
                  <a:pt x="1137" y="528"/>
                  <a:pt x="1134" y="529"/>
                </a:cubicBezTo>
                <a:cubicBezTo>
                  <a:pt x="1134" y="527"/>
                  <a:pt x="1133" y="523"/>
                  <a:pt x="1132" y="519"/>
                </a:cubicBezTo>
                <a:cubicBezTo>
                  <a:pt x="1130" y="515"/>
                  <a:pt x="1127" y="509"/>
                  <a:pt x="1120" y="507"/>
                </a:cubicBezTo>
                <a:cubicBezTo>
                  <a:pt x="1114" y="505"/>
                  <a:pt x="1109" y="506"/>
                  <a:pt x="1109" y="505"/>
                </a:cubicBezTo>
                <a:cubicBezTo>
                  <a:pt x="1109" y="505"/>
                  <a:pt x="1109" y="505"/>
                  <a:pt x="1108" y="504"/>
                </a:cubicBezTo>
                <a:cubicBezTo>
                  <a:pt x="1108" y="503"/>
                  <a:pt x="1107" y="501"/>
                  <a:pt x="1106" y="497"/>
                </a:cubicBezTo>
                <a:cubicBezTo>
                  <a:pt x="1106" y="495"/>
                  <a:pt x="1106" y="493"/>
                  <a:pt x="1106" y="491"/>
                </a:cubicBezTo>
                <a:cubicBezTo>
                  <a:pt x="1106" y="486"/>
                  <a:pt x="1107" y="484"/>
                  <a:pt x="1111" y="479"/>
                </a:cubicBezTo>
                <a:cubicBezTo>
                  <a:pt x="1115" y="475"/>
                  <a:pt x="1122" y="469"/>
                  <a:pt x="1133" y="461"/>
                </a:cubicBezTo>
                <a:cubicBezTo>
                  <a:pt x="1146" y="451"/>
                  <a:pt x="1152" y="444"/>
                  <a:pt x="1156" y="439"/>
                </a:cubicBezTo>
                <a:cubicBezTo>
                  <a:pt x="1161" y="435"/>
                  <a:pt x="1162" y="433"/>
                  <a:pt x="1171" y="432"/>
                </a:cubicBezTo>
                <a:cubicBezTo>
                  <a:pt x="1176" y="431"/>
                  <a:pt x="1180" y="431"/>
                  <a:pt x="1183" y="431"/>
                </a:cubicBezTo>
                <a:cubicBezTo>
                  <a:pt x="1187" y="431"/>
                  <a:pt x="1191" y="432"/>
                  <a:pt x="1194" y="432"/>
                </a:cubicBezTo>
                <a:cubicBezTo>
                  <a:pt x="1196" y="431"/>
                  <a:pt x="1198" y="432"/>
                  <a:pt x="1201" y="430"/>
                </a:cubicBezTo>
                <a:cubicBezTo>
                  <a:pt x="1204" y="428"/>
                  <a:pt x="1206" y="424"/>
                  <a:pt x="1205" y="422"/>
                </a:cubicBezTo>
                <a:cubicBezTo>
                  <a:pt x="1205" y="421"/>
                  <a:pt x="1206" y="419"/>
                  <a:pt x="1206" y="416"/>
                </a:cubicBezTo>
                <a:cubicBezTo>
                  <a:pt x="1207" y="417"/>
                  <a:pt x="1207" y="418"/>
                  <a:pt x="1208" y="418"/>
                </a:cubicBezTo>
                <a:cubicBezTo>
                  <a:pt x="1210" y="419"/>
                  <a:pt x="1212" y="421"/>
                  <a:pt x="1213" y="421"/>
                </a:cubicBezTo>
                <a:cubicBezTo>
                  <a:pt x="1212" y="421"/>
                  <a:pt x="1212" y="421"/>
                  <a:pt x="1212" y="421"/>
                </a:cubicBezTo>
                <a:cubicBezTo>
                  <a:pt x="1208" y="426"/>
                  <a:pt x="1205" y="428"/>
                  <a:pt x="1205" y="434"/>
                </a:cubicBezTo>
                <a:cubicBezTo>
                  <a:pt x="1205" y="439"/>
                  <a:pt x="1210" y="442"/>
                  <a:pt x="1212" y="442"/>
                </a:cubicBezTo>
                <a:cubicBezTo>
                  <a:pt x="1215" y="443"/>
                  <a:pt x="1217" y="443"/>
                  <a:pt x="1220" y="443"/>
                </a:cubicBezTo>
                <a:cubicBezTo>
                  <a:pt x="1226" y="443"/>
                  <a:pt x="1232" y="440"/>
                  <a:pt x="1237" y="438"/>
                </a:cubicBezTo>
                <a:cubicBezTo>
                  <a:pt x="1242" y="435"/>
                  <a:pt x="1245" y="433"/>
                  <a:pt x="1246" y="433"/>
                </a:cubicBezTo>
                <a:cubicBezTo>
                  <a:pt x="1247" y="432"/>
                  <a:pt x="1248" y="431"/>
                  <a:pt x="1251" y="431"/>
                </a:cubicBezTo>
                <a:cubicBezTo>
                  <a:pt x="1253" y="430"/>
                  <a:pt x="1257" y="429"/>
                  <a:pt x="1259" y="429"/>
                </a:cubicBezTo>
                <a:cubicBezTo>
                  <a:pt x="1260" y="429"/>
                  <a:pt x="1261" y="429"/>
                  <a:pt x="1261" y="429"/>
                </a:cubicBezTo>
                <a:cubicBezTo>
                  <a:pt x="1261" y="429"/>
                  <a:pt x="1261" y="429"/>
                  <a:pt x="1261" y="429"/>
                </a:cubicBezTo>
                <a:cubicBezTo>
                  <a:pt x="1263" y="432"/>
                  <a:pt x="1264" y="436"/>
                  <a:pt x="1266" y="440"/>
                </a:cubicBezTo>
                <a:cubicBezTo>
                  <a:pt x="1266" y="440"/>
                  <a:pt x="1266" y="440"/>
                  <a:pt x="1266" y="440"/>
                </a:cubicBezTo>
                <a:cubicBezTo>
                  <a:pt x="1263" y="438"/>
                  <a:pt x="1260" y="437"/>
                  <a:pt x="1256" y="437"/>
                </a:cubicBezTo>
                <a:cubicBezTo>
                  <a:pt x="1251" y="437"/>
                  <a:pt x="1246" y="439"/>
                  <a:pt x="1243" y="444"/>
                </a:cubicBezTo>
                <a:cubicBezTo>
                  <a:pt x="1243" y="444"/>
                  <a:pt x="1243" y="444"/>
                  <a:pt x="1243" y="444"/>
                </a:cubicBezTo>
                <a:cubicBezTo>
                  <a:pt x="1242" y="445"/>
                  <a:pt x="1241" y="447"/>
                  <a:pt x="1241" y="449"/>
                </a:cubicBezTo>
                <a:cubicBezTo>
                  <a:pt x="1242" y="455"/>
                  <a:pt x="1246" y="456"/>
                  <a:pt x="1249" y="458"/>
                </a:cubicBezTo>
                <a:cubicBezTo>
                  <a:pt x="1252" y="459"/>
                  <a:pt x="1256" y="460"/>
                  <a:pt x="1259" y="460"/>
                </a:cubicBezTo>
                <a:cubicBezTo>
                  <a:pt x="1262" y="460"/>
                  <a:pt x="1267" y="460"/>
                  <a:pt x="1270" y="455"/>
                </a:cubicBezTo>
                <a:cubicBezTo>
                  <a:pt x="1271" y="454"/>
                  <a:pt x="1271" y="452"/>
                  <a:pt x="1271" y="450"/>
                </a:cubicBezTo>
                <a:cubicBezTo>
                  <a:pt x="1271" y="448"/>
                  <a:pt x="1271" y="447"/>
                  <a:pt x="1270" y="445"/>
                </a:cubicBezTo>
                <a:cubicBezTo>
                  <a:pt x="1272" y="447"/>
                  <a:pt x="1275" y="449"/>
                  <a:pt x="1279" y="449"/>
                </a:cubicBezTo>
                <a:cubicBezTo>
                  <a:pt x="1284" y="448"/>
                  <a:pt x="1288" y="447"/>
                  <a:pt x="1292" y="444"/>
                </a:cubicBezTo>
                <a:cubicBezTo>
                  <a:pt x="1297" y="441"/>
                  <a:pt x="1301" y="437"/>
                  <a:pt x="1301" y="430"/>
                </a:cubicBezTo>
                <a:cubicBezTo>
                  <a:pt x="1301" y="425"/>
                  <a:pt x="1298" y="420"/>
                  <a:pt x="1292" y="417"/>
                </a:cubicBezTo>
                <a:cubicBezTo>
                  <a:pt x="1284" y="411"/>
                  <a:pt x="1278" y="409"/>
                  <a:pt x="1273" y="407"/>
                </a:cubicBezTo>
                <a:cubicBezTo>
                  <a:pt x="1267" y="405"/>
                  <a:pt x="1264" y="403"/>
                  <a:pt x="1260" y="399"/>
                </a:cubicBezTo>
                <a:cubicBezTo>
                  <a:pt x="1259" y="396"/>
                  <a:pt x="1257" y="395"/>
                  <a:pt x="1256" y="393"/>
                </a:cubicBezTo>
                <a:cubicBezTo>
                  <a:pt x="1260" y="392"/>
                  <a:pt x="1268" y="388"/>
                  <a:pt x="1271" y="387"/>
                </a:cubicBezTo>
                <a:cubicBezTo>
                  <a:pt x="1271" y="387"/>
                  <a:pt x="1277" y="386"/>
                  <a:pt x="1282" y="384"/>
                </a:cubicBezTo>
                <a:cubicBezTo>
                  <a:pt x="1286" y="382"/>
                  <a:pt x="1293" y="377"/>
                  <a:pt x="1293" y="368"/>
                </a:cubicBezTo>
                <a:cubicBezTo>
                  <a:pt x="1293" y="367"/>
                  <a:pt x="1293" y="365"/>
                  <a:pt x="1293" y="364"/>
                </a:cubicBezTo>
                <a:cubicBezTo>
                  <a:pt x="1290" y="356"/>
                  <a:pt x="1285" y="351"/>
                  <a:pt x="1281" y="349"/>
                </a:cubicBezTo>
                <a:cubicBezTo>
                  <a:pt x="1279" y="348"/>
                  <a:pt x="1277" y="347"/>
                  <a:pt x="1276" y="346"/>
                </a:cubicBezTo>
                <a:cubicBezTo>
                  <a:pt x="1278" y="345"/>
                  <a:pt x="1281" y="343"/>
                  <a:pt x="1284" y="342"/>
                </a:cubicBezTo>
                <a:cubicBezTo>
                  <a:pt x="1284" y="342"/>
                  <a:pt x="1286" y="341"/>
                  <a:pt x="1289" y="341"/>
                </a:cubicBezTo>
                <a:cubicBezTo>
                  <a:pt x="1292" y="341"/>
                  <a:pt x="1295" y="341"/>
                  <a:pt x="1298" y="342"/>
                </a:cubicBezTo>
                <a:cubicBezTo>
                  <a:pt x="1300" y="342"/>
                  <a:pt x="1302" y="342"/>
                  <a:pt x="1302" y="342"/>
                </a:cubicBezTo>
                <a:cubicBezTo>
                  <a:pt x="1302" y="342"/>
                  <a:pt x="1304" y="343"/>
                  <a:pt x="1306" y="343"/>
                </a:cubicBezTo>
                <a:cubicBezTo>
                  <a:pt x="1308" y="342"/>
                  <a:pt x="1310" y="342"/>
                  <a:pt x="1313" y="341"/>
                </a:cubicBezTo>
                <a:cubicBezTo>
                  <a:pt x="1314" y="341"/>
                  <a:pt x="1316" y="340"/>
                  <a:pt x="1317" y="339"/>
                </a:cubicBezTo>
                <a:cubicBezTo>
                  <a:pt x="1317" y="339"/>
                  <a:pt x="1318" y="340"/>
                  <a:pt x="1319" y="341"/>
                </a:cubicBezTo>
                <a:cubicBezTo>
                  <a:pt x="1320" y="343"/>
                  <a:pt x="1323" y="344"/>
                  <a:pt x="1326" y="344"/>
                </a:cubicBezTo>
                <a:cubicBezTo>
                  <a:pt x="1327" y="344"/>
                  <a:pt x="1328" y="344"/>
                  <a:pt x="1330" y="343"/>
                </a:cubicBezTo>
                <a:cubicBezTo>
                  <a:pt x="1332" y="343"/>
                  <a:pt x="1334" y="343"/>
                  <a:pt x="1335" y="343"/>
                </a:cubicBezTo>
                <a:cubicBezTo>
                  <a:pt x="1338" y="343"/>
                  <a:pt x="1338" y="343"/>
                  <a:pt x="1343" y="346"/>
                </a:cubicBezTo>
                <a:cubicBezTo>
                  <a:pt x="1343" y="347"/>
                  <a:pt x="1343" y="347"/>
                  <a:pt x="1343" y="347"/>
                </a:cubicBezTo>
                <a:cubicBezTo>
                  <a:pt x="1343" y="349"/>
                  <a:pt x="1342" y="353"/>
                  <a:pt x="1340" y="355"/>
                </a:cubicBezTo>
                <a:cubicBezTo>
                  <a:pt x="1340" y="357"/>
                  <a:pt x="1339" y="358"/>
                  <a:pt x="1338" y="359"/>
                </a:cubicBezTo>
                <a:cubicBezTo>
                  <a:pt x="1338" y="360"/>
                  <a:pt x="1337" y="360"/>
                  <a:pt x="1337" y="360"/>
                </a:cubicBezTo>
                <a:cubicBezTo>
                  <a:pt x="1335" y="361"/>
                  <a:pt x="1333" y="362"/>
                  <a:pt x="1331" y="364"/>
                </a:cubicBezTo>
                <a:cubicBezTo>
                  <a:pt x="1329" y="365"/>
                  <a:pt x="1326" y="366"/>
                  <a:pt x="1325" y="372"/>
                </a:cubicBezTo>
                <a:cubicBezTo>
                  <a:pt x="1325" y="376"/>
                  <a:pt x="1328" y="378"/>
                  <a:pt x="1330" y="379"/>
                </a:cubicBezTo>
                <a:cubicBezTo>
                  <a:pt x="1332" y="380"/>
                  <a:pt x="1334" y="381"/>
                  <a:pt x="1337" y="381"/>
                </a:cubicBezTo>
                <a:cubicBezTo>
                  <a:pt x="1350" y="382"/>
                  <a:pt x="1359" y="382"/>
                  <a:pt x="1359" y="382"/>
                </a:cubicBezTo>
                <a:cubicBezTo>
                  <a:pt x="1361" y="382"/>
                  <a:pt x="1363" y="382"/>
                  <a:pt x="1364" y="380"/>
                </a:cubicBezTo>
                <a:cubicBezTo>
                  <a:pt x="1364" y="380"/>
                  <a:pt x="1372" y="370"/>
                  <a:pt x="1376" y="361"/>
                </a:cubicBezTo>
                <a:cubicBezTo>
                  <a:pt x="1376" y="361"/>
                  <a:pt x="1376" y="361"/>
                  <a:pt x="1376" y="360"/>
                </a:cubicBezTo>
                <a:cubicBezTo>
                  <a:pt x="1378" y="361"/>
                  <a:pt x="1380" y="362"/>
                  <a:pt x="1382" y="364"/>
                </a:cubicBezTo>
                <a:cubicBezTo>
                  <a:pt x="1383" y="364"/>
                  <a:pt x="1385" y="365"/>
                  <a:pt x="1386" y="366"/>
                </a:cubicBezTo>
                <a:cubicBezTo>
                  <a:pt x="1371" y="371"/>
                  <a:pt x="1365" y="381"/>
                  <a:pt x="1362" y="387"/>
                </a:cubicBezTo>
                <a:cubicBezTo>
                  <a:pt x="1361" y="390"/>
                  <a:pt x="1360" y="392"/>
                  <a:pt x="1359" y="392"/>
                </a:cubicBezTo>
                <a:cubicBezTo>
                  <a:pt x="1359" y="392"/>
                  <a:pt x="1359" y="392"/>
                  <a:pt x="1357" y="393"/>
                </a:cubicBezTo>
                <a:cubicBezTo>
                  <a:pt x="1356" y="393"/>
                  <a:pt x="1353" y="392"/>
                  <a:pt x="1349" y="391"/>
                </a:cubicBezTo>
                <a:cubicBezTo>
                  <a:pt x="1343" y="389"/>
                  <a:pt x="1338" y="389"/>
                  <a:pt x="1334" y="389"/>
                </a:cubicBezTo>
                <a:cubicBezTo>
                  <a:pt x="1326" y="388"/>
                  <a:pt x="1319" y="392"/>
                  <a:pt x="1316" y="398"/>
                </a:cubicBezTo>
                <a:cubicBezTo>
                  <a:pt x="1314" y="402"/>
                  <a:pt x="1314" y="407"/>
                  <a:pt x="1314" y="411"/>
                </a:cubicBezTo>
                <a:cubicBezTo>
                  <a:pt x="1314" y="415"/>
                  <a:pt x="1314" y="420"/>
                  <a:pt x="1315" y="424"/>
                </a:cubicBezTo>
                <a:cubicBezTo>
                  <a:pt x="1316" y="426"/>
                  <a:pt x="1317" y="428"/>
                  <a:pt x="1318" y="429"/>
                </a:cubicBezTo>
                <a:cubicBezTo>
                  <a:pt x="1319" y="431"/>
                  <a:pt x="1321" y="433"/>
                  <a:pt x="1325" y="434"/>
                </a:cubicBezTo>
                <a:cubicBezTo>
                  <a:pt x="1326" y="434"/>
                  <a:pt x="1327" y="433"/>
                  <a:pt x="1328" y="433"/>
                </a:cubicBezTo>
                <a:cubicBezTo>
                  <a:pt x="1333" y="431"/>
                  <a:pt x="1338" y="431"/>
                  <a:pt x="1347" y="427"/>
                </a:cubicBezTo>
                <a:cubicBezTo>
                  <a:pt x="1347" y="427"/>
                  <a:pt x="1348" y="427"/>
                  <a:pt x="1351" y="427"/>
                </a:cubicBezTo>
                <a:cubicBezTo>
                  <a:pt x="1359" y="427"/>
                  <a:pt x="1374" y="429"/>
                  <a:pt x="1383" y="429"/>
                </a:cubicBezTo>
                <a:cubicBezTo>
                  <a:pt x="1384" y="429"/>
                  <a:pt x="1385" y="429"/>
                  <a:pt x="1387" y="429"/>
                </a:cubicBezTo>
                <a:cubicBezTo>
                  <a:pt x="1387" y="429"/>
                  <a:pt x="1388" y="429"/>
                  <a:pt x="1389" y="430"/>
                </a:cubicBezTo>
                <a:cubicBezTo>
                  <a:pt x="1391" y="431"/>
                  <a:pt x="1394" y="434"/>
                  <a:pt x="1396" y="436"/>
                </a:cubicBezTo>
                <a:cubicBezTo>
                  <a:pt x="1399" y="438"/>
                  <a:pt x="1401" y="440"/>
                  <a:pt x="1407" y="441"/>
                </a:cubicBezTo>
                <a:cubicBezTo>
                  <a:pt x="1408" y="441"/>
                  <a:pt x="1409" y="440"/>
                  <a:pt x="1410" y="440"/>
                </a:cubicBezTo>
                <a:cubicBezTo>
                  <a:pt x="1412" y="441"/>
                  <a:pt x="1417" y="446"/>
                  <a:pt x="1421" y="450"/>
                </a:cubicBezTo>
                <a:cubicBezTo>
                  <a:pt x="1423" y="451"/>
                  <a:pt x="1425" y="452"/>
                  <a:pt x="1427" y="452"/>
                </a:cubicBezTo>
                <a:cubicBezTo>
                  <a:pt x="1430" y="452"/>
                  <a:pt x="1433" y="451"/>
                  <a:pt x="1434" y="450"/>
                </a:cubicBezTo>
                <a:cubicBezTo>
                  <a:pt x="1435" y="448"/>
                  <a:pt x="1435" y="447"/>
                  <a:pt x="1436" y="447"/>
                </a:cubicBezTo>
                <a:cubicBezTo>
                  <a:pt x="1436" y="447"/>
                  <a:pt x="1437" y="448"/>
                  <a:pt x="1438" y="448"/>
                </a:cubicBezTo>
                <a:cubicBezTo>
                  <a:pt x="1444" y="454"/>
                  <a:pt x="1445" y="455"/>
                  <a:pt x="1445" y="456"/>
                </a:cubicBezTo>
                <a:cubicBezTo>
                  <a:pt x="1445" y="457"/>
                  <a:pt x="1447" y="459"/>
                  <a:pt x="1450" y="460"/>
                </a:cubicBezTo>
                <a:cubicBezTo>
                  <a:pt x="1452" y="460"/>
                  <a:pt x="1453" y="460"/>
                  <a:pt x="1454" y="460"/>
                </a:cubicBezTo>
                <a:cubicBezTo>
                  <a:pt x="1454" y="460"/>
                  <a:pt x="1454" y="460"/>
                  <a:pt x="1455" y="460"/>
                </a:cubicBezTo>
                <a:cubicBezTo>
                  <a:pt x="1461" y="460"/>
                  <a:pt x="1476" y="462"/>
                  <a:pt x="1476" y="462"/>
                </a:cubicBezTo>
                <a:cubicBezTo>
                  <a:pt x="1478" y="462"/>
                  <a:pt x="1479" y="462"/>
                  <a:pt x="1481" y="461"/>
                </a:cubicBezTo>
                <a:cubicBezTo>
                  <a:pt x="1482" y="460"/>
                  <a:pt x="1483" y="458"/>
                  <a:pt x="1483" y="457"/>
                </a:cubicBezTo>
                <a:cubicBezTo>
                  <a:pt x="1483" y="457"/>
                  <a:pt x="1483" y="456"/>
                  <a:pt x="1483" y="456"/>
                </a:cubicBezTo>
                <a:cubicBezTo>
                  <a:pt x="1483" y="455"/>
                  <a:pt x="1484" y="453"/>
                  <a:pt x="1484" y="452"/>
                </a:cubicBezTo>
                <a:cubicBezTo>
                  <a:pt x="1485" y="451"/>
                  <a:pt x="1485" y="451"/>
                  <a:pt x="1486" y="451"/>
                </a:cubicBezTo>
                <a:cubicBezTo>
                  <a:pt x="1487" y="451"/>
                  <a:pt x="1487" y="451"/>
                  <a:pt x="1488" y="451"/>
                </a:cubicBezTo>
                <a:cubicBezTo>
                  <a:pt x="1491" y="452"/>
                  <a:pt x="1494" y="454"/>
                  <a:pt x="1498" y="456"/>
                </a:cubicBezTo>
                <a:cubicBezTo>
                  <a:pt x="1499" y="458"/>
                  <a:pt x="1501" y="459"/>
                  <a:pt x="1502" y="460"/>
                </a:cubicBezTo>
                <a:cubicBezTo>
                  <a:pt x="1504" y="461"/>
                  <a:pt x="1505" y="462"/>
                  <a:pt x="1509" y="462"/>
                </a:cubicBezTo>
                <a:cubicBezTo>
                  <a:pt x="1511" y="462"/>
                  <a:pt x="1514" y="461"/>
                  <a:pt x="1515" y="459"/>
                </a:cubicBezTo>
                <a:cubicBezTo>
                  <a:pt x="1516" y="456"/>
                  <a:pt x="1516" y="455"/>
                  <a:pt x="1516" y="454"/>
                </a:cubicBezTo>
                <a:cubicBezTo>
                  <a:pt x="1516" y="453"/>
                  <a:pt x="1516" y="452"/>
                  <a:pt x="1516" y="452"/>
                </a:cubicBezTo>
                <a:cubicBezTo>
                  <a:pt x="1516" y="447"/>
                  <a:pt x="1516" y="442"/>
                  <a:pt x="1515" y="436"/>
                </a:cubicBezTo>
                <a:cubicBezTo>
                  <a:pt x="1514" y="431"/>
                  <a:pt x="1512" y="425"/>
                  <a:pt x="1506" y="420"/>
                </a:cubicBezTo>
                <a:cubicBezTo>
                  <a:pt x="1501" y="415"/>
                  <a:pt x="1494" y="412"/>
                  <a:pt x="1489" y="409"/>
                </a:cubicBezTo>
                <a:cubicBezTo>
                  <a:pt x="1487" y="407"/>
                  <a:pt x="1484" y="406"/>
                  <a:pt x="1483" y="405"/>
                </a:cubicBezTo>
                <a:cubicBezTo>
                  <a:pt x="1482" y="404"/>
                  <a:pt x="1481" y="404"/>
                  <a:pt x="1481" y="404"/>
                </a:cubicBezTo>
                <a:cubicBezTo>
                  <a:pt x="1481" y="404"/>
                  <a:pt x="1481" y="404"/>
                  <a:pt x="1481" y="404"/>
                </a:cubicBezTo>
                <a:cubicBezTo>
                  <a:pt x="1480" y="402"/>
                  <a:pt x="1479" y="401"/>
                  <a:pt x="1479" y="399"/>
                </a:cubicBezTo>
                <a:cubicBezTo>
                  <a:pt x="1484" y="400"/>
                  <a:pt x="1494" y="403"/>
                  <a:pt x="1499" y="407"/>
                </a:cubicBezTo>
                <a:cubicBezTo>
                  <a:pt x="1506" y="412"/>
                  <a:pt x="1512" y="418"/>
                  <a:pt x="1522" y="419"/>
                </a:cubicBezTo>
                <a:cubicBezTo>
                  <a:pt x="1525" y="419"/>
                  <a:pt x="1528" y="418"/>
                  <a:pt x="1531" y="415"/>
                </a:cubicBezTo>
                <a:cubicBezTo>
                  <a:pt x="1537" y="411"/>
                  <a:pt x="1545" y="408"/>
                  <a:pt x="1550" y="402"/>
                </a:cubicBezTo>
                <a:cubicBezTo>
                  <a:pt x="1554" y="397"/>
                  <a:pt x="1562" y="385"/>
                  <a:pt x="1562" y="385"/>
                </a:cubicBezTo>
                <a:cubicBezTo>
                  <a:pt x="1563" y="383"/>
                  <a:pt x="1564" y="381"/>
                  <a:pt x="1563" y="379"/>
                </a:cubicBezTo>
                <a:cubicBezTo>
                  <a:pt x="1562" y="377"/>
                  <a:pt x="1560" y="376"/>
                  <a:pt x="1558" y="376"/>
                </a:cubicBezTo>
                <a:cubicBezTo>
                  <a:pt x="1558" y="376"/>
                  <a:pt x="1550" y="374"/>
                  <a:pt x="1541" y="372"/>
                </a:cubicBezTo>
                <a:cubicBezTo>
                  <a:pt x="1536" y="371"/>
                  <a:pt x="1532" y="370"/>
                  <a:pt x="1528" y="369"/>
                </a:cubicBezTo>
                <a:cubicBezTo>
                  <a:pt x="1527" y="368"/>
                  <a:pt x="1525" y="368"/>
                  <a:pt x="1524" y="368"/>
                </a:cubicBezTo>
                <a:cubicBezTo>
                  <a:pt x="1524" y="367"/>
                  <a:pt x="1523" y="368"/>
                  <a:pt x="1523" y="368"/>
                </a:cubicBezTo>
                <a:cubicBezTo>
                  <a:pt x="1523" y="368"/>
                  <a:pt x="1523" y="368"/>
                  <a:pt x="1523" y="368"/>
                </a:cubicBezTo>
                <a:cubicBezTo>
                  <a:pt x="1520" y="360"/>
                  <a:pt x="1514" y="358"/>
                  <a:pt x="1509" y="354"/>
                </a:cubicBezTo>
                <a:cubicBezTo>
                  <a:pt x="1503" y="351"/>
                  <a:pt x="1498" y="348"/>
                  <a:pt x="1493" y="347"/>
                </a:cubicBezTo>
                <a:cubicBezTo>
                  <a:pt x="1489" y="347"/>
                  <a:pt x="1487" y="348"/>
                  <a:pt x="1485" y="349"/>
                </a:cubicBezTo>
                <a:cubicBezTo>
                  <a:pt x="1483" y="350"/>
                  <a:pt x="1481" y="350"/>
                  <a:pt x="1480" y="350"/>
                </a:cubicBezTo>
                <a:cubicBezTo>
                  <a:pt x="1478" y="350"/>
                  <a:pt x="1478" y="351"/>
                  <a:pt x="1477" y="347"/>
                </a:cubicBezTo>
                <a:cubicBezTo>
                  <a:pt x="1475" y="341"/>
                  <a:pt x="1473" y="333"/>
                  <a:pt x="1472" y="327"/>
                </a:cubicBezTo>
                <a:cubicBezTo>
                  <a:pt x="1472" y="324"/>
                  <a:pt x="1471" y="321"/>
                  <a:pt x="1470" y="319"/>
                </a:cubicBezTo>
                <a:cubicBezTo>
                  <a:pt x="1469" y="316"/>
                  <a:pt x="1468" y="313"/>
                  <a:pt x="1464" y="311"/>
                </a:cubicBezTo>
                <a:cubicBezTo>
                  <a:pt x="1460" y="310"/>
                  <a:pt x="1448" y="308"/>
                  <a:pt x="1434" y="305"/>
                </a:cubicBezTo>
                <a:cubicBezTo>
                  <a:pt x="1427" y="304"/>
                  <a:pt x="1420" y="302"/>
                  <a:pt x="1415" y="301"/>
                </a:cubicBezTo>
                <a:cubicBezTo>
                  <a:pt x="1410" y="300"/>
                  <a:pt x="1405" y="298"/>
                  <a:pt x="1405" y="298"/>
                </a:cubicBezTo>
                <a:cubicBezTo>
                  <a:pt x="1401" y="295"/>
                  <a:pt x="1392" y="292"/>
                  <a:pt x="1383" y="288"/>
                </a:cubicBezTo>
                <a:cubicBezTo>
                  <a:pt x="1374" y="285"/>
                  <a:pt x="1365" y="280"/>
                  <a:pt x="1360" y="278"/>
                </a:cubicBezTo>
                <a:cubicBezTo>
                  <a:pt x="1350" y="271"/>
                  <a:pt x="1335" y="260"/>
                  <a:pt x="1322" y="260"/>
                </a:cubicBezTo>
                <a:cubicBezTo>
                  <a:pt x="1313" y="260"/>
                  <a:pt x="1283" y="264"/>
                  <a:pt x="1272" y="264"/>
                </a:cubicBezTo>
                <a:cubicBezTo>
                  <a:pt x="1271" y="264"/>
                  <a:pt x="1270" y="264"/>
                  <a:pt x="1270" y="264"/>
                </a:cubicBezTo>
                <a:cubicBezTo>
                  <a:pt x="1268" y="264"/>
                  <a:pt x="1266" y="264"/>
                  <a:pt x="1265" y="264"/>
                </a:cubicBezTo>
                <a:cubicBezTo>
                  <a:pt x="1255" y="264"/>
                  <a:pt x="1239" y="267"/>
                  <a:pt x="1232" y="268"/>
                </a:cubicBezTo>
                <a:cubicBezTo>
                  <a:pt x="1230" y="269"/>
                  <a:pt x="1228" y="270"/>
                  <a:pt x="1226" y="271"/>
                </a:cubicBezTo>
                <a:cubicBezTo>
                  <a:pt x="1225" y="273"/>
                  <a:pt x="1225" y="275"/>
                  <a:pt x="1225" y="277"/>
                </a:cubicBezTo>
                <a:cubicBezTo>
                  <a:pt x="1225" y="283"/>
                  <a:pt x="1228" y="287"/>
                  <a:pt x="1227" y="290"/>
                </a:cubicBezTo>
                <a:cubicBezTo>
                  <a:pt x="1227" y="291"/>
                  <a:pt x="1229" y="290"/>
                  <a:pt x="1224" y="292"/>
                </a:cubicBezTo>
                <a:cubicBezTo>
                  <a:pt x="1222" y="292"/>
                  <a:pt x="1220" y="293"/>
                  <a:pt x="1219" y="293"/>
                </a:cubicBezTo>
                <a:cubicBezTo>
                  <a:pt x="1219" y="291"/>
                  <a:pt x="1220" y="288"/>
                  <a:pt x="1220" y="285"/>
                </a:cubicBezTo>
                <a:cubicBezTo>
                  <a:pt x="1221" y="283"/>
                  <a:pt x="1221" y="280"/>
                  <a:pt x="1221" y="278"/>
                </a:cubicBezTo>
                <a:cubicBezTo>
                  <a:pt x="1221" y="272"/>
                  <a:pt x="1219" y="267"/>
                  <a:pt x="1215" y="263"/>
                </a:cubicBezTo>
                <a:cubicBezTo>
                  <a:pt x="1214" y="261"/>
                  <a:pt x="1212" y="260"/>
                  <a:pt x="1210" y="260"/>
                </a:cubicBezTo>
                <a:cubicBezTo>
                  <a:pt x="1210" y="260"/>
                  <a:pt x="1210" y="260"/>
                  <a:pt x="1211" y="260"/>
                </a:cubicBezTo>
                <a:cubicBezTo>
                  <a:pt x="1213" y="260"/>
                  <a:pt x="1216" y="259"/>
                  <a:pt x="1219" y="260"/>
                </a:cubicBezTo>
                <a:cubicBezTo>
                  <a:pt x="1234" y="261"/>
                  <a:pt x="1256" y="263"/>
                  <a:pt x="1271" y="263"/>
                </a:cubicBezTo>
                <a:cubicBezTo>
                  <a:pt x="1274" y="263"/>
                  <a:pt x="1276" y="263"/>
                  <a:pt x="1278" y="263"/>
                </a:cubicBezTo>
                <a:cubicBezTo>
                  <a:pt x="1286" y="262"/>
                  <a:pt x="1291" y="260"/>
                  <a:pt x="1295" y="257"/>
                </a:cubicBezTo>
                <a:cubicBezTo>
                  <a:pt x="1299" y="254"/>
                  <a:pt x="1301" y="250"/>
                  <a:pt x="1302" y="249"/>
                </a:cubicBezTo>
                <a:cubicBezTo>
                  <a:pt x="1302" y="248"/>
                  <a:pt x="1302" y="247"/>
                  <a:pt x="1302" y="246"/>
                </a:cubicBezTo>
                <a:cubicBezTo>
                  <a:pt x="1302" y="242"/>
                  <a:pt x="1300" y="241"/>
                  <a:pt x="1299" y="240"/>
                </a:cubicBezTo>
                <a:cubicBezTo>
                  <a:pt x="1295" y="237"/>
                  <a:pt x="1289" y="235"/>
                  <a:pt x="1282" y="233"/>
                </a:cubicBezTo>
                <a:cubicBezTo>
                  <a:pt x="1275" y="231"/>
                  <a:pt x="1269" y="230"/>
                  <a:pt x="1264" y="230"/>
                </a:cubicBezTo>
                <a:cubicBezTo>
                  <a:pt x="1263" y="230"/>
                  <a:pt x="1262" y="230"/>
                  <a:pt x="1261" y="230"/>
                </a:cubicBezTo>
                <a:cubicBezTo>
                  <a:pt x="1259" y="231"/>
                  <a:pt x="1247" y="231"/>
                  <a:pt x="1235" y="231"/>
                </a:cubicBezTo>
                <a:cubicBezTo>
                  <a:pt x="1223" y="231"/>
                  <a:pt x="1210" y="231"/>
                  <a:pt x="1205" y="230"/>
                </a:cubicBezTo>
                <a:cubicBezTo>
                  <a:pt x="1199" y="230"/>
                  <a:pt x="1193" y="230"/>
                  <a:pt x="1186" y="230"/>
                </a:cubicBezTo>
                <a:cubicBezTo>
                  <a:pt x="1180" y="230"/>
                  <a:pt x="1174" y="228"/>
                  <a:pt x="1169" y="232"/>
                </a:cubicBezTo>
                <a:cubicBezTo>
                  <a:pt x="1169" y="232"/>
                  <a:pt x="1168" y="232"/>
                  <a:pt x="1168" y="232"/>
                </a:cubicBezTo>
                <a:cubicBezTo>
                  <a:pt x="1163" y="232"/>
                  <a:pt x="1157" y="225"/>
                  <a:pt x="1150" y="220"/>
                </a:cubicBezTo>
                <a:cubicBezTo>
                  <a:pt x="1147" y="218"/>
                  <a:pt x="1141" y="213"/>
                  <a:pt x="1135" y="208"/>
                </a:cubicBezTo>
                <a:cubicBezTo>
                  <a:pt x="1129" y="204"/>
                  <a:pt x="1123" y="199"/>
                  <a:pt x="1116" y="197"/>
                </a:cubicBezTo>
                <a:cubicBezTo>
                  <a:pt x="1107" y="196"/>
                  <a:pt x="1109" y="196"/>
                  <a:pt x="1090" y="190"/>
                </a:cubicBezTo>
                <a:cubicBezTo>
                  <a:pt x="1085" y="189"/>
                  <a:pt x="1078" y="187"/>
                  <a:pt x="1073" y="186"/>
                </a:cubicBezTo>
                <a:cubicBezTo>
                  <a:pt x="1071" y="185"/>
                  <a:pt x="1068" y="184"/>
                  <a:pt x="1067" y="184"/>
                </a:cubicBezTo>
                <a:cubicBezTo>
                  <a:pt x="1067" y="184"/>
                  <a:pt x="1067" y="184"/>
                  <a:pt x="1067" y="184"/>
                </a:cubicBezTo>
                <a:cubicBezTo>
                  <a:pt x="1067" y="184"/>
                  <a:pt x="1067" y="183"/>
                  <a:pt x="1067" y="183"/>
                </a:cubicBezTo>
                <a:cubicBezTo>
                  <a:pt x="1066" y="182"/>
                  <a:pt x="1064" y="180"/>
                  <a:pt x="1062" y="180"/>
                </a:cubicBezTo>
                <a:cubicBezTo>
                  <a:pt x="1059" y="181"/>
                  <a:pt x="1058" y="182"/>
                  <a:pt x="1057" y="182"/>
                </a:cubicBezTo>
                <a:cubicBezTo>
                  <a:pt x="1056" y="184"/>
                  <a:pt x="1056" y="184"/>
                  <a:pt x="1056" y="185"/>
                </a:cubicBezTo>
                <a:cubicBezTo>
                  <a:pt x="1055" y="187"/>
                  <a:pt x="1055" y="190"/>
                  <a:pt x="1055" y="193"/>
                </a:cubicBezTo>
                <a:cubicBezTo>
                  <a:pt x="1055" y="198"/>
                  <a:pt x="1056" y="205"/>
                  <a:pt x="1063" y="209"/>
                </a:cubicBezTo>
                <a:cubicBezTo>
                  <a:pt x="1071" y="214"/>
                  <a:pt x="1085" y="222"/>
                  <a:pt x="1096" y="227"/>
                </a:cubicBezTo>
                <a:cubicBezTo>
                  <a:pt x="1102" y="230"/>
                  <a:pt x="1109" y="231"/>
                  <a:pt x="1115" y="233"/>
                </a:cubicBezTo>
                <a:cubicBezTo>
                  <a:pt x="1122" y="235"/>
                  <a:pt x="1127" y="237"/>
                  <a:pt x="1128" y="240"/>
                </a:cubicBezTo>
                <a:cubicBezTo>
                  <a:pt x="1137" y="252"/>
                  <a:pt x="1158" y="258"/>
                  <a:pt x="1158" y="258"/>
                </a:cubicBezTo>
                <a:cubicBezTo>
                  <a:pt x="1160" y="259"/>
                  <a:pt x="1160" y="259"/>
                  <a:pt x="1160" y="259"/>
                </a:cubicBezTo>
                <a:cubicBezTo>
                  <a:pt x="1184" y="261"/>
                  <a:pt x="1184" y="261"/>
                  <a:pt x="1184" y="261"/>
                </a:cubicBezTo>
                <a:cubicBezTo>
                  <a:pt x="1178" y="265"/>
                  <a:pt x="1170" y="268"/>
                  <a:pt x="1163" y="271"/>
                </a:cubicBezTo>
                <a:cubicBezTo>
                  <a:pt x="1160" y="272"/>
                  <a:pt x="1156" y="274"/>
                  <a:pt x="1153" y="276"/>
                </a:cubicBezTo>
                <a:cubicBezTo>
                  <a:pt x="1151" y="278"/>
                  <a:pt x="1148" y="282"/>
                  <a:pt x="1148" y="287"/>
                </a:cubicBezTo>
                <a:cubicBezTo>
                  <a:pt x="1147" y="289"/>
                  <a:pt x="1148" y="291"/>
                  <a:pt x="1149" y="293"/>
                </a:cubicBezTo>
                <a:cubicBezTo>
                  <a:pt x="1151" y="296"/>
                  <a:pt x="1151" y="298"/>
                  <a:pt x="1151" y="303"/>
                </a:cubicBezTo>
                <a:cubicBezTo>
                  <a:pt x="1152" y="308"/>
                  <a:pt x="1154" y="315"/>
                  <a:pt x="1161" y="320"/>
                </a:cubicBezTo>
                <a:cubicBezTo>
                  <a:pt x="1167" y="326"/>
                  <a:pt x="1172" y="329"/>
                  <a:pt x="1178" y="331"/>
                </a:cubicBezTo>
                <a:cubicBezTo>
                  <a:pt x="1178" y="331"/>
                  <a:pt x="1177" y="331"/>
                  <a:pt x="1177" y="331"/>
                </a:cubicBezTo>
                <a:cubicBezTo>
                  <a:pt x="1172" y="331"/>
                  <a:pt x="1168" y="334"/>
                  <a:pt x="1164" y="337"/>
                </a:cubicBezTo>
                <a:cubicBezTo>
                  <a:pt x="1162" y="338"/>
                  <a:pt x="1160" y="340"/>
                  <a:pt x="1159" y="341"/>
                </a:cubicBezTo>
                <a:cubicBezTo>
                  <a:pt x="1159" y="340"/>
                  <a:pt x="1158" y="339"/>
                  <a:pt x="1158" y="338"/>
                </a:cubicBezTo>
                <a:cubicBezTo>
                  <a:pt x="1153" y="327"/>
                  <a:pt x="1142" y="318"/>
                  <a:pt x="1138" y="316"/>
                </a:cubicBezTo>
                <a:cubicBezTo>
                  <a:pt x="1136" y="312"/>
                  <a:pt x="1128" y="301"/>
                  <a:pt x="1122" y="295"/>
                </a:cubicBezTo>
                <a:cubicBezTo>
                  <a:pt x="1120" y="293"/>
                  <a:pt x="1118" y="292"/>
                  <a:pt x="1116" y="290"/>
                </a:cubicBezTo>
                <a:cubicBezTo>
                  <a:pt x="1122" y="290"/>
                  <a:pt x="1129" y="289"/>
                  <a:pt x="1133" y="288"/>
                </a:cubicBezTo>
                <a:cubicBezTo>
                  <a:pt x="1142" y="287"/>
                  <a:pt x="1144" y="279"/>
                  <a:pt x="1145" y="273"/>
                </a:cubicBezTo>
                <a:cubicBezTo>
                  <a:pt x="1145" y="269"/>
                  <a:pt x="1142" y="261"/>
                  <a:pt x="1134" y="260"/>
                </a:cubicBezTo>
                <a:cubicBezTo>
                  <a:pt x="1132" y="260"/>
                  <a:pt x="1130" y="259"/>
                  <a:pt x="1127" y="257"/>
                </a:cubicBezTo>
                <a:cubicBezTo>
                  <a:pt x="1124" y="256"/>
                  <a:pt x="1121" y="254"/>
                  <a:pt x="1116" y="253"/>
                </a:cubicBezTo>
                <a:cubicBezTo>
                  <a:pt x="1115" y="253"/>
                  <a:pt x="1114" y="253"/>
                  <a:pt x="1113" y="254"/>
                </a:cubicBezTo>
                <a:cubicBezTo>
                  <a:pt x="1114" y="252"/>
                  <a:pt x="1115" y="250"/>
                  <a:pt x="1115" y="248"/>
                </a:cubicBezTo>
                <a:cubicBezTo>
                  <a:pt x="1115" y="247"/>
                  <a:pt x="1115" y="245"/>
                  <a:pt x="1115" y="244"/>
                </a:cubicBezTo>
                <a:cubicBezTo>
                  <a:pt x="1115" y="244"/>
                  <a:pt x="1115" y="244"/>
                  <a:pt x="1115" y="244"/>
                </a:cubicBezTo>
                <a:cubicBezTo>
                  <a:pt x="1111" y="235"/>
                  <a:pt x="1101" y="230"/>
                  <a:pt x="1093" y="230"/>
                </a:cubicBezTo>
                <a:cubicBezTo>
                  <a:pt x="1086" y="230"/>
                  <a:pt x="1079" y="233"/>
                  <a:pt x="1076" y="241"/>
                </a:cubicBezTo>
                <a:cubicBezTo>
                  <a:pt x="1076" y="242"/>
                  <a:pt x="1076" y="243"/>
                  <a:pt x="1076" y="244"/>
                </a:cubicBezTo>
                <a:cubicBezTo>
                  <a:pt x="1076" y="251"/>
                  <a:pt x="1081" y="254"/>
                  <a:pt x="1086" y="256"/>
                </a:cubicBezTo>
                <a:cubicBezTo>
                  <a:pt x="1090" y="258"/>
                  <a:pt x="1095" y="259"/>
                  <a:pt x="1100" y="259"/>
                </a:cubicBezTo>
                <a:cubicBezTo>
                  <a:pt x="1101" y="259"/>
                  <a:pt x="1101" y="259"/>
                  <a:pt x="1102" y="259"/>
                </a:cubicBezTo>
                <a:cubicBezTo>
                  <a:pt x="1099" y="260"/>
                  <a:pt x="1096" y="262"/>
                  <a:pt x="1093" y="263"/>
                </a:cubicBezTo>
                <a:cubicBezTo>
                  <a:pt x="1089" y="266"/>
                  <a:pt x="1086" y="268"/>
                  <a:pt x="1084" y="270"/>
                </a:cubicBezTo>
                <a:cubicBezTo>
                  <a:pt x="1081" y="273"/>
                  <a:pt x="1078" y="275"/>
                  <a:pt x="1078" y="280"/>
                </a:cubicBezTo>
                <a:cubicBezTo>
                  <a:pt x="1078" y="281"/>
                  <a:pt x="1078" y="282"/>
                  <a:pt x="1079" y="283"/>
                </a:cubicBezTo>
                <a:cubicBezTo>
                  <a:pt x="1081" y="289"/>
                  <a:pt x="1086" y="292"/>
                  <a:pt x="1094" y="293"/>
                </a:cubicBezTo>
                <a:cubicBezTo>
                  <a:pt x="1093" y="295"/>
                  <a:pt x="1092" y="297"/>
                  <a:pt x="1091" y="299"/>
                </a:cubicBezTo>
                <a:cubicBezTo>
                  <a:pt x="1091" y="301"/>
                  <a:pt x="1091" y="302"/>
                  <a:pt x="1091" y="303"/>
                </a:cubicBezTo>
                <a:cubicBezTo>
                  <a:pt x="1091" y="311"/>
                  <a:pt x="1094" y="318"/>
                  <a:pt x="1098" y="329"/>
                </a:cubicBezTo>
                <a:cubicBezTo>
                  <a:pt x="1101" y="336"/>
                  <a:pt x="1103" y="347"/>
                  <a:pt x="1103" y="354"/>
                </a:cubicBezTo>
                <a:cubicBezTo>
                  <a:pt x="1103" y="356"/>
                  <a:pt x="1103" y="357"/>
                  <a:pt x="1103" y="358"/>
                </a:cubicBezTo>
                <a:cubicBezTo>
                  <a:pt x="1095" y="360"/>
                  <a:pt x="1093" y="361"/>
                  <a:pt x="1086" y="364"/>
                </a:cubicBezTo>
                <a:cubicBezTo>
                  <a:pt x="1085" y="364"/>
                  <a:pt x="1085" y="364"/>
                  <a:pt x="1084" y="364"/>
                </a:cubicBezTo>
                <a:cubicBezTo>
                  <a:pt x="1084" y="364"/>
                  <a:pt x="1084" y="364"/>
                  <a:pt x="1084" y="364"/>
                </a:cubicBezTo>
                <a:cubicBezTo>
                  <a:pt x="1084" y="364"/>
                  <a:pt x="1084" y="363"/>
                  <a:pt x="1083" y="362"/>
                </a:cubicBezTo>
                <a:cubicBezTo>
                  <a:pt x="1083" y="360"/>
                  <a:pt x="1082" y="357"/>
                  <a:pt x="1082" y="354"/>
                </a:cubicBezTo>
                <a:cubicBezTo>
                  <a:pt x="1082" y="345"/>
                  <a:pt x="1080" y="337"/>
                  <a:pt x="1080" y="333"/>
                </a:cubicBezTo>
                <a:cubicBezTo>
                  <a:pt x="1080" y="333"/>
                  <a:pt x="1080" y="332"/>
                  <a:pt x="1080" y="332"/>
                </a:cubicBezTo>
                <a:cubicBezTo>
                  <a:pt x="1080" y="332"/>
                  <a:pt x="1080" y="332"/>
                  <a:pt x="1080" y="332"/>
                </a:cubicBezTo>
                <a:cubicBezTo>
                  <a:pt x="1081" y="331"/>
                  <a:pt x="1081" y="330"/>
                  <a:pt x="1081" y="329"/>
                </a:cubicBezTo>
                <a:cubicBezTo>
                  <a:pt x="1082" y="327"/>
                  <a:pt x="1080" y="324"/>
                  <a:pt x="1078" y="323"/>
                </a:cubicBezTo>
                <a:cubicBezTo>
                  <a:pt x="1076" y="322"/>
                  <a:pt x="1075" y="322"/>
                  <a:pt x="1075" y="322"/>
                </a:cubicBezTo>
                <a:cubicBezTo>
                  <a:pt x="1070" y="322"/>
                  <a:pt x="1066" y="324"/>
                  <a:pt x="1060" y="324"/>
                </a:cubicBezTo>
                <a:cubicBezTo>
                  <a:pt x="1059" y="324"/>
                  <a:pt x="1057" y="324"/>
                  <a:pt x="1056" y="323"/>
                </a:cubicBezTo>
                <a:cubicBezTo>
                  <a:pt x="1054" y="323"/>
                  <a:pt x="1052" y="323"/>
                  <a:pt x="1050" y="323"/>
                </a:cubicBezTo>
                <a:cubicBezTo>
                  <a:pt x="1046" y="323"/>
                  <a:pt x="1043" y="324"/>
                  <a:pt x="1040" y="325"/>
                </a:cubicBezTo>
                <a:cubicBezTo>
                  <a:pt x="1037" y="327"/>
                  <a:pt x="1034" y="330"/>
                  <a:pt x="1034" y="334"/>
                </a:cubicBezTo>
                <a:cubicBezTo>
                  <a:pt x="1034" y="340"/>
                  <a:pt x="1039" y="343"/>
                  <a:pt x="1043" y="345"/>
                </a:cubicBezTo>
                <a:cubicBezTo>
                  <a:pt x="1047" y="346"/>
                  <a:pt x="1049" y="350"/>
                  <a:pt x="1049" y="353"/>
                </a:cubicBezTo>
                <a:cubicBezTo>
                  <a:pt x="1049" y="356"/>
                  <a:pt x="1048" y="357"/>
                  <a:pt x="1046" y="358"/>
                </a:cubicBezTo>
                <a:cubicBezTo>
                  <a:pt x="1045" y="359"/>
                  <a:pt x="1038" y="360"/>
                  <a:pt x="1031" y="360"/>
                </a:cubicBezTo>
                <a:cubicBezTo>
                  <a:pt x="1015" y="360"/>
                  <a:pt x="995" y="358"/>
                  <a:pt x="987" y="358"/>
                </a:cubicBezTo>
                <a:cubicBezTo>
                  <a:pt x="980" y="358"/>
                  <a:pt x="972" y="359"/>
                  <a:pt x="966" y="359"/>
                </a:cubicBezTo>
                <a:cubicBezTo>
                  <a:pt x="963" y="359"/>
                  <a:pt x="960" y="359"/>
                  <a:pt x="959" y="358"/>
                </a:cubicBezTo>
                <a:cubicBezTo>
                  <a:pt x="957" y="358"/>
                  <a:pt x="958" y="357"/>
                  <a:pt x="958" y="357"/>
                </a:cubicBezTo>
                <a:cubicBezTo>
                  <a:pt x="957" y="357"/>
                  <a:pt x="957" y="357"/>
                  <a:pt x="957" y="357"/>
                </a:cubicBezTo>
                <a:cubicBezTo>
                  <a:pt x="957" y="357"/>
                  <a:pt x="957" y="357"/>
                  <a:pt x="958" y="357"/>
                </a:cubicBezTo>
                <a:cubicBezTo>
                  <a:pt x="959" y="355"/>
                  <a:pt x="967" y="352"/>
                  <a:pt x="970" y="352"/>
                </a:cubicBezTo>
                <a:cubicBezTo>
                  <a:pt x="972" y="352"/>
                  <a:pt x="973" y="352"/>
                  <a:pt x="975" y="352"/>
                </a:cubicBezTo>
                <a:cubicBezTo>
                  <a:pt x="986" y="352"/>
                  <a:pt x="1006" y="352"/>
                  <a:pt x="1017" y="335"/>
                </a:cubicBezTo>
                <a:cubicBezTo>
                  <a:pt x="1019" y="332"/>
                  <a:pt x="1020" y="329"/>
                  <a:pt x="1020" y="325"/>
                </a:cubicBezTo>
                <a:cubicBezTo>
                  <a:pt x="1020" y="317"/>
                  <a:pt x="1013" y="312"/>
                  <a:pt x="1007" y="311"/>
                </a:cubicBezTo>
                <a:cubicBezTo>
                  <a:pt x="1001" y="309"/>
                  <a:pt x="995" y="308"/>
                  <a:pt x="991" y="308"/>
                </a:cubicBezTo>
                <a:cubicBezTo>
                  <a:pt x="984" y="308"/>
                  <a:pt x="980" y="306"/>
                  <a:pt x="969" y="294"/>
                </a:cubicBezTo>
                <a:cubicBezTo>
                  <a:pt x="968" y="292"/>
                  <a:pt x="967" y="291"/>
                  <a:pt x="967" y="290"/>
                </a:cubicBezTo>
                <a:cubicBezTo>
                  <a:pt x="967" y="288"/>
                  <a:pt x="968" y="286"/>
                  <a:pt x="970" y="283"/>
                </a:cubicBezTo>
                <a:cubicBezTo>
                  <a:pt x="972" y="281"/>
                  <a:pt x="975" y="279"/>
                  <a:pt x="975" y="273"/>
                </a:cubicBezTo>
                <a:cubicBezTo>
                  <a:pt x="975" y="272"/>
                  <a:pt x="975" y="270"/>
                  <a:pt x="975" y="269"/>
                </a:cubicBezTo>
                <a:cubicBezTo>
                  <a:pt x="974" y="267"/>
                  <a:pt x="973" y="268"/>
                  <a:pt x="972" y="264"/>
                </a:cubicBezTo>
                <a:cubicBezTo>
                  <a:pt x="972" y="264"/>
                  <a:pt x="972" y="264"/>
                  <a:pt x="972" y="264"/>
                </a:cubicBezTo>
                <a:cubicBezTo>
                  <a:pt x="973" y="264"/>
                  <a:pt x="974" y="265"/>
                  <a:pt x="975" y="264"/>
                </a:cubicBezTo>
                <a:cubicBezTo>
                  <a:pt x="983" y="261"/>
                  <a:pt x="984" y="255"/>
                  <a:pt x="987" y="251"/>
                </a:cubicBezTo>
                <a:cubicBezTo>
                  <a:pt x="988" y="249"/>
                  <a:pt x="989" y="247"/>
                  <a:pt x="990" y="246"/>
                </a:cubicBezTo>
                <a:cubicBezTo>
                  <a:pt x="990" y="246"/>
                  <a:pt x="990" y="246"/>
                  <a:pt x="990" y="246"/>
                </a:cubicBezTo>
                <a:cubicBezTo>
                  <a:pt x="994" y="245"/>
                  <a:pt x="1000" y="244"/>
                  <a:pt x="1007" y="244"/>
                </a:cubicBezTo>
                <a:cubicBezTo>
                  <a:pt x="1009" y="244"/>
                  <a:pt x="1011" y="244"/>
                  <a:pt x="1013" y="245"/>
                </a:cubicBezTo>
                <a:cubicBezTo>
                  <a:pt x="1014" y="245"/>
                  <a:pt x="1014" y="245"/>
                  <a:pt x="1014" y="246"/>
                </a:cubicBezTo>
                <a:cubicBezTo>
                  <a:pt x="1015" y="249"/>
                  <a:pt x="1016" y="251"/>
                  <a:pt x="1018" y="253"/>
                </a:cubicBezTo>
                <a:cubicBezTo>
                  <a:pt x="1019" y="255"/>
                  <a:pt x="1023" y="256"/>
                  <a:pt x="1025" y="256"/>
                </a:cubicBezTo>
                <a:cubicBezTo>
                  <a:pt x="1028" y="256"/>
                  <a:pt x="1029" y="256"/>
                  <a:pt x="1031" y="256"/>
                </a:cubicBezTo>
                <a:cubicBezTo>
                  <a:pt x="1032" y="256"/>
                  <a:pt x="1033" y="256"/>
                  <a:pt x="1034" y="256"/>
                </a:cubicBezTo>
                <a:cubicBezTo>
                  <a:pt x="1034" y="256"/>
                  <a:pt x="1035" y="256"/>
                  <a:pt x="1035" y="256"/>
                </a:cubicBezTo>
                <a:cubicBezTo>
                  <a:pt x="1043" y="256"/>
                  <a:pt x="1049" y="251"/>
                  <a:pt x="1053" y="247"/>
                </a:cubicBezTo>
                <a:cubicBezTo>
                  <a:pt x="1057" y="242"/>
                  <a:pt x="1059" y="238"/>
                  <a:pt x="1060" y="234"/>
                </a:cubicBezTo>
                <a:cubicBezTo>
                  <a:pt x="1060" y="233"/>
                  <a:pt x="1060" y="232"/>
                  <a:pt x="1060" y="232"/>
                </a:cubicBezTo>
                <a:cubicBezTo>
                  <a:pt x="1060" y="223"/>
                  <a:pt x="1052" y="214"/>
                  <a:pt x="1038" y="214"/>
                </a:cubicBezTo>
                <a:cubicBezTo>
                  <a:pt x="1037" y="214"/>
                  <a:pt x="1035" y="214"/>
                  <a:pt x="1034" y="215"/>
                </a:cubicBezTo>
                <a:cubicBezTo>
                  <a:pt x="1031" y="215"/>
                  <a:pt x="1028" y="215"/>
                  <a:pt x="1023" y="215"/>
                </a:cubicBezTo>
                <a:cubicBezTo>
                  <a:pt x="1015" y="215"/>
                  <a:pt x="1005" y="215"/>
                  <a:pt x="995" y="215"/>
                </a:cubicBezTo>
                <a:cubicBezTo>
                  <a:pt x="989" y="215"/>
                  <a:pt x="983" y="215"/>
                  <a:pt x="978" y="215"/>
                </a:cubicBezTo>
                <a:cubicBezTo>
                  <a:pt x="973" y="216"/>
                  <a:pt x="969" y="216"/>
                  <a:pt x="965" y="220"/>
                </a:cubicBezTo>
                <a:cubicBezTo>
                  <a:pt x="965" y="220"/>
                  <a:pt x="965" y="220"/>
                  <a:pt x="965" y="220"/>
                </a:cubicBezTo>
                <a:cubicBezTo>
                  <a:pt x="961" y="224"/>
                  <a:pt x="961" y="230"/>
                  <a:pt x="960" y="234"/>
                </a:cubicBezTo>
                <a:cubicBezTo>
                  <a:pt x="960" y="240"/>
                  <a:pt x="961" y="246"/>
                  <a:pt x="961" y="248"/>
                </a:cubicBezTo>
                <a:cubicBezTo>
                  <a:pt x="960" y="250"/>
                  <a:pt x="960" y="251"/>
                  <a:pt x="960" y="253"/>
                </a:cubicBezTo>
                <a:cubicBezTo>
                  <a:pt x="960" y="256"/>
                  <a:pt x="961" y="258"/>
                  <a:pt x="963" y="261"/>
                </a:cubicBezTo>
                <a:cubicBezTo>
                  <a:pt x="963" y="261"/>
                  <a:pt x="964" y="262"/>
                  <a:pt x="965" y="263"/>
                </a:cubicBezTo>
                <a:cubicBezTo>
                  <a:pt x="964" y="263"/>
                  <a:pt x="963" y="263"/>
                  <a:pt x="963" y="263"/>
                </a:cubicBezTo>
                <a:cubicBezTo>
                  <a:pt x="957" y="263"/>
                  <a:pt x="950" y="264"/>
                  <a:pt x="945" y="264"/>
                </a:cubicBezTo>
                <a:cubicBezTo>
                  <a:pt x="945" y="264"/>
                  <a:pt x="945" y="264"/>
                  <a:pt x="945" y="264"/>
                </a:cubicBezTo>
                <a:cubicBezTo>
                  <a:pt x="945" y="264"/>
                  <a:pt x="946" y="263"/>
                  <a:pt x="948" y="262"/>
                </a:cubicBezTo>
                <a:cubicBezTo>
                  <a:pt x="950" y="260"/>
                  <a:pt x="954" y="257"/>
                  <a:pt x="955" y="252"/>
                </a:cubicBezTo>
                <a:cubicBezTo>
                  <a:pt x="955" y="247"/>
                  <a:pt x="959" y="229"/>
                  <a:pt x="959" y="229"/>
                </a:cubicBezTo>
                <a:cubicBezTo>
                  <a:pt x="959" y="228"/>
                  <a:pt x="959" y="227"/>
                  <a:pt x="959" y="225"/>
                </a:cubicBezTo>
                <a:cubicBezTo>
                  <a:pt x="958" y="225"/>
                  <a:pt x="956" y="216"/>
                  <a:pt x="945" y="215"/>
                </a:cubicBezTo>
                <a:cubicBezTo>
                  <a:pt x="942" y="215"/>
                  <a:pt x="940" y="216"/>
                  <a:pt x="938" y="217"/>
                </a:cubicBezTo>
                <a:cubicBezTo>
                  <a:pt x="931" y="221"/>
                  <a:pt x="928" y="223"/>
                  <a:pt x="927" y="222"/>
                </a:cubicBezTo>
                <a:cubicBezTo>
                  <a:pt x="927" y="222"/>
                  <a:pt x="928" y="222"/>
                  <a:pt x="924" y="222"/>
                </a:cubicBezTo>
                <a:cubicBezTo>
                  <a:pt x="924" y="222"/>
                  <a:pt x="924" y="222"/>
                  <a:pt x="924" y="222"/>
                </a:cubicBezTo>
                <a:cubicBezTo>
                  <a:pt x="924" y="222"/>
                  <a:pt x="923" y="219"/>
                  <a:pt x="920" y="216"/>
                </a:cubicBezTo>
                <a:cubicBezTo>
                  <a:pt x="918" y="212"/>
                  <a:pt x="914" y="208"/>
                  <a:pt x="907" y="208"/>
                </a:cubicBezTo>
                <a:cubicBezTo>
                  <a:pt x="906" y="208"/>
                  <a:pt x="905" y="208"/>
                  <a:pt x="903" y="208"/>
                </a:cubicBezTo>
                <a:cubicBezTo>
                  <a:pt x="888" y="211"/>
                  <a:pt x="884" y="223"/>
                  <a:pt x="882" y="224"/>
                </a:cubicBezTo>
                <a:cubicBezTo>
                  <a:pt x="881" y="226"/>
                  <a:pt x="875" y="228"/>
                  <a:pt x="874" y="228"/>
                </a:cubicBezTo>
                <a:cubicBezTo>
                  <a:pt x="874" y="228"/>
                  <a:pt x="874" y="228"/>
                  <a:pt x="874" y="228"/>
                </a:cubicBezTo>
                <a:cubicBezTo>
                  <a:pt x="870" y="224"/>
                  <a:pt x="854" y="215"/>
                  <a:pt x="854" y="215"/>
                </a:cubicBezTo>
                <a:cubicBezTo>
                  <a:pt x="853" y="214"/>
                  <a:pt x="852" y="214"/>
                  <a:pt x="851" y="214"/>
                </a:cubicBezTo>
                <a:cubicBezTo>
                  <a:pt x="858" y="213"/>
                  <a:pt x="866" y="210"/>
                  <a:pt x="870" y="210"/>
                </a:cubicBezTo>
                <a:cubicBezTo>
                  <a:pt x="871" y="210"/>
                  <a:pt x="871" y="210"/>
                  <a:pt x="872" y="210"/>
                </a:cubicBezTo>
                <a:cubicBezTo>
                  <a:pt x="875" y="213"/>
                  <a:pt x="878" y="214"/>
                  <a:pt x="882" y="214"/>
                </a:cubicBezTo>
                <a:cubicBezTo>
                  <a:pt x="885" y="214"/>
                  <a:pt x="888" y="213"/>
                  <a:pt x="891" y="212"/>
                </a:cubicBezTo>
                <a:cubicBezTo>
                  <a:pt x="893" y="210"/>
                  <a:pt x="896" y="208"/>
                  <a:pt x="897" y="203"/>
                </a:cubicBezTo>
                <a:cubicBezTo>
                  <a:pt x="897" y="202"/>
                  <a:pt x="896" y="202"/>
                  <a:pt x="896" y="201"/>
                </a:cubicBezTo>
                <a:cubicBezTo>
                  <a:pt x="896" y="201"/>
                  <a:pt x="896" y="201"/>
                  <a:pt x="896" y="201"/>
                </a:cubicBezTo>
                <a:cubicBezTo>
                  <a:pt x="896" y="199"/>
                  <a:pt x="897" y="194"/>
                  <a:pt x="897" y="188"/>
                </a:cubicBezTo>
                <a:cubicBezTo>
                  <a:pt x="897" y="185"/>
                  <a:pt x="897" y="182"/>
                  <a:pt x="896" y="179"/>
                </a:cubicBezTo>
                <a:cubicBezTo>
                  <a:pt x="895" y="176"/>
                  <a:pt x="891" y="172"/>
                  <a:pt x="887" y="172"/>
                </a:cubicBezTo>
                <a:cubicBezTo>
                  <a:pt x="886" y="172"/>
                  <a:pt x="886" y="172"/>
                  <a:pt x="885" y="172"/>
                </a:cubicBezTo>
                <a:cubicBezTo>
                  <a:pt x="872" y="173"/>
                  <a:pt x="860" y="184"/>
                  <a:pt x="848" y="188"/>
                </a:cubicBezTo>
                <a:cubicBezTo>
                  <a:pt x="842" y="191"/>
                  <a:pt x="838" y="196"/>
                  <a:pt x="838" y="202"/>
                </a:cubicBezTo>
                <a:cubicBezTo>
                  <a:pt x="838" y="206"/>
                  <a:pt x="841" y="212"/>
                  <a:pt x="847" y="213"/>
                </a:cubicBezTo>
                <a:cubicBezTo>
                  <a:pt x="843" y="213"/>
                  <a:pt x="838" y="213"/>
                  <a:pt x="832" y="212"/>
                </a:cubicBezTo>
                <a:cubicBezTo>
                  <a:pt x="828" y="211"/>
                  <a:pt x="823" y="211"/>
                  <a:pt x="820" y="210"/>
                </a:cubicBezTo>
                <a:cubicBezTo>
                  <a:pt x="819" y="210"/>
                  <a:pt x="818" y="209"/>
                  <a:pt x="817" y="209"/>
                </a:cubicBezTo>
                <a:cubicBezTo>
                  <a:pt x="815" y="202"/>
                  <a:pt x="807" y="193"/>
                  <a:pt x="792" y="193"/>
                </a:cubicBezTo>
                <a:cubicBezTo>
                  <a:pt x="790" y="193"/>
                  <a:pt x="788" y="193"/>
                  <a:pt x="787" y="193"/>
                </a:cubicBezTo>
                <a:cubicBezTo>
                  <a:pt x="777" y="194"/>
                  <a:pt x="766" y="198"/>
                  <a:pt x="756" y="201"/>
                </a:cubicBezTo>
                <a:cubicBezTo>
                  <a:pt x="751" y="203"/>
                  <a:pt x="746" y="204"/>
                  <a:pt x="742" y="206"/>
                </a:cubicBezTo>
                <a:cubicBezTo>
                  <a:pt x="741" y="206"/>
                  <a:pt x="739" y="207"/>
                  <a:pt x="738" y="207"/>
                </a:cubicBezTo>
                <a:cubicBezTo>
                  <a:pt x="737" y="207"/>
                  <a:pt x="737" y="207"/>
                  <a:pt x="737" y="207"/>
                </a:cubicBezTo>
                <a:cubicBezTo>
                  <a:pt x="737" y="207"/>
                  <a:pt x="737" y="207"/>
                  <a:pt x="737" y="207"/>
                </a:cubicBezTo>
                <a:cubicBezTo>
                  <a:pt x="735" y="207"/>
                  <a:pt x="733" y="208"/>
                  <a:pt x="732" y="209"/>
                </a:cubicBezTo>
                <a:cubicBezTo>
                  <a:pt x="730" y="211"/>
                  <a:pt x="729" y="213"/>
                  <a:pt x="729" y="214"/>
                </a:cubicBezTo>
                <a:cubicBezTo>
                  <a:pt x="730" y="216"/>
                  <a:pt x="730" y="217"/>
                  <a:pt x="730" y="218"/>
                </a:cubicBezTo>
                <a:cubicBezTo>
                  <a:pt x="728" y="218"/>
                  <a:pt x="725" y="219"/>
                  <a:pt x="722" y="220"/>
                </a:cubicBezTo>
                <a:cubicBezTo>
                  <a:pt x="719" y="221"/>
                  <a:pt x="715" y="225"/>
                  <a:pt x="714" y="230"/>
                </a:cubicBezTo>
                <a:cubicBezTo>
                  <a:pt x="714" y="231"/>
                  <a:pt x="714" y="232"/>
                  <a:pt x="714" y="233"/>
                </a:cubicBezTo>
                <a:cubicBezTo>
                  <a:pt x="713" y="236"/>
                  <a:pt x="715" y="239"/>
                  <a:pt x="717" y="240"/>
                </a:cubicBezTo>
                <a:cubicBezTo>
                  <a:pt x="723" y="244"/>
                  <a:pt x="729" y="243"/>
                  <a:pt x="736" y="243"/>
                </a:cubicBezTo>
                <a:cubicBezTo>
                  <a:pt x="736" y="243"/>
                  <a:pt x="736" y="243"/>
                  <a:pt x="737" y="243"/>
                </a:cubicBezTo>
                <a:cubicBezTo>
                  <a:pt x="742" y="243"/>
                  <a:pt x="748" y="243"/>
                  <a:pt x="754" y="243"/>
                </a:cubicBezTo>
                <a:cubicBezTo>
                  <a:pt x="761" y="242"/>
                  <a:pt x="766" y="242"/>
                  <a:pt x="771" y="240"/>
                </a:cubicBezTo>
                <a:cubicBezTo>
                  <a:pt x="772" y="239"/>
                  <a:pt x="783" y="236"/>
                  <a:pt x="788" y="236"/>
                </a:cubicBezTo>
                <a:cubicBezTo>
                  <a:pt x="788" y="236"/>
                  <a:pt x="788" y="236"/>
                  <a:pt x="788" y="236"/>
                </a:cubicBezTo>
                <a:cubicBezTo>
                  <a:pt x="788" y="240"/>
                  <a:pt x="789" y="241"/>
                  <a:pt x="790" y="244"/>
                </a:cubicBezTo>
                <a:cubicBezTo>
                  <a:pt x="790" y="244"/>
                  <a:pt x="789" y="244"/>
                  <a:pt x="789" y="244"/>
                </a:cubicBezTo>
                <a:cubicBezTo>
                  <a:pt x="788" y="243"/>
                  <a:pt x="787" y="243"/>
                  <a:pt x="786" y="243"/>
                </a:cubicBezTo>
                <a:cubicBezTo>
                  <a:pt x="779" y="243"/>
                  <a:pt x="774" y="246"/>
                  <a:pt x="771" y="248"/>
                </a:cubicBezTo>
                <a:cubicBezTo>
                  <a:pt x="767" y="250"/>
                  <a:pt x="766" y="251"/>
                  <a:pt x="762" y="251"/>
                </a:cubicBezTo>
                <a:cubicBezTo>
                  <a:pt x="761" y="251"/>
                  <a:pt x="760" y="251"/>
                  <a:pt x="758" y="250"/>
                </a:cubicBezTo>
                <a:cubicBezTo>
                  <a:pt x="754" y="250"/>
                  <a:pt x="750" y="249"/>
                  <a:pt x="747" y="249"/>
                </a:cubicBezTo>
                <a:cubicBezTo>
                  <a:pt x="739" y="249"/>
                  <a:pt x="734" y="251"/>
                  <a:pt x="727" y="251"/>
                </a:cubicBezTo>
                <a:cubicBezTo>
                  <a:pt x="725" y="251"/>
                  <a:pt x="723" y="251"/>
                  <a:pt x="721" y="250"/>
                </a:cubicBezTo>
                <a:cubicBezTo>
                  <a:pt x="715" y="250"/>
                  <a:pt x="711" y="249"/>
                  <a:pt x="706" y="249"/>
                </a:cubicBezTo>
                <a:cubicBezTo>
                  <a:pt x="703" y="249"/>
                  <a:pt x="699" y="250"/>
                  <a:pt x="695" y="252"/>
                </a:cubicBezTo>
                <a:cubicBezTo>
                  <a:pt x="692" y="254"/>
                  <a:pt x="689" y="258"/>
                  <a:pt x="688" y="262"/>
                </a:cubicBezTo>
                <a:cubicBezTo>
                  <a:pt x="687" y="267"/>
                  <a:pt x="685" y="273"/>
                  <a:pt x="683" y="278"/>
                </a:cubicBezTo>
                <a:cubicBezTo>
                  <a:pt x="682" y="280"/>
                  <a:pt x="681" y="282"/>
                  <a:pt x="681" y="283"/>
                </a:cubicBezTo>
                <a:cubicBezTo>
                  <a:pt x="680" y="283"/>
                  <a:pt x="680" y="283"/>
                  <a:pt x="680" y="283"/>
                </a:cubicBezTo>
                <a:cubicBezTo>
                  <a:pt x="677" y="284"/>
                  <a:pt x="674" y="285"/>
                  <a:pt x="672" y="286"/>
                </a:cubicBezTo>
                <a:cubicBezTo>
                  <a:pt x="670" y="288"/>
                  <a:pt x="667" y="290"/>
                  <a:pt x="667" y="295"/>
                </a:cubicBezTo>
                <a:cubicBezTo>
                  <a:pt x="667" y="299"/>
                  <a:pt x="670" y="302"/>
                  <a:pt x="674" y="304"/>
                </a:cubicBezTo>
                <a:cubicBezTo>
                  <a:pt x="677" y="305"/>
                  <a:pt x="681" y="306"/>
                  <a:pt x="687" y="306"/>
                </a:cubicBezTo>
                <a:cubicBezTo>
                  <a:pt x="696" y="308"/>
                  <a:pt x="695" y="309"/>
                  <a:pt x="697" y="311"/>
                </a:cubicBezTo>
                <a:cubicBezTo>
                  <a:pt x="698" y="312"/>
                  <a:pt x="699" y="314"/>
                  <a:pt x="702" y="316"/>
                </a:cubicBezTo>
                <a:cubicBezTo>
                  <a:pt x="705" y="318"/>
                  <a:pt x="709" y="319"/>
                  <a:pt x="713" y="319"/>
                </a:cubicBezTo>
                <a:cubicBezTo>
                  <a:pt x="714" y="319"/>
                  <a:pt x="715" y="319"/>
                  <a:pt x="716" y="319"/>
                </a:cubicBezTo>
                <a:cubicBezTo>
                  <a:pt x="726" y="318"/>
                  <a:pt x="736" y="318"/>
                  <a:pt x="744" y="316"/>
                </a:cubicBezTo>
                <a:cubicBezTo>
                  <a:pt x="752" y="315"/>
                  <a:pt x="760" y="311"/>
                  <a:pt x="763" y="303"/>
                </a:cubicBezTo>
                <a:cubicBezTo>
                  <a:pt x="764" y="302"/>
                  <a:pt x="764" y="301"/>
                  <a:pt x="764" y="300"/>
                </a:cubicBezTo>
                <a:cubicBezTo>
                  <a:pt x="770" y="308"/>
                  <a:pt x="782" y="326"/>
                  <a:pt x="782" y="326"/>
                </a:cubicBezTo>
                <a:cubicBezTo>
                  <a:pt x="783" y="327"/>
                  <a:pt x="783" y="327"/>
                  <a:pt x="783" y="327"/>
                </a:cubicBezTo>
                <a:cubicBezTo>
                  <a:pt x="783" y="327"/>
                  <a:pt x="791" y="335"/>
                  <a:pt x="798" y="340"/>
                </a:cubicBezTo>
                <a:cubicBezTo>
                  <a:pt x="797" y="340"/>
                  <a:pt x="796" y="341"/>
                  <a:pt x="795" y="341"/>
                </a:cubicBezTo>
                <a:cubicBezTo>
                  <a:pt x="795" y="341"/>
                  <a:pt x="794" y="341"/>
                  <a:pt x="793" y="340"/>
                </a:cubicBezTo>
                <a:cubicBezTo>
                  <a:pt x="787" y="335"/>
                  <a:pt x="780" y="334"/>
                  <a:pt x="773" y="332"/>
                </a:cubicBezTo>
                <a:cubicBezTo>
                  <a:pt x="767" y="331"/>
                  <a:pt x="762" y="329"/>
                  <a:pt x="761" y="328"/>
                </a:cubicBezTo>
                <a:cubicBezTo>
                  <a:pt x="756" y="324"/>
                  <a:pt x="750" y="322"/>
                  <a:pt x="743" y="321"/>
                </a:cubicBezTo>
                <a:cubicBezTo>
                  <a:pt x="737" y="320"/>
                  <a:pt x="729" y="320"/>
                  <a:pt x="723" y="320"/>
                </a:cubicBezTo>
                <a:cubicBezTo>
                  <a:pt x="717" y="320"/>
                  <a:pt x="712" y="320"/>
                  <a:pt x="709" y="321"/>
                </a:cubicBezTo>
                <a:cubicBezTo>
                  <a:pt x="709" y="321"/>
                  <a:pt x="708" y="321"/>
                  <a:pt x="707" y="321"/>
                </a:cubicBezTo>
                <a:cubicBezTo>
                  <a:pt x="704" y="321"/>
                  <a:pt x="700" y="320"/>
                  <a:pt x="696" y="319"/>
                </a:cubicBezTo>
                <a:cubicBezTo>
                  <a:pt x="691" y="318"/>
                  <a:pt x="688" y="317"/>
                  <a:pt x="684" y="316"/>
                </a:cubicBezTo>
                <a:cubicBezTo>
                  <a:pt x="680" y="317"/>
                  <a:pt x="678" y="318"/>
                  <a:pt x="676" y="320"/>
                </a:cubicBezTo>
                <a:cubicBezTo>
                  <a:pt x="672" y="322"/>
                  <a:pt x="669" y="324"/>
                  <a:pt x="666" y="327"/>
                </a:cubicBezTo>
                <a:cubicBezTo>
                  <a:pt x="664" y="323"/>
                  <a:pt x="662" y="319"/>
                  <a:pt x="660" y="317"/>
                </a:cubicBezTo>
                <a:cubicBezTo>
                  <a:pt x="659" y="314"/>
                  <a:pt x="656" y="312"/>
                  <a:pt x="653" y="312"/>
                </a:cubicBezTo>
                <a:cubicBezTo>
                  <a:pt x="647" y="313"/>
                  <a:pt x="645" y="316"/>
                  <a:pt x="643" y="318"/>
                </a:cubicBezTo>
                <a:cubicBezTo>
                  <a:pt x="642" y="319"/>
                  <a:pt x="641" y="320"/>
                  <a:pt x="640" y="320"/>
                </a:cubicBezTo>
                <a:cubicBezTo>
                  <a:pt x="640" y="320"/>
                  <a:pt x="640" y="320"/>
                  <a:pt x="640" y="321"/>
                </a:cubicBezTo>
                <a:cubicBezTo>
                  <a:pt x="637" y="320"/>
                  <a:pt x="627" y="314"/>
                  <a:pt x="617" y="314"/>
                </a:cubicBezTo>
                <a:cubicBezTo>
                  <a:pt x="613" y="314"/>
                  <a:pt x="610" y="314"/>
                  <a:pt x="607" y="316"/>
                </a:cubicBezTo>
                <a:cubicBezTo>
                  <a:pt x="600" y="318"/>
                  <a:pt x="596" y="322"/>
                  <a:pt x="594" y="323"/>
                </a:cubicBezTo>
                <a:cubicBezTo>
                  <a:pt x="592" y="324"/>
                  <a:pt x="592" y="325"/>
                  <a:pt x="586" y="325"/>
                </a:cubicBezTo>
                <a:cubicBezTo>
                  <a:pt x="584" y="325"/>
                  <a:pt x="583" y="325"/>
                  <a:pt x="581" y="325"/>
                </a:cubicBezTo>
                <a:cubicBezTo>
                  <a:pt x="564" y="324"/>
                  <a:pt x="560" y="321"/>
                  <a:pt x="552" y="320"/>
                </a:cubicBezTo>
                <a:cubicBezTo>
                  <a:pt x="551" y="320"/>
                  <a:pt x="549" y="320"/>
                  <a:pt x="548" y="321"/>
                </a:cubicBezTo>
                <a:cubicBezTo>
                  <a:pt x="541" y="322"/>
                  <a:pt x="541" y="322"/>
                  <a:pt x="541" y="322"/>
                </a:cubicBezTo>
                <a:cubicBezTo>
                  <a:pt x="538" y="323"/>
                  <a:pt x="536" y="326"/>
                  <a:pt x="536" y="329"/>
                </a:cubicBezTo>
                <a:cubicBezTo>
                  <a:pt x="536" y="329"/>
                  <a:pt x="537" y="331"/>
                  <a:pt x="532" y="334"/>
                </a:cubicBezTo>
                <a:cubicBezTo>
                  <a:pt x="529" y="336"/>
                  <a:pt x="527" y="338"/>
                  <a:pt x="525" y="339"/>
                </a:cubicBezTo>
                <a:cubicBezTo>
                  <a:pt x="524" y="340"/>
                  <a:pt x="523" y="341"/>
                  <a:pt x="522" y="341"/>
                </a:cubicBezTo>
                <a:cubicBezTo>
                  <a:pt x="522" y="341"/>
                  <a:pt x="522" y="341"/>
                  <a:pt x="522" y="341"/>
                </a:cubicBezTo>
                <a:cubicBezTo>
                  <a:pt x="522" y="341"/>
                  <a:pt x="521" y="340"/>
                  <a:pt x="521" y="340"/>
                </a:cubicBezTo>
                <a:cubicBezTo>
                  <a:pt x="515" y="330"/>
                  <a:pt x="507" y="329"/>
                  <a:pt x="505" y="328"/>
                </a:cubicBezTo>
                <a:cubicBezTo>
                  <a:pt x="505" y="328"/>
                  <a:pt x="503" y="327"/>
                  <a:pt x="500" y="325"/>
                </a:cubicBezTo>
                <a:cubicBezTo>
                  <a:pt x="497" y="323"/>
                  <a:pt x="492" y="322"/>
                  <a:pt x="487" y="322"/>
                </a:cubicBezTo>
                <a:cubicBezTo>
                  <a:pt x="484" y="322"/>
                  <a:pt x="480" y="323"/>
                  <a:pt x="476" y="324"/>
                </a:cubicBezTo>
                <a:cubicBezTo>
                  <a:pt x="474" y="324"/>
                  <a:pt x="472" y="324"/>
                  <a:pt x="469" y="324"/>
                </a:cubicBezTo>
                <a:cubicBezTo>
                  <a:pt x="463" y="324"/>
                  <a:pt x="456" y="323"/>
                  <a:pt x="450" y="321"/>
                </a:cubicBezTo>
                <a:cubicBezTo>
                  <a:pt x="444" y="320"/>
                  <a:pt x="440" y="318"/>
                  <a:pt x="435" y="318"/>
                </a:cubicBezTo>
                <a:cubicBezTo>
                  <a:pt x="432" y="318"/>
                  <a:pt x="389" y="315"/>
                  <a:pt x="382" y="313"/>
                </a:cubicBezTo>
                <a:cubicBezTo>
                  <a:pt x="375" y="311"/>
                  <a:pt x="364" y="310"/>
                  <a:pt x="354" y="310"/>
                </a:cubicBezTo>
                <a:cubicBezTo>
                  <a:pt x="347" y="310"/>
                  <a:pt x="341" y="310"/>
                  <a:pt x="337" y="311"/>
                </a:cubicBezTo>
                <a:cubicBezTo>
                  <a:pt x="330" y="312"/>
                  <a:pt x="313" y="312"/>
                  <a:pt x="307" y="312"/>
                </a:cubicBezTo>
                <a:cubicBezTo>
                  <a:pt x="306" y="311"/>
                  <a:pt x="303" y="309"/>
                  <a:pt x="300" y="307"/>
                </a:cubicBezTo>
                <a:cubicBezTo>
                  <a:pt x="297" y="305"/>
                  <a:pt x="295" y="303"/>
                  <a:pt x="292" y="302"/>
                </a:cubicBezTo>
                <a:cubicBezTo>
                  <a:pt x="290" y="300"/>
                  <a:pt x="289" y="299"/>
                  <a:pt x="284" y="299"/>
                </a:cubicBezTo>
                <a:cubicBezTo>
                  <a:pt x="281" y="299"/>
                  <a:pt x="279" y="300"/>
                  <a:pt x="277" y="300"/>
                </a:cubicBezTo>
                <a:cubicBezTo>
                  <a:pt x="274" y="301"/>
                  <a:pt x="272" y="302"/>
                  <a:pt x="270" y="302"/>
                </a:cubicBezTo>
                <a:cubicBezTo>
                  <a:pt x="268" y="302"/>
                  <a:pt x="268" y="301"/>
                  <a:pt x="267" y="301"/>
                </a:cubicBezTo>
                <a:cubicBezTo>
                  <a:pt x="260" y="292"/>
                  <a:pt x="249" y="288"/>
                  <a:pt x="249" y="288"/>
                </a:cubicBezTo>
                <a:cubicBezTo>
                  <a:pt x="247" y="287"/>
                  <a:pt x="245" y="287"/>
                  <a:pt x="244" y="288"/>
                </a:cubicBezTo>
                <a:cubicBezTo>
                  <a:pt x="242" y="289"/>
                  <a:pt x="241" y="290"/>
                  <a:pt x="241" y="292"/>
                </a:cubicBezTo>
                <a:cubicBezTo>
                  <a:pt x="241" y="292"/>
                  <a:pt x="240" y="295"/>
                  <a:pt x="238" y="299"/>
                </a:cubicBezTo>
                <a:cubicBezTo>
                  <a:pt x="236" y="302"/>
                  <a:pt x="233" y="306"/>
                  <a:pt x="232" y="306"/>
                </a:cubicBezTo>
                <a:cubicBezTo>
                  <a:pt x="226" y="308"/>
                  <a:pt x="213" y="312"/>
                  <a:pt x="208" y="312"/>
                </a:cubicBezTo>
                <a:cubicBezTo>
                  <a:pt x="208" y="312"/>
                  <a:pt x="208" y="312"/>
                  <a:pt x="208" y="312"/>
                </a:cubicBezTo>
                <a:cubicBezTo>
                  <a:pt x="206" y="311"/>
                  <a:pt x="205" y="311"/>
                  <a:pt x="204" y="311"/>
                </a:cubicBezTo>
                <a:cubicBezTo>
                  <a:pt x="198" y="311"/>
                  <a:pt x="190" y="314"/>
                  <a:pt x="183" y="317"/>
                </a:cubicBezTo>
                <a:cubicBezTo>
                  <a:pt x="176" y="320"/>
                  <a:pt x="169" y="322"/>
                  <a:pt x="169" y="323"/>
                </a:cubicBezTo>
                <a:cubicBezTo>
                  <a:pt x="168" y="324"/>
                  <a:pt x="168" y="324"/>
                  <a:pt x="168" y="324"/>
                </a:cubicBezTo>
                <a:cubicBezTo>
                  <a:pt x="168" y="324"/>
                  <a:pt x="163" y="328"/>
                  <a:pt x="159" y="332"/>
                </a:cubicBezTo>
                <a:cubicBezTo>
                  <a:pt x="156" y="334"/>
                  <a:pt x="154" y="336"/>
                  <a:pt x="152" y="338"/>
                </a:cubicBezTo>
                <a:cubicBezTo>
                  <a:pt x="151" y="338"/>
                  <a:pt x="150" y="340"/>
                  <a:pt x="149" y="340"/>
                </a:cubicBezTo>
                <a:cubicBezTo>
                  <a:pt x="149" y="340"/>
                  <a:pt x="149" y="340"/>
                  <a:pt x="149" y="340"/>
                </a:cubicBezTo>
                <a:cubicBezTo>
                  <a:pt x="146" y="336"/>
                  <a:pt x="140" y="337"/>
                  <a:pt x="134" y="337"/>
                </a:cubicBezTo>
                <a:cubicBezTo>
                  <a:pt x="132" y="337"/>
                  <a:pt x="130" y="337"/>
                  <a:pt x="128" y="338"/>
                </a:cubicBezTo>
                <a:cubicBezTo>
                  <a:pt x="126" y="338"/>
                  <a:pt x="122" y="340"/>
                  <a:pt x="122" y="345"/>
                </a:cubicBezTo>
                <a:cubicBezTo>
                  <a:pt x="122" y="347"/>
                  <a:pt x="122" y="348"/>
                  <a:pt x="122" y="348"/>
                </a:cubicBezTo>
                <a:cubicBezTo>
                  <a:pt x="123" y="349"/>
                  <a:pt x="123" y="354"/>
                  <a:pt x="126" y="359"/>
                </a:cubicBezTo>
                <a:cubicBezTo>
                  <a:pt x="129" y="365"/>
                  <a:pt x="136" y="369"/>
                  <a:pt x="146" y="369"/>
                </a:cubicBezTo>
                <a:cubicBezTo>
                  <a:pt x="155" y="369"/>
                  <a:pt x="158" y="370"/>
                  <a:pt x="161" y="372"/>
                </a:cubicBezTo>
                <a:cubicBezTo>
                  <a:pt x="163" y="373"/>
                  <a:pt x="166" y="377"/>
                  <a:pt x="172" y="378"/>
                </a:cubicBezTo>
                <a:cubicBezTo>
                  <a:pt x="176" y="379"/>
                  <a:pt x="178" y="379"/>
                  <a:pt x="179" y="379"/>
                </a:cubicBezTo>
                <a:cubicBezTo>
                  <a:pt x="180" y="380"/>
                  <a:pt x="182" y="381"/>
                  <a:pt x="186" y="385"/>
                </a:cubicBezTo>
                <a:cubicBezTo>
                  <a:pt x="188" y="387"/>
                  <a:pt x="189" y="388"/>
                  <a:pt x="189" y="390"/>
                </a:cubicBezTo>
                <a:cubicBezTo>
                  <a:pt x="189" y="390"/>
                  <a:pt x="189" y="390"/>
                  <a:pt x="189" y="390"/>
                </a:cubicBezTo>
                <a:cubicBezTo>
                  <a:pt x="179" y="388"/>
                  <a:pt x="168" y="385"/>
                  <a:pt x="163" y="380"/>
                </a:cubicBezTo>
                <a:cubicBezTo>
                  <a:pt x="156" y="373"/>
                  <a:pt x="156" y="373"/>
                  <a:pt x="156" y="373"/>
                </a:cubicBezTo>
                <a:cubicBezTo>
                  <a:pt x="155" y="372"/>
                  <a:pt x="152" y="371"/>
                  <a:pt x="149" y="372"/>
                </a:cubicBezTo>
                <a:cubicBezTo>
                  <a:pt x="138" y="379"/>
                  <a:pt x="138" y="379"/>
                  <a:pt x="138" y="379"/>
                </a:cubicBezTo>
                <a:cubicBezTo>
                  <a:pt x="120" y="381"/>
                  <a:pt x="100" y="390"/>
                  <a:pt x="100" y="390"/>
                </a:cubicBezTo>
                <a:cubicBezTo>
                  <a:pt x="97" y="392"/>
                  <a:pt x="96" y="395"/>
                  <a:pt x="97" y="398"/>
                </a:cubicBezTo>
                <a:cubicBezTo>
                  <a:pt x="97" y="399"/>
                  <a:pt x="104" y="412"/>
                  <a:pt x="116" y="421"/>
                </a:cubicBezTo>
                <a:cubicBezTo>
                  <a:pt x="129" y="431"/>
                  <a:pt x="152" y="430"/>
                  <a:pt x="156" y="431"/>
                </a:cubicBezTo>
                <a:cubicBezTo>
                  <a:pt x="156" y="431"/>
                  <a:pt x="156" y="431"/>
                  <a:pt x="156" y="431"/>
                </a:cubicBezTo>
                <a:cubicBezTo>
                  <a:pt x="148" y="433"/>
                  <a:pt x="145" y="435"/>
                  <a:pt x="141" y="439"/>
                </a:cubicBezTo>
                <a:cubicBezTo>
                  <a:pt x="137" y="443"/>
                  <a:pt x="133" y="445"/>
                  <a:pt x="130" y="448"/>
                </a:cubicBezTo>
                <a:cubicBezTo>
                  <a:pt x="126" y="451"/>
                  <a:pt x="122" y="455"/>
                  <a:pt x="122" y="461"/>
                </a:cubicBezTo>
                <a:cubicBezTo>
                  <a:pt x="122" y="463"/>
                  <a:pt x="123" y="466"/>
                  <a:pt x="124" y="468"/>
                </a:cubicBezTo>
                <a:cubicBezTo>
                  <a:pt x="126" y="473"/>
                  <a:pt x="129" y="477"/>
                  <a:pt x="132" y="481"/>
                </a:cubicBezTo>
                <a:cubicBezTo>
                  <a:pt x="131" y="480"/>
                  <a:pt x="129" y="480"/>
                  <a:pt x="128" y="480"/>
                </a:cubicBezTo>
                <a:cubicBezTo>
                  <a:pt x="127" y="480"/>
                  <a:pt x="127" y="480"/>
                  <a:pt x="127" y="480"/>
                </a:cubicBezTo>
                <a:cubicBezTo>
                  <a:pt x="123" y="480"/>
                  <a:pt x="121" y="480"/>
                  <a:pt x="119" y="481"/>
                </a:cubicBezTo>
                <a:cubicBezTo>
                  <a:pt x="116" y="482"/>
                  <a:pt x="115" y="483"/>
                  <a:pt x="110" y="485"/>
                </a:cubicBezTo>
                <a:cubicBezTo>
                  <a:pt x="108" y="485"/>
                  <a:pt x="105" y="489"/>
                  <a:pt x="105" y="492"/>
                </a:cubicBezTo>
                <a:cubicBezTo>
                  <a:pt x="105" y="496"/>
                  <a:pt x="107" y="497"/>
                  <a:pt x="108" y="499"/>
                </a:cubicBezTo>
                <a:cubicBezTo>
                  <a:pt x="110" y="501"/>
                  <a:pt x="113" y="503"/>
                  <a:pt x="115" y="505"/>
                </a:cubicBezTo>
                <a:cubicBezTo>
                  <a:pt x="118" y="506"/>
                  <a:pt x="121" y="508"/>
                  <a:pt x="125" y="508"/>
                </a:cubicBezTo>
                <a:cubicBezTo>
                  <a:pt x="130" y="507"/>
                  <a:pt x="132" y="504"/>
                  <a:pt x="135" y="501"/>
                </a:cubicBezTo>
                <a:cubicBezTo>
                  <a:pt x="137" y="498"/>
                  <a:pt x="138" y="495"/>
                  <a:pt x="138" y="491"/>
                </a:cubicBezTo>
                <a:cubicBezTo>
                  <a:pt x="138" y="490"/>
                  <a:pt x="138" y="489"/>
                  <a:pt x="138" y="488"/>
                </a:cubicBezTo>
                <a:cubicBezTo>
                  <a:pt x="140" y="491"/>
                  <a:pt x="142" y="493"/>
                  <a:pt x="144" y="495"/>
                </a:cubicBezTo>
                <a:cubicBezTo>
                  <a:pt x="145" y="496"/>
                  <a:pt x="145" y="497"/>
                  <a:pt x="146" y="498"/>
                </a:cubicBezTo>
                <a:cubicBezTo>
                  <a:pt x="146" y="498"/>
                  <a:pt x="146" y="499"/>
                  <a:pt x="146" y="499"/>
                </a:cubicBezTo>
                <a:cubicBezTo>
                  <a:pt x="147" y="503"/>
                  <a:pt x="152" y="506"/>
                  <a:pt x="155" y="506"/>
                </a:cubicBezTo>
                <a:cubicBezTo>
                  <a:pt x="161" y="506"/>
                  <a:pt x="165" y="503"/>
                  <a:pt x="170" y="500"/>
                </a:cubicBezTo>
                <a:cubicBezTo>
                  <a:pt x="174" y="497"/>
                  <a:pt x="178" y="495"/>
                  <a:pt x="180" y="490"/>
                </a:cubicBezTo>
                <a:cubicBezTo>
                  <a:pt x="180" y="491"/>
                  <a:pt x="180" y="492"/>
                  <a:pt x="180" y="494"/>
                </a:cubicBezTo>
                <a:cubicBezTo>
                  <a:pt x="179" y="495"/>
                  <a:pt x="179" y="497"/>
                  <a:pt x="179" y="499"/>
                </a:cubicBezTo>
                <a:cubicBezTo>
                  <a:pt x="179" y="507"/>
                  <a:pt x="184" y="513"/>
                  <a:pt x="188" y="515"/>
                </a:cubicBezTo>
                <a:cubicBezTo>
                  <a:pt x="192" y="518"/>
                  <a:pt x="196" y="519"/>
                  <a:pt x="196" y="519"/>
                </a:cubicBezTo>
                <a:cubicBezTo>
                  <a:pt x="199" y="519"/>
                  <a:pt x="201" y="518"/>
                  <a:pt x="202" y="515"/>
                </a:cubicBezTo>
                <a:cubicBezTo>
                  <a:pt x="202" y="515"/>
                  <a:pt x="204" y="513"/>
                  <a:pt x="205" y="510"/>
                </a:cubicBezTo>
                <a:cubicBezTo>
                  <a:pt x="206" y="510"/>
                  <a:pt x="206" y="510"/>
                  <a:pt x="206" y="509"/>
                </a:cubicBezTo>
                <a:cubicBezTo>
                  <a:pt x="208" y="511"/>
                  <a:pt x="210" y="513"/>
                  <a:pt x="212" y="515"/>
                </a:cubicBezTo>
                <a:cubicBezTo>
                  <a:pt x="215" y="518"/>
                  <a:pt x="218" y="521"/>
                  <a:pt x="218" y="521"/>
                </a:cubicBezTo>
                <a:cubicBezTo>
                  <a:pt x="220" y="523"/>
                  <a:pt x="224" y="524"/>
                  <a:pt x="226" y="522"/>
                </a:cubicBezTo>
                <a:cubicBezTo>
                  <a:pt x="226" y="522"/>
                  <a:pt x="228" y="520"/>
                  <a:pt x="231" y="519"/>
                </a:cubicBezTo>
                <a:cubicBezTo>
                  <a:pt x="233" y="517"/>
                  <a:pt x="236" y="516"/>
                  <a:pt x="237" y="516"/>
                </a:cubicBezTo>
                <a:cubicBezTo>
                  <a:pt x="237" y="516"/>
                  <a:pt x="237" y="516"/>
                  <a:pt x="237" y="517"/>
                </a:cubicBezTo>
                <a:cubicBezTo>
                  <a:pt x="237" y="517"/>
                  <a:pt x="236" y="519"/>
                  <a:pt x="234" y="521"/>
                </a:cubicBezTo>
                <a:cubicBezTo>
                  <a:pt x="231" y="523"/>
                  <a:pt x="228" y="525"/>
                  <a:pt x="225" y="527"/>
                </a:cubicBezTo>
                <a:cubicBezTo>
                  <a:pt x="222" y="529"/>
                  <a:pt x="214" y="532"/>
                  <a:pt x="206" y="536"/>
                </a:cubicBezTo>
                <a:cubicBezTo>
                  <a:pt x="198" y="540"/>
                  <a:pt x="191" y="544"/>
                  <a:pt x="187" y="546"/>
                </a:cubicBezTo>
                <a:cubicBezTo>
                  <a:pt x="184" y="548"/>
                  <a:pt x="177" y="552"/>
                  <a:pt x="171" y="556"/>
                </a:cubicBezTo>
                <a:cubicBezTo>
                  <a:pt x="167" y="558"/>
                  <a:pt x="164" y="559"/>
                  <a:pt x="161" y="560"/>
                </a:cubicBezTo>
                <a:cubicBezTo>
                  <a:pt x="160" y="561"/>
                  <a:pt x="159" y="560"/>
                  <a:pt x="158" y="561"/>
                </a:cubicBezTo>
                <a:cubicBezTo>
                  <a:pt x="157" y="561"/>
                  <a:pt x="157" y="560"/>
                  <a:pt x="157" y="560"/>
                </a:cubicBezTo>
                <a:cubicBezTo>
                  <a:pt x="157" y="560"/>
                  <a:pt x="157" y="560"/>
                  <a:pt x="157" y="560"/>
                </a:cubicBezTo>
                <a:cubicBezTo>
                  <a:pt x="152" y="560"/>
                  <a:pt x="149" y="564"/>
                  <a:pt x="148" y="567"/>
                </a:cubicBezTo>
                <a:cubicBezTo>
                  <a:pt x="147" y="569"/>
                  <a:pt x="146" y="573"/>
                  <a:pt x="146" y="576"/>
                </a:cubicBezTo>
                <a:cubicBezTo>
                  <a:pt x="146" y="578"/>
                  <a:pt x="146" y="582"/>
                  <a:pt x="148" y="584"/>
                </a:cubicBezTo>
                <a:cubicBezTo>
                  <a:pt x="150" y="587"/>
                  <a:pt x="154" y="589"/>
                  <a:pt x="158" y="589"/>
                </a:cubicBezTo>
                <a:cubicBezTo>
                  <a:pt x="158" y="589"/>
                  <a:pt x="159" y="589"/>
                  <a:pt x="160" y="589"/>
                </a:cubicBezTo>
                <a:cubicBezTo>
                  <a:pt x="172" y="587"/>
                  <a:pt x="200" y="576"/>
                  <a:pt x="209" y="571"/>
                </a:cubicBezTo>
                <a:cubicBezTo>
                  <a:pt x="210" y="571"/>
                  <a:pt x="210" y="572"/>
                  <a:pt x="210" y="572"/>
                </a:cubicBezTo>
                <a:cubicBezTo>
                  <a:pt x="210" y="572"/>
                  <a:pt x="210" y="572"/>
                  <a:pt x="210" y="572"/>
                </a:cubicBezTo>
                <a:cubicBezTo>
                  <a:pt x="210" y="572"/>
                  <a:pt x="210" y="571"/>
                  <a:pt x="211" y="571"/>
                </a:cubicBezTo>
                <a:cubicBezTo>
                  <a:pt x="212" y="571"/>
                  <a:pt x="213" y="571"/>
                  <a:pt x="215" y="571"/>
                </a:cubicBezTo>
                <a:cubicBezTo>
                  <a:pt x="220" y="571"/>
                  <a:pt x="225" y="569"/>
                  <a:pt x="235" y="564"/>
                </a:cubicBezTo>
                <a:cubicBezTo>
                  <a:pt x="245" y="558"/>
                  <a:pt x="253" y="552"/>
                  <a:pt x="259" y="548"/>
                </a:cubicBezTo>
                <a:cubicBezTo>
                  <a:pt x="262" y="546"/>
                  <a:pt x="265" y="544"/>
                  <a:pt x="267" y="543"/>
                </a:cubicBezTo>
                <a:cubicBezTo>
                  <a:pt x="268" y="543"/>
                  <a:pt x="269" y="542"/>
                  <a:pt x="269" y="542"/>
                </a:cubicBezTo>
                <a:cubicBezTo>
                  <a:pt x="270" y="542"/>
                  <a:pt x="270" y="542"/>
                  <a:pt x="270" y="543"/>
                </a:cubicBezTo>
                <a:cubicBezTo>
                  <a:pt x="272" y="544"/>
                  <a:pt x="275" y="553"/>
                  <a:pt x="285" y="556"/>
                </a:cubicBezTo>
                <a:cubicBezTo>
                  <a:pt x="287" y="556"/>
                  <a:pt x="288" y="557"/>
                  <a:pt x="290" y="557"/>
                </a:cubicBezTo>
                <a:cubicBezTo>
                  <a:pt x="302" y="556"/>
                  <a:pt x="309" y="545"/>
                  <a:pt x="313" y="543"/>
                </a:cubicBezTo>
                <a:cubicBezTo>
                  <a:pt x="320" y="537"/>
                  <a:pt x="323" y="529"/>
                  <a:pt x="323" y="522"/>
                </a:cubicBezTo>
                <a:cubicBezTo>
                  <a:pt x="323" y="520"/>
                  <a:pt x="323" y="518"/>
                  <a:pt x="322" y="516"/>
                </a:cubicBezTo>
                <a:cubicBezTo>
                  <a:pt x="321" y="514"/>
                  <a:pt x="318" y="512"/>
                  <a:pt x="315" y="512"/>
                </a:cubicBezTo>
                <a:cubicBezTo>
                  <a:pt x="314" y="512"/>
                  <a:pt x="314" y="512"/>
                  <a:pt x="313" y="512"/>
                </a:cubicBezTo>
                <a:cubicBezTo>
                  <a:pt x="312" y="513"/>
                  <a:pt x="311" y="513"/>
                  <a:pt x="310" y="513"/>
                </a:cubicBezTo>
                <a:cubicBezTo>
                  <a:pt x="313" y="510"/>
                  <a:pt x="315" y="506"/>
                  <a:pt x="316" y="500"/>
                </a:cubicBezTo>
                <a:cubicBezTo>
                  <a:pt x="316" y="496"/>
                  <a:pt x="317" y="489"/>
                  <a:pt x="321" y="486"/>
                </a:cubicBezTo>
                <a:cubicBezTo>
                  <a:pt x="321" y="487"/>
                  <a:pt x="320" y="489"/>
                  <a:pt x="319" y="492"/>
                </a:cubicBezTo>
                <a:cubicBezTo>
                  <a:pt x="318" y="494"/>
                  <a:pt x="318" y="497"/>
                  <a:pt x="318" y="499"/>
                </a:cubicBezTo>
                <a:cubicBezTo>
                  <a:pt x="318" y="502"/>
                  <a:pt x="318" y="505"/>
                  <a:pt x="321" y="507"/>
                </a:cubicBezTo>
                <a:cubicBezTo>
                  <a:pt x="323" y="509"/>
                  <a:pt x="326" y="510"/>
                  <a:pt x="328" y="510"/>
                </a:cubicBezTo>
                <a:cubicBezTo>
                  <a:pt x="336" y="509"/>
                  <a:pt x="342" y="505"/>
                  <a:pt x="347" y="501"/>
                </a:cubicBezTo>
                <a:cubicBezTo>
                  <a:pt x="350" y="498"/>
                  <a:pt x="350" y="499"/>
                  <a:pt x="354" y="498"/>
                </a:cubicBezTo>
                <a:cubicBezTo>
                  <a:pt x="358" y="497"/>
                  <a:pt x="364" y="495"/>
                  <a:pt x="371" y="490"/>
                </a:cubicBezTo>
                <a:cubicBezTo>
                  <a:pt x="378" y="485"/>
                  <a:pt x="381" y="481"/>
                  <a:pt x="384" y="478"/>
                </a:cubicBezTo>
                <a:cubicBezTo>
                  <a:pt x="386" y="476"/>
                  <a:pt x="385" y="476"/>
                  <a:pt x="387" y="476"/>
                </a:cubicBezTo>
                <a:cubicBezTo>
                  <a:pt x="387" y="476"/>
                  <a:pt x="387" y="476"/>
                  <a:pt x="387" y="476"/>
                </a:cubicBezTo>
                <a:cubicBezTo>
                  <a:pt x="389" y="477"/>
                  <a:pt x="392" y="479"/>
                  <a:pt x="396" y="482"/>
                </a:cubicBezTo>
                <a:cubicBezTo>
                  <a:pt x="400" y="484"/>
                  <a:pt x="404" y="487"/>
                  <a:pt x="410" y="487"/>
                </a:cubicBezTo>
                <a:cubicBezTo>
                  <a:pt x="412" y="487"/>
                  <a:pt x="415" y="488"/>
                  <a:pt x="417" y="484"/>
                </a:cubicBezTo>
                <a:cubicBezTo>
                  <a:pt x="417" y="484"/>
                  <a:pt x="417" y="484"/>
                  <a:pt x="417" y="484"/>
                </a:cubicBezTo>
                <a:cubicBezTo>
                  <a:pt x="417" y="484"/>
                  <a:pt x="418" y="484"/>
                  <a:pt x="418" y="484"/>
                </a:cubicBezTo>
                <a:cubicBezTo>
                  <a:pt x="421" y="484"/>
                  <a:pt x="427" y="486"/>
                  <a:pt x="433" y="488"/>
                </a:cubicBezTo>
                <a:cubicBezTo>
                  <a:pt x="439" y="490"/>
                  <a:pt x="445" y="492"/>
                  <a:pt x="451" y="493"/>
                </a:cubicBezTo>
                <a:cubicBezTo>
                  <a:pt x="455" y="492"/>
                  <a:pt x="467" y="497"/>
                  <a:pt x="479" y="501"/>
                </a:cubicBezTo>
                <a:cubicBezTo>
                  <a:pt x="484" y="503"/>
                  <a:pt x="490" y="506"/>
                  <a:pt x="495" y="507"/>
                </a:cubicBezTo>
                <a:cubicBezTo>
                  <a:pt x="500" y="509"/>
                  <a:pt x="503" y="510"/>
                  <a:pt x="507" y="511"/>
                </a:cubicBezTo>
                <a:cubicBezTo>
                  <a:pt x="508" y="510"/>
                  <a:pt x="514" y="512"/>
                  <a:pt x="520" y="516"/>
                </a:cubicBezTo>
                <a:cubicBezTo>
                  <a:pt x="525" y="520"/>
                  <a:pt x="529" y="526"/>
                  <a:pt x="529" y="532"/>
                </a:cubicBezTo>
                <a:cubicBezTo>
                  <a:pt x="530" y="541"/>
                  <a:pt x="531" y="546"/>
                  <a:pt x="535" y="550"/>
                </a:cubicBezTo>
                <a:cubicBezTo>
                  <a:pt x="539" y="555"/>
                  <a:pt x="544" y="555"/>
                  <a:pt x="548" y="555"/>
                </a:cubicBezTo>
                <a:cubicBezTo>
                  <a:pt x="549" y="555"/>
                  <a:pt x="550" y="555"/>
                  <a:pt x="550" y="555"/>
                </a:cubicBezTo>
                <a:cubicBezTo>
                  <a:pt x="552" y="555"/>
                  <a:pt x="558" y="556"/>
                  <a:pt x="562" y="558"/>
                </a:cubicBezTo>
                <a:cubicBezTo>
                  <a:pt x="564" y="559"/>
                  <a:pt x="565" y="561"/>
                  <a:pt x="566" y="562"/>
                </a:cubicBezTo>
                <a:cubicBezTo>
                  <a:pt x="567" y="562"/>
                  <a:pt x="567" y="562"/>
                  <a:pt x="567" y="563"/>
                </a:cubicBezTo>
                <a:cubicBezTo>
                  <a:pt x="567" y="565"/>
                  <a:pt x="566" y="573"/>
                  <a:pt x="566" y="580"/>
                </a:cubicBezTo>
                <a:cubicBezTo>
                  <a:pt x="567" y="590"/>
                  <a:pt x="567" y="602"/>
                  <a:pt x="577" y="609"/>
                </a:cubicBezTo>
                <a:cubicBezTo>
                  <a:pt x="582" y="612"/>
                  <a:pt x="587" y="616"/>
                  <a:pt x="591" y="619"/>
                </a:cubicBezTo>
                <a:cubicBezTo>
                  <a:pt x="596" y="622"/>
                  <a:pt x="599" y="625"/>
                  <a:pt x="605" y="625"/>
                </a:cubicBezTo>
                <a:cubicBezTo>
                  <a:pt x="607" y="625"/>
                  <a:pt x="608" y="625"/>
                  <a:pt x="610" y="624"/>
                </a:cubicBezTo>
                <a:cubicBezTo>
                  <a:pt x="615" y="620"/>
                  <a:pt x="614" y="616"/>
                  <a:pt x="615" y="613"/>
                </a:cubicBezTo>
                <a:cubicBezTo>
                  <a:pt x="615" y="610"/>
                  <a:pt x="614" y="607"/>
                  <a:pt x="614" y="604"/>
                </a:cubicBezTo>
                <a:cubicBezTo>
                  <a:pt x="614" y="605"/>
                  <a:pt x="615" y="605"/>
                  <a:pt x="616" y="606"/>
                </a:cubicBezTo>
                <a:cubicBezTo>
                  <a:pt x="618" y="608"/>
                  <a:pt x="620" y="611"/>
                  <a:pt x="625" y="611"/>
                </a:cubicBezTo>
                <a:cubicBezTo>
                  <a:pt x="625" y="611"/>
                  <a:pt x="626" y="612"/>
                  <a:pt x="627" y="613"/>
                </a:cubicBezTo>
                <a:cubicBezTo>
                  <a:pt x="630" y="616"/>
                  <a:pt x="635" y="624"/>
                  <a:pt x="635" y="628"/>
                </a:cubicBezTo>
                <a:cubicBezTo>
                  <a:pt x="635" y="628"/>
                  <a:pt x="635" y="629"/>
                  <a:pt x="634" y="629"/>
                </a:cubicBezTo>
                <a:cubicBezTo>
                  <a:pt x="634" y="632"/>
                  <a:pt x="633" y="634"/>
                  <a:pt x="633" y="637"/>
                </a:cubicBezTo>
                <a:cubicBezTo>
                  <a:pt x="633" y="648"/>
                  <a:pt x="641" y="660"/>
                  <a:pt x="654" y="661"/>
                </a:cubicBezTo>
                <a:cubicBezTo>
                  <a:pt x="655" y="660"/>
                  <a:pt x="661" y="664"/>
                  <a:pt x="666" y="669"/>
                </a:cubicBezTo>
                <a:cubicBezTo>
                  <a:pt x="668" y="671"/>
                  <a:pt x="670" y="674"/>
                  <a:pt x="672" y="676"/>
                </a:cubicBezTo>
                <a:cubicBezTo>
                  <a:pt x="675" y="678"/>
                  <a:pt x="676" y="680"/>
                  <a:pt x="680" y="681"/>
                </a:cubicBezTo>
                <a:cubicBezTo>
                  <a:pt x="680" y="681"/>
                  <a:pt x="682" y="683"/>
                  <a:pt x="684" y="684"/>
                </a:cubicBezTo>
                <a:cubicBezTo>
                  <a:pt x="685" y="685"/>
                  <a:pt x="685" y="686"/>
                  <a:pt x="685" y="687"/>
                </a:cubicBezTo>
                <a:cubicBezTo>
                  <a:pt x="686" y="687"/>
                  <a:pt x="686" y="688"/>
                  <a:pt x="686" y="688"/>
                </a:cubicBezTo>
                <a:cubicBezTo>
                  <a:pt x="686" y="688"/>
                  <a:pt x="686" y="688"/>
                  <a:pt x="686" y="688"/>
                </a:cubicBezTo>
                <a:cubicBezTo>
                  <a:pt x="686" y="692"/>
                  <a:pt x="687" y="698"/>
                  <a:pt x="689" y="706"/>
                </a:cubicBezTo>
                <a:cubicBezTo>
                  <a:pt x="690" y="713"/>
                  <a:pt x="692" y="721"/>
                  <a:pt x="692" y="725"/>
                </a:cubicBezTo>
                <a:cubicBezTo>
                  <a:pt x="692" y="734"/>
                  <a:pt x="688" y="773"/>
                  <a:pt x="687" y="788"/>
                </a:cubicBezTo>
                <a:cubicBezTo>
                  <a:pt x="687" y="789"/>
                  <a:pt x="687" y="790"/>
                  <a:pt x="687" y="791"/>
                </a:cubicBezTo>
                <a:cubicBezTo>
                  <a:pt x="687" y="809"/>
                  <a:pt x="697" y="833"/>
                  <a:pt x="709" y="847"/>
                </a:cubicBezTo>
                <a:cubicBezTo>
                  <a:pt x="714" y="854"/>
                  <a:pt x="720" y="863"/>
                  <a:pt x="725" y="872"/>
                </a:cubicBezTo>
                <a:cubicBezTo>
                  <a:pt x="730" y="881"/>
                  <a:pt x="733" y="889"/>
                  <a:pt x="739" y="894"/>
                </a:cubicBezTo>
                <a:cubicBezTo>
                  <a:pt x="741" y="895"/>
                  <a:pt x="744" y="900"/>
                  <a:pt x="747" y="904"/>
                </a:cubicBezTo>
                <a:cubicBezTo>
                  <a:pt x="750" y="909"/>
                  <a:pt x="755" y="914"/>
                  <a:pt x="763" y="915"/>
                </a:cubicBezTo>
                <a:cubicBezTo>
                  <a:pt x="764" y="915"/>
                  <a:pt x="764" y="914"/>
                  <a:pt x="765" y="914"/>
                </a:cubicBezTo>
                <a:cubicBezTo>
                  <a:pt x="766" y="914"/>
                  <a:pt x="766" y="914"/>
                  <a:pt x="766" y="914"/>
                </a:cubicBezTo>
                <a:cubicBezTo>
                  <a:pt x="769" y="914"/>
                  <a:pt x="771" y="915"/>
                  <a:pt x="774" y="919"/>
                </a:cubicBezTo>
                <a:cubicBezTo>
                  <a:pt x="777" y="923"/>
                  <a:pt x="781" y="930"/>
                  <a:pt x="785" y="939"/>
                </a:cubicBezTo>
                <a:cubicBezTo>
                  <a:pt x="790" y="948"/>
                  <a:pt x="794" y="961"/>
                  <a:pt x="799" y="971"/>
                </a:cubicBezTo>
                <a:cubicBezTo>
                  <a:pt x="801" y="977"/>
                  <a:pt x="803" y="982"/>
                  <a:pt x="805" y="986"/>
                </a:cubicBezTo>
                <a:cubicBezTo>
                  <a:pt x="808" y="990"/>
                  <a:pt x="809" y="993"/>
                  <a:pt x="814" y="995"/>
                </a:cubicBezTo>
                <a:cubicBezTo>
                  <a:pt x="816" y="996"/>
                  <a:pt x="819" y="998"/>
                  <a:pt x="821" y="1000"/>
                </a:cubicBezTo>
                <a:cubicBezTo>
                  <a:pt x="824" y="1002"/>
                  <a:pt x="824" y="1005"/>
                  <a:pt x="824" y="1005"/>
                </a:cubicBezTo>
                <a:cubicBezTo>
                  <a:pt x="824" y="1005"/>
                  <a:pt x="824" y="1005"/>
                  <a:pt x="824" y="1005"/>
                </a:cubicBezTo>
                <a:cubicBezTo>
                  <a:pt x="820" y="1011"/>
                  <a:pt x="814" y="1018"/>
                  <a:pt x="813" y="1027"/>
                </a:cubicBezTo>
                <a:cubicBezTo>
                  <a:pt x="813" y="1029"/>
                  <a:pt x="814" y="1032"/>
                  <a:pt x="816" y="1034"/>
                </a:cubicBezTo>
                <a:cubicBezTo>
                  <a:pt x="819" y="1037"/>
                  <a:pt x="822" y="1037"/>
                  <a:pt x="824" y="1037"/>
                </a:cubicBezTo>
                <a:cubicBezTo>
                  <a:pt x="831" y="1037"/>
                  <a:pt x="836" y="1035"/>
                  <a:pt x="836" y="1035"/>
                </a:cubicBezTo>
                <a:cubicBezTo>
                  <a:pt x="837" y="1035"/>
                  <a:pt x="837" y="1035"/>
                  <a:pt x="841" y="1040"/>
                </a:cubicBezTo>
                <a:cubicBezTo>
                  <a:pt x="845" y="1046"/>
                  <a:pt x="849" y="1051"/>
                  <a:pt x="852" y="1055"/>
                </a:cubicBezTo>
                <a:cubicBezTo>
                  <a:pt x="856" y="1059"/>
                  <a:pt x="856" y="1062"/>
                  <a:pt x="856" y="1063"/>
                </a:cubicBezTo>
                <a:cubicBezTo>
                  <a:pt x="856" y="1063"/>
                  <a:pt x="856" y="1063"/>
                  <a:pt x="856" y="1063"/>
                </a:cubicBezTo>
                <a:cubicBezTo>
                  <a:pt x="856" y="1064"/>
                  <a:pt x="856" y="1065"/>
                  <a:pt x="856" y="1065"/>
                </a:cubicBezTo>
                <a:cubicBezTo>
                  <a:pt x="856" y="1072"/>
                  <a:pt x="861" y="1076"/>
                  <a:pt x="865" y="1079"/>
                </a:cubicBezTo>
                <a:cubicBezTo>
                  <a:pt x="869" y="1080"/>
                  <a:pt x="872" y="1082"/>
                  <a:pt x="875" y="1082"/>
                </a:cubicBezTo>
                <a:cubicBezTo>
                  <a:pt x="875" y="1082"/>
                  <a:pt x="875" y="1082"/>
                  <a:pt x="875" y="1083"/>
                </a:cubicBezTo>
                <a:cubicBezTo>
                  <a:pt x="877" y="1084"/>
                  <a:pt x="879" y="1088"/>
                  <a:pt x="883" y="1092"/>
                </a:cubicBezTo>
                <a:cubicBezTo>
                  <a:pt x="886" y="1096"/>
                  <a:pt x="890" y="1100"/>
                  <a:pt x="897" y="1101"/>
                </a:cubicBezTo>
                <a:cubicBezTo>
                  <a:pt x="901" y="1101"/>
                  <a:pt x="904" y="1099"/>
                  <a:pt x="907" y="1096"/>
                </a:cubicBezTo>
                <a:cubicBezTo>
                  <a:pt x="910" y="1093"/>
                  <a:pt x="911" y="1089"/>
                  <a:pt x="911" y="1086"/>
                </a:cubicBezTo>
                <a:cubicBezTo>
                  <a:pt x="911" y="1077"/>
                  <a:pt x="905" y="1071"/>
                  <a:pt x="900" y="1065"/>
                </a:cubicBezTo>
                <a:cubicBezTo>
                  <a:pt x="894" y="1060"/>
                  <a:pt x="888" y="1055"/>
                  <a:pt x="886" y="1053"/>
                </a:cubicBezTo>
                <a:cubicBezTo>
                  <a:pt x="885" y="1052"/>
                  <a:pt x="884" y="1048"/>
                  <a:pt x="883" y="1041"/>
                </a:cubicBezTo>
                <a:cubicBezTo>
                  <a:pt x="882" y="1034"/>
                  <a:pt x="879" y="1024"/>
                  <a:pt x="870" y="1016"/>
                </a:cubicBezTo>
                <a:cubicBezTo>
                  <a:pt x="863" y="1009"/>
                  <a:pt x="860" y="1004"/>
                  <a:pt x="857" y="999"/>
                </a:cubicBezTo>
                <a:cubicBezTo>
                  <a:pt x="866" y="1010"/>
                  <a:pt x="877" y="1020"/>
                  <a:pt x="883" y="1027"/>
                </a:cubicBezTo>
                <a:cubicBezTo>
                  <a:pt x="887" y="1031"/>
                  <a:pt x="895" y="1044"/>
                  <a:pt x="901" y="1055"/>
                </a:cubicBezTo>
                <a:cubicBezTo>
                  <a:pt x="905" y="1060"/>
                  <a:pt x="908" y="1066"/>
                  <a:pt x="911" y="1070"/>
                </a:cubicBezTo>
                <a:cubicBezTo>
                  <a:pt x="912" y="1072"/>
                  <a:pt x="914" y="1074"/>
                  <a:pt x="915" y="1075"/>
                </a:cubicBezTo>
                <a:cubicBezTo>
                  <a:pt x="917" y="1076"/>
                  <a:pt x="918" y="1078"/>
                  <a:pt x="921" y="1078"/>
                </a:cubicBezTo>
                <a:cubicBezTo>
                  <a:pt x="923" y="1079"/>
                  <a:pt x="928" y="1084"/>
                  <a:pt x="931" y="1088"/>
                </a:cubicBezTo>
                <a:cubicBezTo>
                  <a:pt x="935" y="1092"/>
                  <a:pt x="938" y="1096"/>
                  <a:pt x="939" y="1098"/>
                </a:cubicBezTo>
                <a:cubicBezTo>
                  <a:pt x="939" y="1099"/>
                  <a:pt x="940" y="1101"/>
                  <a:pt x="942" y="1104"/>
                </a:cubicBezTo>
                <a:cubicBezTo>
                  <a:pt x="943" y="1108"/>
                  <a:pt x="944" y="1113"/>
                  <a:pt x="944" y="1114"/>
                </a:cubicBezTo>
                <a:cubicBezTo>
                  <a:pt x="944" y="1115"/>
                  <a:pt x="944" y="1115"/>
                  <a:pt x="944" y="1115"/>
                </a:cubicBezTo>
                <a:cubicBezTo>
                  <a:pt x="943" y="1117"/>
                  <a:pt x="943" y="1120"/>
                  <a:pt x="943" y="1122"/>
                </a:cubicBezTo>
                <a:cubicBezTo>
                  <a:pt x="943" y="1133"/>
                  <a:pt x="949" y="1147"/>
                  <a:pt x="959" y="1155"/>
                </a:cubicBezTo>
                <a:cubicBezTo>
                  <a:pt x="968" y="1161"/>
                  <a:pt x="999" y="1178"/>
                  <a:pt x="1004" y="1181"/>
                </a:cubicBezTo>
                <a:cubicBezTo>
                  <a:pt x="1005" y="1182"/>
                  <a:pt x="1009" y="1188"/>
                  <a:pt x="1013" y="1193"/>
                </a:cubicBezTo>
                <a:cubicBezTo>
                  <a:pt x="1018" y="1199"/>
                  <a:pt x="1024" y="1205"/>
                  <a:pt x="1034" y="1205"/>
                </a:cubicBezTo>
                <a:cubicBezTo>
                  <a:pt x="1046" y="1205"/>
                  <a:pt x="1054" y="1208"/>
                  <a:pt x="1054" y="1209"/>
                </a:cubicBezTo>
                <a:cubicBezTo>
                  <a:pt x="1055" y="1210"/>
                  <a:pt x="1058" y="1214"/>
                  <a:pt x="1061" y="1217"/>
                </a:cubicBezTo>
                <a:cubicBezTo>
                  <a:pt x="1064" y="1220"/>
                  <a:pt x="1068" y="1224"/>
                  <a:pt x="1075" y="1225"/>
                </a:cubicBezTo>
                <a:cubicBezTo>
                  <a:pt x="1079" y="1225"/>
                  <a:pt x="1082" y="1223"/>
                  <a:pt x="1085" y="1219"/>
                </a:cubicBezTo>
                <a:cubicBezTo>
                  <a:pt x="1088" y="1214"/>
                  <a:pt x="1090" y="1211"/>
                  <a:pt x="1092" y="1210"/>
                </a:cubicBezTo>
                <a:cubicBezTo>
                  <a:pt x="1093" y="1209"/>
                  <a:pt x="1094" y="1208"/>
                  <a:pt x="1098" y="1208"/>
                </a:cubicBezTo>
                <a:cubicBezTo>
                  <a:pt x="1101" y="1208"/>
                  <a:pt x="1103" y="1209"/>
                  <a:pt x="1106" y="1212"/>
                </a:cubicBezTo>
                <a:cubicBezTo>
                  <a:pt x="1108" y="1215"/>
                  <a:pt x="1111" y="1219"/>
                  <a:pt x="1114" y="1222"/>
                </a:cubicBezTo>
                <a:cubicBezTo>
                  <a:pt x="1117" y="1226"/>
                  <a:pt x="1122" y="1232"/>
                  <a:pt x="1128" y="1237"/>
                </a:cubicBezTo>
                <a:cubicBezTo>
                  <a:pt x="1134" y="1243"/>
                  <a:pt x="1140" y="1248"/>
                  <a:pt x="1148" y="1248"/>
                </a:cubicBezTo>
                <a:cubicBezTo>
                  <a:pt x="1148" y="1248"/>
                  <a:pt x="1149" y="1248"/>
                  <a:pt x="1150" y="1248"/>
                </a:cubicBezTo>
                <a:cubicBezTo>
                  <a:pt x="1150" y="1248"/>
                  <a:pt x="1150" y="1248"/>
                  <a:pt x="1150" y="1248"/>
                </a:cubicBezTo>
                <a:cubicBezTo>
                  <a:pt x="1151" y="1248"/>
                  <a:pt x="1154" y="1249"/>
                  <a:pt x="1158" y="1251"/>
                </a:cubicBezTo>
                <a:cubicBezTo>
                  <a:pt x="1161" y="1253"/>
                  <a:pt x="1165" y="1256"/>
                  <a:pt x="1170" y="1256"/>
                </a:cubicBezTo>
                <a:cubicBezTo>
                  <a:pt x="1172" y="1256"/>
                  <a:pt x="1175" y="1255"/>
                  <a:pt x="1176" y="1254"/>
                </a:cubicBezTo>
                <a:cubicBezTo>
                  <a:pt x="1177" y="1254"/>
                  <a:pt x="1177" y="1254"/>
                  <a:pt x="1177" y="1254"/>
                </a:cubicBezTo>
                <a:cubicBezTo>
                  <a:pt x="1179" y="1253"/>
                  <a:pt x="1186" y="1257"/>
                  <a:pt x="1189" y="1260"/>
                </a:cubicBezTo>
                <a:cubicBezTo>
                  <a:pt x="1194" y="1262"/>
                  <a:pt x="1206" y="1271"/>
                  <a:pt x="1206" y="1282"/>
                </a:cubicBezTo>
                <a:cubicBezTo>
                  <a:pt x="1206" y="1282"/>
                  <a:pt x="1206" y="1283"/>
                  <a:pt x="1206" y="1283"/>
                </a:cubicBezTo>
                <a:cubicBezTo>
                  <a:pt x="1206" y="1284"/>
                  <a:pt x="1206" y="1285"/>
                  <a:pt x="1206" y="1286"/>
                </a:cubicBezTo>
                <a:cubicBezTo>
                  <a:pt x="1206" y="1304"/>
                  <a:pt x="1219" y="1310"/>
                  <a:pt x="1225" y="1313"/>
                </a:cubicBezTo>
                <a:cubicBezTo>
                  <a:pt x="1231" y="1317"/>
                  <a:pt x="1240" y="1326"/>
                  <a:pt x="1245" y="1333"/>
                </a:cubicBezTo>
                <a:cubicBezTo>
                  <a:pt x="1250" y="1338"/>
                  <a:pt x="1255" y="1340"/>
                  <a:pt x="1260" y="1342"/>
                </a:cubicBezTo>
                <a:cubicBezTo>
                  <a:pt x="1262" y="1343"/>
                  <a:pt x="1264" y="1343"/>
                  <a:pt x="1265" y="1344"/>
                </a:cubicBezTo>
                <a:cubicBezTo>
                  <a:pt x="1266" y="1344"/>
                  <a:pt x="1267" y="1345"/>
                  <a:pt x="1267" y="1345"/>
                </a:cubicBezTo>
                <a:cubicBezTo>
                  <a:pt x="1267" y="1345"/>
                  <a:pt x="1267" y="1345"/>
                  <a:pt x="1267" y="1345"/>
                </a:cubicBezTo>
                <a:cubicBezTo>
                  <a:pt x="1268" y="1346"/>
                  <a:pt x="1269" y="1348"/>
                  <a:pt x="1271" y="1350"/>
                </a:cubicBezTo>
                <a:cubicBezTo>
                  <a:pt x="1273" y="1353"/>
                  <a:pt x="1276" y="1355"/>
                  <a:pt x="1281" y="1355"/>
                </a:cubicBezTo>
                <a:cubicBezTo>
                  <a:pt x="1285" y="1355"/>
                  <a:pt x="1288" y="1354"/>
                  <a:pt x="1291" y="1351"/>
                </a:cubicBezTo>
                <a:cubicBezTo>
                  <a:pt x="1299" y="1346"/>
                  <a:pt x="1302" y="1340"/>
                  <a:pt x="1302" y="1332"/>
                </a:cubicBezTo>
                <a:cubicBezTo>
                  <a:pt x="1302" y="1332"/>
                  <a:pt x="1302" y="1332"/>
                  <a:pt x="1302" y="1332"/>
                </a:cubicBezTo>
                <a:cubicBezTo>
                  <a:pt x="1305" y="1332"/>
                  <a:pt x="1308" y="1333"/>
                  <a:pt x="1309" y="1334"/>
                </a:cubicBezTo>
                <a:cubicBezTo>
                  <a:pt x="1310" y="1335"/>
                  <a:pt x="1313" y="1341"/>
                  <a:pt x="1315" y="1346"/>
                </a:cubicBezTo>
                <a:cubicBezTo>
                  <a:pt x="1316" y="1349"/>
                  <a:pt x="1317" y="1352"/>
                  <a:pt x="1318" y="1354"/>
                </a:cubicBezTo>
                <a:cubicBezTo>
                  <a:pt x="1319" y="1357"/>
                  <a:pt x="1319" y="1359"/>
                  <a:pt x="1322" y="1361"/>
                </a:cubicBezTo>
                <a:cubicBezTo>
                  <a:pt x="1322" y="1361"/>
                  <a:pt x="1322" y="1361"/>
                  <a:pt x="1322" y="1361"/>
                </a:cubicBezTo>
                <a:cubicBezTo>
                  <a:pt x="1322" y="1362"/>
                  <a:pt x="1324" y="1365"/>
                  <a:pt x="1325" y="1369"/>
                </a:cubicBezTo>
                <a:cubicBezTo>
                  <a:pt x="1326" y="1373"/>
                  <a:pt x="1327" y="1378"/>
                  <a:pt x="1327" y="1384"/>
                </a:cubicBezTo>
                <a:cubicBezTo>
                  <a:pt x="1327" y="1387"/>
                  <a:pt x="1327" y="1390"/>
                  <a:pt x="1326" y="1393"/>
                </a:cubicBezTo>
                <a:cubicBezTo>
                  <a:pt x="1323" y="1402"/>
                  <a:pt x="1323" y="1409"/>
                  <a:pt x="1322" y="1415"/>
                </a:cubicBezTo>
                <a:cubicBezTo>
                  <a:pt x="1321" y="1417"/>
                  <a:pt x="1321" y="1419"/>
                  <a:pt x="1321" y="1420"/>
                </a:cubicBezTo>
                <a:cubicBezTo>
                  <a:pt x="1318" y="1421"/>
                  <a:pt x="1316" y="1423"/>
                  <a:pt x="1315" y="1425"/>
                </a:cubicBezTo>
                <a:cubicBezTo>
                  <a:pt x="1313" y="1428"/>
                  <a:pt x="1311" y="1432"/>
                  <a:pt x="1308" y="1435"/>
                </a:cubicBezTo>
                <a:cubicBezTo>
                  <a:pt x="1306" y="1439"/>
                  <a:pt x="1304" y="1442"/>
                  <a:pt x="1303" y="1442"/>
                </a:cubicBezTo>
                <a:cubicBezTo>
                  <a:pt x="1299" y="1445"/>
                  <a:pt x="1293" y="1451"/>
                  <a:pt x="1287" y="1457"/>
                </a:cubicBezTo>
                <a:cubicBezTo>
                  <a:pt x="1282" y="1464"/>
                  <a:pt x="1277" y="1469"/>
                  <a:pt x="1276" y="1477"/>
                </a:cubicBezTo>
                <a:cubicBezTo>
                  <a:pt x="1276" y="1478"/>
                  <a:pt x="1276" y="1478"/>
                  <a:pt x="1276" y="1479"/>
                </a:cubicBezTo>
                <a:cubicBezTo>
                  <a:pt x="1277" y="1483"/>
                  <a:pt x="1279" y="1489"/>
                  <a:pt x="1282" y="1495"/>
                </a:cubicBezTo>
                <a:cubicBezTo>
                  <a:pt x="1284" y="1501"/>
                  <a:pt x="1286" y="1508"/>
                  <a:pt x="1286" y="1512"/>
                </a:cubicBezTo>
                <a:cubicBezTo>
                  <a:pt x="1286" y="1513"/>
                  <a:pt x="1286" y="1513"/>
                  <a:pt x="1286" y="1514"/>
                </a:cubicBezTo>
                <a:cubicBezTo>
                  <a:pt x="1285" y="1516"/>
                  <a:pt x="1282" y="1520"/>
                  <a:pt x="1278" y="1526"/>
                </a:cubicBezTo>
                <a:cubicBezTo>
                  <a:pt x="1275" y="1531"/>
                  <a:pt x="1271" y="1538"/>
                  <a:pt x="1271" y="1546"/>
                </a:cubicBezTo>
                <a:cubicBezTo>
                  <a:pt x="1271" y="1548"/>
                  <a:pt x="1271" y="1550"/>
                  <a:pt x="1272" y="1552"/>
                </a:cubicBezTo>
                <a:cubicBezTo>
                  <a:pt x="1274" y="1563"/>
                  <a:pt x="1283" y="1568"/>
                  <a:pt x="1289" y="1573"/>
                </a:cubicBezTo>
                <a:cubicBezTo>
                  <a:pt x="1296" y="1577"/>
                  <a:pt x="1300" y="1581"/>
                  <a:pt x="1300" y="1584"/>
                </a:cubicBezTo>
                <a:cubicBezTo>
                  <a:pt x="1301" y="1593"/>
                  <a:pt x="1306" y="1604"/>
                  <a:pt x="1311" y="1615"/>
                </a:cubicBezTo>
                <a:cubicBezTo>
                  <a:pt x="1316" y="1626"/>
                  <a:pt x="1320" y="1637"/>
                  <a:pt x="1321" y="1643"/>
                </a:cubicBezTo>
                <a:cubicBezTo>
                  <a:pt x="1323" y="1652"/>
                  <a:pt x="1329" y="1659"/>
                  <a:pt x="1334" y="1667"/>
                </a:cubicBezTo>
                <a:cubicBezTo>
                  <a:pt x="1339" y="1675"/>
                  <a:pt x="1343" y="1682"/>
                  <a:pt x="1343" y="1690"/>
                </a:cubicBezTo>
                <a:cubicBezTo>
                  <a:pt x="1343" y="1703"/>
                  <a:pt x="1352" y="1712"/>
                  <a:pt x="1360" y="1718"/>
                </a:cubicBezTo>
                <a:cubicBezTo>
                  <a:pt x="1368" y="1724"/>
                  <a:pt x="1377" y="1728"/>
                  <a:pt x="1381" y="1729"/>
                </a:cubicBezTo>
                <a:cubicBezTo>
                  <a:pt x="1381" y="1729"/>
                  <a:pt x="1385" y="1732"/>
                  <a:pt x="1390" y="1736"/>
                </a:cubicBezTo>
                <a:cubicBezTo>
                  <a:pt x="1394" y="1739"/>
                  <a:pt x="1399" y="1744"/>
                  <a:pt x="1404" y="1746"/>
                </a:cubicBezTo>
                <a:cubicBezTo>
                  <a:pt x="1410" y="1750"/>
                  <a:pt x="1416" y="1757"/>
                  <a:pt x="1422" y="1767"/>
                </a:cubicBezTo>
                <a:cubicBezTo>
                  <a:pt x="1425" y="1773"/>
                  <a:pt x="1426" y="1784"/>
                  <a:pt x="1426" y="1790"/>
                </a:cubicBezTo>
                <a:cubicBezTo>
                  <a:pt x="1426" y="1793"/>
                  <a:pt x="1426" y="1795"/>
                  <a:pt x="1426" y="1796"/>
                </a:cubicBezTo>
                <a:cubicBezTo>
                  <a:pt x="1426" y="1799"/>
                  <a:pt x="1422" y="1843"/>
                  <a:pt x="1419" y="1867"/>
                </a:cubicBezTo>
                <a:cubicBezTo>
                  <a:pt x="1418" y="1872"/>
                  <a:pt x="1418" y="1877"/>
                  <a:pt x="1418" y="1882"/>
                </a:cubicBezTo>
                <a:cubicBezTo>
                  <a:pt x="1418" y="1893"/>
                  <a:pt x="1420" y="1902"/>
                  <a:pt x="1419" y="1909"/>
                </a:cubicBezTo>
                <a:cubicBezTo>
                  <a:pt x="1420" y="1913"/>
                  <a:pt x="1419" y="1914"/>
                  <a:pt x="1418" y="1915"/>
                </a:cubicBezTo>
                <a:cubicBezTo>
                  <a:pt x="1414" y="1920"/>
                  <a:pt x="1406" y="1925"/>
                  <a:pt x="1405" y="1935"/>
                </a:cubicBezTo>
                <a:cubicBezTo>
                  <a:pt x="1405" y="1938"/>
                  <a:pt x="1406" y="1942"/>
                  <a:pt x="1409" y="1945"/>
                </a:cubicBezTo>
                <a:cubicBezTo>
                  <a:pt x="1409" y="1945"/>
                  <a:pt x="1409" y="1945"/>
                  <a:pt x="1409" y="1945"/>
                </a:cubicBezTo>
                <a:cubicBezTo>
                  <a:pt x="1409" y="1946"/>
                  <a:pt x="1407" y="1948"/>
                  <a:pt x="1405" y="1949"/>
                </a:cubicBezTo>
                <a:cubicBezTo>
                  <a:pt x="1404" y="1950"/>
                  <a:pt x="1403" y="1951"/>
                  <a:pt x="1402" y="1952"/>
                </a:cubicBezTo>
                <a:cubicBezTo>
                  <a:pt x="1401" y="1954"/>
                  <a:pt x="1399" y="1955"/>
                  <a:pt x="1399" y="1959"/>
                </a:cubicBezTo>
                <a:cubicBezTo>
                  <a:pt x="1399" y="1963"/>
                  <a:pt x="1401" y="1966"/>
                  <a:pt x="1402" y="1972"/>
                </a:cubicBezTo>
                <a:cubicBezTo>
                  <a:pt x="1404" y="1977"/>
                  <a:pt x="1405" y="1983"/>
                  <a:pt x="1405" y="1988"/>
                </a:cubicBezTo>
                <a:cubicBezTo>
                  <a:pt x="1405" y="1990"/>
                  <a:pt x="1405" y="1991"/>
                  <a:pt x="1404" y="1992"/>
                </a:cubicBezTo>
                <a:cubicBezTo>
                  <a:pt x="1399" y="2003"/>
                  <a:pt x="1396" y="2016"/>
                  <a:pt x="1393" y="2024"/>
                </a:cubicBezTo>
                <a:cubicBezTo>
                  <a:pt x="1391" y="2030"/>
                  <a:pt x="1383" y="2038"/>
                  <a:pt x="1383" y="2051"/>
                </a:cubicBezTo>
                <a:cubicBezTo>
                  <a:pt x="1383" y="2053"/>
                  <a:pt x="1383" y="2055"/>
                  <a:pt x="1383" y="2056"/>
                </a:cubicBezTo>
                <a:cubicBezTo>
                  <a:pt x="1383" y="2057"/>
                  <a:pt x="1384" y="2058"/>
                  <a:pt x="1384" y="2058"/>
                </a:cubicBezTo>
                <a:cubicBezTo>
                  <a:pt x="1383" y="2060"/>
                  <a:pt x="1384" y="2059"/>
                  <a:pt x="1381" y="2062"/>
                </a:cubicBezTo>
                <a:cubicBezTo>
                  <a:pt x="1378" y="2063"/>
                  <a:pt x="1374" y="2069"/>
                  <a:pt x="1374" y="2076"/>
                </a:cubicBezTo>
                <a:cubicBezTo>
                  <a:pt x="1374" y="2083"/>
                  <a:pt x="1378" y="2088"/>
                  <a:pt x="1380" y="2090"/>
                </a:cubicBezTo>
                <a:cubicBezTo>
                  <a:pt x="1382" y="2092"/>
                  <a:pt x="1382" y="2091"/>
                  <a:pt x="1382" y="2094"/>
                </a:cubicBezTo>
                <a:cubicBezTo>
                  <a:pt x="1382" y="2095"/>
                  <a:pt x="1382" y="2096"/>
                  <a:pt x="1382" y="2097"/>
                </a:cubicBezTo>
                <a:cubicBezTo>
                  <a:pt x="1381" y="2104"/>
                  <a:pt x="1379" y="2108"/>
                  <a:pt x="1378" y="2113"/>
                </a:cubicBezTo>
                <a:cubicBezTo>
                  <a:pt x="1376" y="2117"/>
                  <a:pt x="1374" y="2122"/>
                  <a:pt x="1374" y="2128"/>
                </a:cubicBezTo>
                <a:cubicBezTo>
                  <a:pt x="1374" y="2135"/>
                  <a:pt x="1376" y="2142"/>
                  <a:pt x="1377" y="2148"/>
                </a:cubicBezTo>
                <a:cubicBezTo>
                  <a:pt x="1379" y="2153"/>
                  <a:pt x="1380" y="2159"/>
                  <a:pt x="1380" y="2159"/>
                </a:cubicBezTo>
                <a:cubicBezTo>
                  <a:pt x="1380" y="2159"/>
                  <a:pt x="1379" y="2163"/>
                  <a:pt x="1376" y="2168"/>
                </a:cubicBezTo>
                <a:cubicBezTo>
                  <a:pt x="1374" y="2173"/>
                  <a:pt x="1371" y="2179"/>
                  <a:pt x="1367" y="2184"/>
                </a:cubicBezTo>
                <a:cubicBezTo>
                  <a:pt x="1360" y="2194"/>
                  <a:pt x="1354" y="2201"/>
                  <a:pt x="1353" y="2211"/>
                </a:cubicBezTo>
                <a:cubicBezTo>
                  <a:pt x="1353" y="2212"/>
                  <a:pt x="1353" y="2213"/>
                  <a:pt x="1353" y="2214"/>
                </a:cubicBezTo>
                <a:cubicBezTo>
                  <a:pt x="1354" y="2218"/>
                  <a:pt x="1357" y="2222"/>
                  <a:pt x="1359" y="2226"/>
                </a:cubicBezTo>
                <a:cubicBezTo>
                  <a:pt x="1360" y="2227"/>
                  <a:pt x="1360" y="2229"/>
                  <a:pt x="1361" y="2230"/>
                </a:cubicBezTo>
                <a:cubicBezTo>
                  <a:pt x="1361" y="2230"/>
                  <a:pt x="1361" y="2231"/>
                  <a:pt x="1361" y="2231"/>
                </a:cubicBezTo>
                <a:cubicBezTo>
                  <a:pt x="1361" y="2232"/>
                  <a:pt x="1358" y="2236"/>
                  <a:pt x="1356" y="2240"/>
                </a:cubicBezTo>
                <a:cubicBezTo>
                  <a:pt x="1354" y="2245"/>
                  <a:pt x="1351" y="2251"/>
                  <a:pt x="1351" y="2258"/>
                </a:cubicBezTo>
                <a:cubicBezTo>
                  <a:pt x="1351" y="2259"/>
                  <a:pt x="1351" y="2259"/>
                  <a:pt x="1351" y="2260"/>
                </a:cubicBezTo>
                <a:cubicBezTo>
                  <a:pt x="1352" y="2268"/>
                  <a:pt x="1358" y="2272"/>
                  <a:pt x="1361" y="2272"/>
                </a:cubicBezTo>
                <a:cubicBezTo>
                  <a:pt x="1363" y="2273"/>
                  <a:pt x="1364" y="2273"/>
                  <a:pt x="1365" y="2273"/>
                </a:cubicBezTo>
                <a:cubicBezTo>
                  <a:pt x="1364" y="2274"/>
                  <a:pt x="1363" y="2276"/>
                  <a:pt x="1361" y="2277"/>
                </a:cubicBezTo>
                <a:cubicBezTo>
                  <a:pt x="1359" y="2279"/>
                  <a:pt x="1356" y="2282"/>
                  <a:pt x="1356" y="2287"/>
                </a:cubicBezTo>
                <a:cubicBezTo>
                  <a:pt x="1356" y="2290"/>
                  <a:pt x="1358" y="2293"/>
                  <a:pt x="1360" y="2295"/>
                </a:cubicBezTo>
                <a:cubicBezTo>
                  <a:pt x="1364" y="2299"/>
                  <a:pt x="1368" y="2301"/>
                  <a:pt x="1370" y="2302"/>
                </a:cubicBezTo>
                <a:cubicBezTo>
                  <a:pt x="1371" y="2304"/>
                  <a:pt x="1372" y="2304"/>
                  <a:pt x="1372" y="2308"/>
                </a:cubicBezTo>
                <a:cubicBezTo>
                  <a:pt x="1372" y="2310"/>
                  <a:pt x="1372" y="2311"/>
                  <a:pt x="1372" y="2312"/>
                </a:cubicBezTo>
                <a:cubicBezTo>
                  <a:pt x="1372" y="2314"/>
                  <a:pt x="1371" y="2315"/>
                  <a:pt x="1371" y="2317"/>
                </a:cubicBezTo>
                <a:cubicBezTo>
                  <a:pt x="1371" y="2335"/>
                  <a:pt x="1390" y="2341"/>
                  <a:pt x="1389" y="2342"/>
                </a:cubicBezTo>
                <a:cubicBezTo>
                  <a:pt x="1391" y="2344"/>
                  <a:pt x="1393" y="2347"/>
                  <a:pt x="1397" y="2351"/>
                </a:cubicBezTo>
                <a:cubicBezTo>
                  <a:pt x="1400" y="2354"/>
                  <a:pt x="1403" y="2357"/>
                  <a:pt x="1409" y="2358"/>
                </a:cubicBezTo>
                <a:cubicBezTo>
                  <a:pt x="1409" y="2359"/>
                  <a:pt x="1410" y="2361"/>
                  <a:pt x="1412" y="2362"/>
                </a:cubicBezTo>
                <a:cubicBezTo>
                  <a:pt x="1413" y="2363"/>
                  <a:pt x="1414" y="2363"/>
                  <a:pt x="1415" y="2363"/>
                </a:cubicBezTo>
                <a:cubicBezTo>
                  <a:pt x="1416" y="2364"/>
                  <a:pt x="1422" y="2366"/>
                  <a:pt x="1427" y="2369"/>
                </a:cubicBezTo>
                <a:cubicBezTo>
                  <a:pt x="1433" y="2371"/>
                  <a:pt x="1439" y="2374"/>
                  <a:pt x="1446" y="2374"/>
                </a:cubicBezTo>
                <a:cubicBezTo>
                  <a:pt x="1457" y="2374"/>
                  <a:pt x="1474" y="2369"/>
                  <a:pt x="1479" y="2367"/>
                </a:cubicBezTo>
                <a:cubicBezTo>
                  <a:pt x="1479" y="2367"/>
                  <a:pt x="1487" y="2365"/>
                  <a:pt x="1494" y="2363"/>
                </a:cubicBezTo>
                <a:cubicBezTo>
                  <a:pt x="1498" y="2363"/>
                  <a:pt x="1501" y="2362"/>
                  <a:pt x="1504" y="2360"/>
                </a:cubicBezTo>
                <a:cubicBezTo>
                  <a:pt x="1508" y="2359"/>
                  <a:pt x="1510" y="2359"/>
                  <a:pt x="1513" y="2355"/>
                </a:cubicBezTo>
                <a:cubicBezTo>
                  <a:pt x="1514" y="2354"/>
                  <a:pt x="1514" y="2352"/>
                  <a:pt x="1514" y="2351"/>
                </a:cubicBezTo>
                <a:cubicBezTo>
                  <a:pt x="1514" y="2347"/>
                  <a:pt x="1511" y="2345"/>
                  <a:pt x="1510" y="2345"/>
                </a:cubicBezTo>
                <a:cubicBezTo>
                  <a:pt x="1505" y="2343"/>
                  <a:pt x="1501" y="2343"/>
                  <a:pt x="1495" y="2342"/>
                </a:cubicBezTo>
                <a:cubicBezTo>
                  <a:pt x="1489" y="2341"/>
                  <a:pt x="1483" y="2340"/>
                  <a:pt x="1480" y="2339"/>
                </a:cubicBezTo>
                <a:cubicBezTo>
                  <a:pt x="1477" y="2338"/>
                  <a:pt x="1469" y="2332"/>
                  <a:pt x="1464" y="2326"/>
                </a:cubicBezTo>
                <a:cubicBezTo>
                  <a:pt x="1458" y="2320"/>
                  <a:pt x="1453" y="2312"/>
                  <a:pt x="1453" y="2310"/>
                </a:cubicBezTo>
                <a:cubicBezTo>
                  <a:pt x="1452" y="2308"/>
                  <a:pt x="1451" y="2304"/>
                  <a:pt x="1451" y="2301"/>
                </a:cubicBezTo>
                <a:cubicBezTo>
                  <a:pt x="1451" y="2294"/>
                  <a:pt x="1454" y="2288"/>
                  <a:pt x="1456" y="2286"/>
                </a:cubicBezTo>
                <a:cubicBezTo>
                  <a:pt x="1465" y="2280"/>
                  <a:pt x="1484" y="2261"/>
                  <a:pt x="1489" y="2257"/>
                </a:cubicBezTo>
                <a:cubicBezTo>
                  <a:pt x="1492" y="2254"/>
                  <a:pt x="1494" y="2249"/>
                  <a:pt x="1496" y="2244"/>
                </a:cubicBezTo>
                <a:cubicBezTo>
                  <a:pt x="1498" y="2239"/>
                  <a:pt x="1500" y="2234"/>
                  <a:pt x="1500" y="2229"/>
                </a:cubicBezTo>
                <a:cubicBezTo>
                  <a:pt x="1500" y="2227"/>
                  <a:pt x="1500" y="2225"/>
                  <a:pt x="1497" y="2221"/>
                </a:cubicBezTo>
                <a:cubicBezTo>
                  <a:pt x="1493" y="2219"/>
                  <a:pt x="1491" y="2219"/>
                  <a:pt x="1489" y="2219"/>
                </a:cubicBezTo>
                <a:cubicBezTo>
                  <a:pt x="1485" y="2219"/>
                  <a:pt x="1481" y="2219"/>
                  <a:pt x="1478" y="2219"/>
                </a:cubicBezTo>
                <a:cubicBezTo>
                  <a:pt x="1477" y="2218"/>
                  <a:pt x="1476" y="2218"/>
                  <a:pt x="1476" y="2218"/>
                </a:cubicBezTo>
                <a:cubicBezTo>
                  <a:pt x="1476" y="2218"/>
                  <a:pt x="1476" y="2218"/>
                  <a:pt x="1476" y="2218"/>
                </a:cubicBezTo>
                <a:cubicBezTo>
                  <a:pt x="1476" y="2217"/>
                  <a:pt x="1476" y="2214"/>
                  <a:pt x="1484" y="2208"/>
                </a:cubicBezTo>
                <a:cubicBezTo>
                  <a:pt x="1490" y="2202"/>
                  <a:pt x="1494" y="2196"/>
                  <a:pt x="1498" y="2190"/>
                </a:cubicBezTo>
                <a:cubicBezTo>
                  <a:pt x="1501" y="2185"/>
                  <a:pt x="1504" y="2180"/>
                  <a:pt x="1505" y="2180"/>
                </a:cubicBezTo>
                <a:cubicBezTo>
                  <a:pt x="1510" y="2176"/>
                  <a:pt x="1520" y="2167"/>
                  <a:pt x="1524" y="2155"/>
                </a:cubicBezTo>
                <a:cubicBezTo>
                  <a:pt x="1525" y="2153"/>
                  <a:pt x="1525" y="2152"/>
                  <a:pt x="1525" y="2149"/>
                </a:cubicBezTo>
                <a:cubicBezTo>
                  <a:pt x="1525" y="2148"/>
                  <a:pt x="1525" y="2145"/>
                  <a:pt x="1523" y="2143"/>
                </a:cubicBezTo>
                <a:cubicBezTo>
                  <a:pt x="1521" y="2142"/>
                  <a:pt x="1519" y="2141"/>
                  <a:pt x="1517" y="2141"/>
                </a:cubicBezTo>
                <a:cubicBezTo>
                  <a:pt x="1513" y="2142"/>
                  <a:pt x="1510" y="2143"/>
                  <a:pt x="1508" y="2143"/>
                </a:cubicBezTo>
                <a:cubicBezTo>
                  <a:pt x="1508" y="2143"/>
                  <a:pt x="1508" y="2142"/>
                  <a:pt x="1507" y="2142"/>
                </a:cubicBezTo>
                <a:cubicBezTo>
                  <a:pt x="1506" y="2139"/>
                  <a:pt x="1504" y="2135"/>
                  <a:pt x="1504" y="2131"/>
                </a:cubicBezTo>
                <a:cubicBezTo>
                  <a:pt x="1506" y="2132"/>
                  <a:pt x="1508" y="2133"/>
                  <a:pt x="1510" y="2133"/>
                </a:cubicBezTo>
                <a:cubicBezTo>
                  <a:pt x="1515" y="2135"/>
                  <a:pt x="1521" y="2137"/>
                  <a:pt x="1526" y="2138"/>
                </a:cubicBezTo>
                <a:cubicBezTo>
                  <a:pt x="1528" y="2139"/>
                  <a:pt x="1529" y="2139"/>
                  <a:pt x="1531" y="2139"/>
                </a:cubicBezTo>
                <a:cubicBezTo>
                  <a:pt x="1534" y="2139"/>
                  <a:pt x="1537" y="2138"/>
                  <a:pt x="1539" y="2136"/>
                </a:cubicBezTo>
                <a:cubicBezTo>
                  <a:pt x="1541" y="2134"/>
                  <a:pt x="1541" y="2131"/>
                  <a:pt x="1541" y="2129"/>
                </a:cubicBezTo>
                <a:cubicBezTo>
                  <a:pt x="1541" y="2124"/>
                  <a:pt x="1539" y="2120"/>
                  <a:pt x="1539" y="2117"/>
                </a:cubicBezTo>
                <a:cubicBezTo>
                  <a:pt x="1539" y="2116"/>
                  <a:pt x="1539" y="2115"/>
                  <a:pt x="1539" y="2114"/>
                </a:cubicBezTo>
                <a:cubicBezTo>
                  <a:pt x="1539" y="2111"/>
                  <a:pt x="1539" y="2108"/>
                  <a:pt x="1540" y="2106"/>
                </a:cubicBezTo>
                <a:cubicBezTo>
                  <a:pt x="1540" y="2106"/>
                  <a:pt x="1540" y="2106"/>
                  <a:pt x="1541" y="2105"/>
                </a:cubicBezTo>
                <a:cubicBezTo>
                  <a:pt x="1544" y="2107"/>
                  <a:pt x="1548" y="2107"/>
                  <a:pt x="1553" y="2107"/>
                </a:cubicBezTo>
                <a:cubicBezTo>
                  <a:pt x="1567" y="2107"/>
                  <a:pt x="1586" y="2104"/>
                  <a:pt x="1591" y="2103"/>
                </a:cubicBezTo>
                <a:cubicBezTo>
                  <a:pt x="1596" y="2101"/>
                  <a:pt x="1597" y="2098"/>
                  <a:pt x="1599" y="2095"/>
                </a:cubicBezTo>
                <a:cubicBezTo>
                  <a:pt x="1605" y="2087"/>
                  <a:pt x="1613" y="2072"/>
                  <a:pt x="1616" y="2067"/>
                </a:cubicBezTo>
                <a:cubicBezTo>
                  <a:pt x="1619" y="2063"/>
                  <a:pt x="1621" y="2058"/>
                  <a:pt x="1621" y="2053"/>
                </a:cubicBezTo>
                <a:cubicBezTo>
                  <a:pt x="1621" y="2049"/>
                  <a:pt x="1619" y="2044"/>
                  <a:pt x="1615" y="2041"/>
                </a:cubicBezTo>
                <a:cubicBezTo>
                  <a:pt x="1614" y="2041"/>
                  <a:pt x="1614" y="2040"/>
                  <a:pt x="1613" y="2039"/>
                </a:cubicBezTo>
                <a:cubicBezTo>
                  <a:pt x="1618" y="2041"/>
                  <a:pt x="1624" y="2042"/>
                  <a:pt x="1629" y="2042"/>
                </a:cubicBezTo>
                <a:cubicBezTo>
                  <a:pt x="1639" y="2042"/>
                  <a:pt x="1647" y="2038"/>
                  <a:pt x="1656" y="2028"/>
                </a:cubicBezTo>
                <a:cubicBezTo>
                  <a:pt x="1671" y="2011"/>
                  <a:pt x="1683" y="2000"/>
                  <a:pt x="1685" y="1986"/>
                </a:cubicBezTo>
                <a:cubicBezTo>
                  <a:pt x="1686" y="1977"/>
                  <a:pt x="1689" y="1968"/>
                  <a:pt x="1692" y="1965"/>
                </a:cubicBezTo>
                <a:cubicBezTo>
                  <a:pt x="1693" y="1965"/>
                  <a:pt x="1695" y="1967"/>
                  <a:pt x="1699" y="1967"/>
                </a:cubicBezTo>
                <a:cubicBezTo>
                  <a:pt x="1702" y="1967"/>
                  <a:pt x="1705" y="1965"/>
                  <a:pt x="1707" y="1963"/>
                </a:cubicBezTo>
                <a:cubicBezTo>
                  <a:pt x="1708" y="1961"/>
                  <a:pt x="1710" y="1958"/>
                  <a:pt x="1711" y="1954"/>
                </a:cubicBezTo>
                <a:cubicBezTo>
                  <a:pt x="1715" y="1946"/>
                  <a:pt x="1717" y="1943"/>
                  <a:pt x="1720" y="1939"/>
                </a:cubicBezTo>
                <a:cubicBezTo>
                  <a:pt x="1724" y="1936"/>
                  <a:pt x="1728" y="1931"/>
                  <a:pt x="1732" y="1923"/>
                </a:cubicBezTo>
                <a:cubicBezTo>
                  <a:pt x="1733" y="1919"/>
                  <a:pt x="1734" y="1916"/>
                  <a:pt x="1734" y="1912"/>
                </a:cubicBezTo>
                <a:cubicBezTo>
                  <a:pt x="1734" y="1902"/>
                  <a:pt x="1729" y="1892"/>
                  <a:pt x="1729" y="1886"/>
                </a:cubicBezTo>
                <a:cubicBezTo>
                  <a:pt x="1730" y="1883"/>
                  <a:pt x="1730" y="1882"/>
                  <a:pt x="1732" y="1880"/>
                </a:cubicBezTo>
                <a:cubicBezTo>
                  <a:pt x="1746" y="1869"/>
                  <a:pt x="1770" y="1855"/>
                  <a:pt x="1770" y="1855"/>
                </a:cubicBezTo>
                <a:cubicBezTo>
                  <a:pt x="1770" y="1855"/>
                  <a:pt x="1771" y="1854"/>
                  <a:pt x="1774" y="1853"/>
                </a:cubicBezTo>
                <a:cubicBezTo>
                  <a:pt x="1778" y="1851"/>
                  <a:pt x="1782" y="1849"/>
                  <a:pt x="1789" y="1847"/>
                </a:cubicBezTo>
                <a:cubicBezTo>
                  <a:pt x="1795" y="1846"/>
                  <a:pt x="1802" y="1845"/>
                  <a:pt x="1808" y="1844"/>
                </a:cubicBezTo>
                <a:cubicBezTo>
                  <a:pt x="1815" y="1844"/>
                  <a:pt x="1822" y="1842"/>
                  <a:pt x="1826" y="1835"/>
                </a:cubicBezTo>
                <a:cubicBezTo>
                  <a:pt x="1831" y="1825"/>
                  <a:pt x="1836" y="1808"/>
                  <a:pt x="1842" y="1800"/>
                </a:cubicBezTo>
                <a:cubicBezTo>
                  <a:pt x="1848" y="1791"/>
                  <a:pt x="1855" y="1779"/>
                  <a:pt x="1855" y="1769"/>
                </a:cubicBezTo>
                <a:cubicBezTo>
                  <a:pt x="1855" y="1766"/>
                  <a:pt x="1855" y="1764"/>
                  <a:pt x="1854" y="1762"/>
                </a:cubicBezTo>
                <a:cubicBezTo>
                  <a:pt x="1854" y="1762"/>
                  <a:pt x="1854" y="1761"/>
                  <a:pt x="1854" y="1761"/>
                </a:cubicBezTo>
                <a:cubicBezTo>
                  <a:pt x="1854" y="1758"/>
                  <a:pt x="1856" y="1749"/>
                  <a:pt x="1858" y="1742"/>
                </a:cubicBezTo>
                <a:cubicBezTo>
                  <a:pt x="1860" y="1734"/>
                  <a:pt x="1862" y="1726"/>
                  <a:pt x="1863" y="1720"/>
                </a:cubicBezTo>
                <a:cubicBezTo>
                  <a:pt x="1863" y="1720"/>
                  <a:pt x="1862" y="1719"/>
                  <a:pt x="1862" y="1718"/>
                </a:cubicBezTo>
                <a:cubicBezTo>
                  <a:pt x="1861" y="1712"/>
                  <a:pt x="1858" y="1705"/>
                  <a:pt x="1858" y="1697"/>
                </a:cubicBezTo>
                <a:cubicBezTo>
                  <a:pt x="1858" y="1691"/>
                  <a:pt x="1860" y="1686"/>
                  <a:pt x="1866" y="1679"/>
                </a:cubicBezTo>
                <a:cubicBezTo>
                  <a:pt x="1875" y="1671"/>
                  <a:pt x="1884" y="1660"/>
                  <a:pt x="1891" y="1651"/>
                </a:cubicBezTo>
                <a:cubicBezTo>
                  <a:pt x="1899" y="1641"/>
                  <a:pt x="1904" y="1634"/>
                  <a:pt x="1905" y="1628"/>
                </a:cubicBezTo>
                <a:cubicBezTo>
                  <a:pt x="1905" y="1626"/>
                  <a:pt x="1909" y="1617"/>
                  <a:pt x="1913" y="1608"/>
                </a:cubicBezTo>
                <a:cubicBezTo>
                  <a:pt x="1916" y="1598"/>
                  <a:pt x="1920" y="1588"/>
                  <a:pt x="1920" y="1579"/>
                </a:cubicBezTo>
                <a:cubicBezTo>
                  <a:pt x="1920" y="1578"/>
                  <a:pt x="1920" y="1577"/>
                  <a:pt x="1920" y="1577"/>
                </a:cubicBezTo>
                <a:cubicBezTo>
                  <a:pt x="1916" y="1560"/>
                  <a:pt x="1905" y="1543"/>
                  <a:pt x="1894" y="1537"/>
                </a:cubicBezTo>
                <a:close/>
                <a:moveTo>
                  <a:pt x="1322" y="737"/>
                </a:moveTo>
                <a:cubicBezTo>
                  <a:pt x="1322" y="736"/>
                  <a:pt x="1322" y="736"/>
                  <a:pt x="1322" y="736"/>
                </a:cubicBezTo>
                <a:cubicBezTo>
                  <a:pt x="1322" y="737"/>
                  <a:pt x="1322" y="737"/>
                  <a:pt x="1322" y="737"/>
                </a:cubicBezTo>
                <a:close/>
                <a:moveTo>
                  <a:pt x="1311" y="755"/>
                </a:moveTo>
                <a:cubicBezTo>
                  <a:pt x="1314" y="751"/>
                  <a:pt x="1318" y="748"/>
                  <a:pt x="1320" y="745"/>
                </a:cubicBezTo>
                <a:cubicBezTo>
                  <a:pt x="1321" y="744"/>
                  <a:pt x="1322" y="743"/>
                  <a:pt x="1323" y="743"/>
                </a:cubicBezTo>
                <a:cubicBezTo>
                  <a:pt x="1324" y="743"/>
                  <a:pt x="1325" y="743"/>
                  <a:pt x="1326" y="743"/>
                </a:cubicBezTo>
                <a:cubicBezTo>
                  <a:pt x="1331" y="743"/>
                  <a:pt x="1338" y="742"/>
                  <a:pt x="1344" y="742"/>
                </a:cubicBezTo>
                <a:cubicBezTo>
                  <a:pt x="1345" y="742"/>
                  <a:pt x="1347" y="742"/>
                  <a:pt x="1348" y="742"/>
                </a:cubicBezTo>
                <a:cubicBezTo>
                  <a:pt x="1345" y="743"/>
                  <a:pt x="1341" y="745"/>
                  <a:pt x="1336" y="747"/>
                </a:cubicBezTo>
                <a:cubicBezTo>
                  <a:pt x="1331" y="750"/>
                  <a:pt x="1327" y="751"/>
                  <a:pt x="1324" y="752"/>
                </a:cubicBezTo>
                <a:cubicBezTo>
                  <a:pt x="1320" y="753"/>
                  <a:pt x="1317" y="756"/>
                  <a:pt x="1314" y="760"/>
                </a:cubicBezTo>
                <a:cubicBezTo>
                  <a:pt x="1313" y="762"/>
                  <a:pt x="1309" y="764"/>
                  <a:pt x="1304" y="767"/>
                </a:cubicBezTo>
                <a:cubicBezTo>
                  <a:pt x="1303" y="767"/>
                  <a:pt x="1302" y="768"/>
                  <a:pt x="1301" y="768"/>
                </a:cubicBezTo>
                <a:cubicBezTo>
                  <a:pt x="1303" y="765"/>
                  <a:pt x="1307" y="760"/>
                  <a:pt x="1311" y="755"/>
                </a:cubicBezTo>
                <a:close/>
                <a:moveTo>
                  <a:pt x="1293" y="718"/>
                </a:moveTo>
                <a:cubicBezTo>
                  <a:pt x="1294" y="720"/>
                  <a:pt x="1295" y="722"/>
                  <a:pt x="1296" y="724"/>
                </a:cubicBezTo>
                <a:cubicBezTo>
                  <a:pt x="1296" y="724"/>
                  <a:pt x="1296" y="724"/>
                  <a:pt x="1296" y="724"/>
                </a:cubicBezTo>
                <a:cubicBezTo>
                  <a:pt x="1294" y="722"/>
                  <a:pt x="1293" y="720"/>
                  <a:pt x="1293" y="717"/>
                </a:cubicBezTo>
                <a:cubicBezTo>
                  <a:pt x="1293" y="718"/>
                  <a:pt x="1293" y="718"/>
                  <a:pt x="1293" y="718"/>
                </a:cubicBezTo>
                <a:close/>
                <a:moveTo>
                  <a:pt x="1290" y="776"/>
                </a:moveTo>
                <a:cubicBezTo>
                  <a:pt x="1289" y="776"/>
                  <a:pt x="1289" y="777"/>
                  <a:pt x="1288" y="778"/>
                </a:cubicBezTo>
                <a:cubicBezTo>
                  <a:pt x="1285" y="781"/>
                  <a:pt x="1280" y="784"/>
                  <a:pt x="1277" y="785"/>
                </a:cubicBezTo>
                <a:cubicBezTo>
                  <a:pt x="1278" y="784"/>
                  <a:pt x="1278" y="784"/>
                  <a:pt x="1279" y="783"/>
                </a:cubicBezTo>
                <a:cubicBezTo>
                  <a:pt x="1279" y="783"/>
                  <a:pt x="1279" y="782"/>
                  <a:pt x="1279" y="782"/>
                </a:cubicBezTo>
                <a:cubicBezTo>
                  <a:pt x="1281" y="781"/>
                  <a:pt x="1286" y="778"/>
                  <a:pt x="1290" y="776"/>
                </a:cubicBezTo>
                <a:close/>
                <a:moveTo>
                  <a:pt x="1259" y="711"/>
                </a:moveTo>
                <a:cubicBezTo>
                  <a:pt x="1260" y="711"/>
                  <a:pt x="1261" y="711"/>
                  <a:pt x="1262" y="710"/>
                </a:cubicBezTo>
                <a:cubicBezTo>
                  <a:pt x="1260" y="704"/>
                  <a:pt x="1260" y="704"/>
                  <a:pt x="1260" y="704"/>
                </a:cubicBezTo>
                <a:cubicBezTo>
                  <a:pt x="1263" y="710"/>
                  <a:pt x="1263" y="710"/>
                  <a:pt x="1263" y="710"/>
                </a:cubicBezTo>
                <a:cubicBezTo>
                  <a:pt x="1263" y="710"/>
                  <a:pt x="1263" y="710"/>
                  <a:pt x="1263" y="710"/>
                </a:cubicBezTo>
                <a:cubicBezTo>
                  <a:pt x="1264" y="710"/>
                  <a:pt x="1268" y="709"/>
                  <a:pt x="1272" y="709"/>
                </a:cubicBezTo>
                <a:cubicBezTo>
                  <a:pt x="1276" y="709"/>
                  <a:pt x="1280" y="710"/>
                  <a:pt x="1283" y="710"/>
                </a:cubicBezTo>
                <a:cubicBezTo>
                  <a:pt x="1281" y="711"/>
                  <a:pt x="1281" y="712"/>
                  <a:pt x="1281" y="712"/>
                </a:cubicBezTo>
                <a:cubicBezTo>
                  <a:pt x="1279" y="715"/>
                  <a:pt x="1278" y="718"/>
                  <a:pt x="1277" y="722"/>
                </a:cubicBezTo>
                <a:cubicBezTo>
                  <a:pt x="1277" y="726"/>
                  <a:pt x="1276" y="731"/>
                  <a:pt x="1276" y="735"/>
                </a:cubicBezTo>
                <a:cubicBezTo>
                  <a:pt x="1276" y="739"/>
                  <a:pt x="1276" y="742"/>
                  <a:pt x="1278" y="746"/>
                </a:cubicBezTo>
                <a:cubicBezTo>
                  <a:pt x="1278" y="746"/>
                  <a:pt x="1278" y="746"/>
                  <a:pt x="1278" y="747"/>
                </a:cubicBezTo>
                <a:cubicBezTo>
                  <a:pt x="1278" y="747"/>
                  <a:pt x="1277" y="751"/>
                  <a:pt x="1274" y="753"/>
                </a:cubicBezTo>
                <a:cubicBezTo>
                  <a:pt x="1273" y="754"/>
                  <a:pt x="1272" y="752"/>
                  <a:pt x="1271" y="756"/>
                </a:cubicBezTo>
                <a:cubicBezTo>
                  <a:pt x="1271" y="756"/>
                  <a:pt x="1271" y="756"/>
                  <a:pt x="1271" y="756"/>
                </a:cubicBezTo>
                <a:cubicBezTo>
                  <a:pt x="1270" y="752"/>
                  <a:pt x="1268" y="747"/>
                  <a:pt x="1268" y="742"/>
                </a:cubicBezTo>
                <a:cubicBezTo>
                  <a:pt x="1268" y="740"/>
                  <a:pt x="1269" y="739"/>
                  <a:pt x="1269" y="737"/>
                </a:cubicBezTo>
                <a:cubicBezTo>
                  <a:pt x="1269" y="736"/>
                  <a:pt x="1269" y="735"/>
                  <a:pt x="1269" y="734"/>
                </a:cubicBezTo>
                <a:cubicBezTo>
                  <a:pt x="1269" y="724"/>
                  <a:pt x="1264" y="714"/>
                  <a:pt x="1255" y="710"/>
                </a:cubicBezTo>
                <a:cubicBezTo>
                  <a:pt x="1257" y="711"/>
                  <a:pt x="1258" y="711"/>
                  <a:pt x="1259" y="711"/>
                </a:cubicBezTo>
                <a:close/>
                <a:moveTo>
                  <a:pt x="1246" y="708"/>
                </a:moveTo>
                <a:cubicBezTo>
                  <a:pt x="1246" y="708"/>
                  <a:pt x="1246" y="708"/>
                  <a:pt x="1245" y="708"/>
                </a:cubicBezTo>
                <a:cubicBezTo>
                  <a:pt x="1244" y="708"/>
                  <a:pt x="1243" y="708"/>
                  <a:pt x="1242" y="708"/>
                </a:cubicBezTo>
                <a:cubicBezTo>
                  <a:pt x="1226" y="710"/>
                  <a:pt x="1219" y="726"/>
                  <a:pt x="1216" y="727"/>
                </a:cubicBezTo>
                <a:cubicBezTo>
                  <a:pt x="1212" y="731"/>
                  <a:pt x="1212" y="736"/>
                  <a:pt x="1211" y="740"/>
                </a:cubicBezTo>
                <a:cubicBezTo>
                  <a:pt x="1210" y="745"/>
                  <a:pt x="1210" y="750"/>
                  <a:pt x="1210" y="755"/>
                </a:cubicBezTo>
                <a:cubicBezTo>
                  <a:pt x="1210" y="760"/>
                  <a:pt x="1210" y="764"/>
                  <a:pt x="1211" y="766"/>
                </a:cubicBezTo>
                <a:cubicBezTo>
                  <a:pt x="1211" y="767"/>
                  <a:pt x="1211" y="769"/>
                  <a:pt x="1211" y="771"/>
                </a:cubicBezTo>
                <a:cubicBezTo>
                  <a:pt x="1211" y="774"/>
                  <a:pt x="1211" y="779"/>
                  <a:pt x="1210" y="781"/>
                </a:cubicBezTo>
                <a:cubicBezTo>
                  <a:pt x="1208" y="783"/>
                  <a:pt x="1208" y="784"/>
                  <a:pt x="1207" y="784"/>
                </a:cubicBezTo>
                <a:cubicBezTo>
                  <a:pt x="1207" y="784"/>
                  <a:pt x="1207" y="784"/>
                  <a:pt x="1207" y="784"/>
                </a:cubicBezTo>
                <a:cubicBezTo>
                  <a:pt x="1207" y="784"/>
                  <a:pt x="1207" y="783"/>
                  <a:pt x="1206" y="781"/>
                </a:cubicBezTo>
                <a:cubicBezTo>
                  <a:pt x="1205" y="778"/>
                  <a:pt x="1204" y="774"/>
                  <a:pt x="1204" y="770"/>
                </a:cubicBezTo>
                <a:cubicBezTo>
                  <a:pt x="1204" y="765"/>
                  <a:pt x="1205" y="759"/>
                  <a:pt x="1205" y="756"/>
                </a:cubicBezTo>
                <a:cubicBezTo>
                  <a:pt x="1206" y="755"/>
                  <a:pt x="1206" y="754"/>
                  <a:pt x="1206" y="752"/>
                </a:cubicBezTo>
                <a:cubicBezTo>
                  <a:pt x="1206" y="746"/>
                  <a:pt x="1204" y="737"/>
                  <a:pt x="1204" y="730"/>
                </a:cubicBezTo>
                <a:cubicBezTo>
                  <a:pt x="1204" y="725"/>
                  <a:pt x="1205" y="720"/>
                  <a:pt x="1206" y="718"/>
                </a:cubicBezTo>
                <a:cubicBezTo>
                  <a:pt x="1209" y="710"/>
                  <a:pt x="1220" y="706"/>
                  <a:pt x="1229" y="705"/>
                </a:cubicBezTo>
                <a:cubicBezTo>
                  <a:pt x="1229" y="705"/>
                  <a:pt x="1230" y="705"/>
                  <a:pt x="1230" y="705"/>
                </a:cubicBezTo>
                <a:cubicBezTo>
                  <a:pt x="1234" y="705"/>
                  <a:pt x="1239" y="706"/>
                  <a:pt x="1245" y="708"/>
                </a:cubicBezTo>
                <a:cubicBezTo>
                  <a:pt x="1245" y="708"/>
                  <a:pt x="1246" y="708"/>
                  <a:pt x="1246" y="708"/>
                </a:cubicBezTo>
                <a:close/>
                <a:moveTo>
                  <a:pt x="1157" y="679"/>
                </a:moveTo>
                <a:cubicBezTo>
                  <a:pt x="1158" y="679"/>
                  <a:pt x="1158" y="679"/>
                  <a:pt x="1158" y="679"/>
                </a:cubicBezTo>
                <a:cubicBezTo>
                  <a:pt x="1158" y="678"/>
                  <a:pt x="1164" y="677"/>
                  <a:pt x="1173" y="673"/>
                </a:cubicBezTo>
                <a:cubicBezTo>
                  <a:pt x="1171" y="667"/>
                  <a:pt x="1171" y="667"/>
                  <a:pt x="1171" y="667"/>
                </a:cubicBezTo>
                <a:cubicBezTo>
                  <a:pt x="1173" y="673"/>
                  <a:pt x="1173" y="673"/>
                  <a:pt x="1173" y="673"/>
                </a:cubicBezTo>
                <a:cubicBezTo>
                  <a:pt x="1180" y="669"/>
                  <a:pt x="1187" y="664"/>
                  <a:pt x="1193" y="660"/>
                </a:cubicBezTo>
                <a:cubicBezTo>
                  <a:pt x="1198" y="656"/>
                  <a:pt x="1203" y="653"/>
                  <a:pt x="1204" y="653"/>
                </a:cubicBezTo>
                <a:cubicBezTo>
                  <a:pt x="1211" y="662"/>
                  <a:pt x="1222" y="671"/>
                  <a:pt x="1233" y="674"/>
                </a:cubicBezTo>
                <a:cubicBezTo>
                  <a:pt x="1232" y="675"/>
                  <a:pt x="1232" y="677"/>
                  <a:pt x="1231" y="679"/>
                </a:cubicBezTo>
                <a:cubicBezTo>
                  <a:pt x="1230" y="680"/>
                  <a:pt x="1229" y="681"/>
                  <a:pt x="1228" y="682"/>
                </a:cubicBezTo>
                <a:cubicBezTo>
                  <a:pt x="1228" y="682"/>
                  <a:pt x="1228" y="682"/>
                  <a:pt x="1228" y="682"/>
                </a:cubicBezTo>
                <a:cubicBezTo>
                  <a:pt x="1224" y="682"/>
                  <a:pt x="1214" y="679"/>
                  <a:pt x="1204" y="679"/>
                </a:cubicBezTo>
                <a:cubicBezTo>
                  <a:pt x="1201" y="679"/>
                  <a:pt x="1201" y="679"/>
                  <a:pt x="1201" y="678"/>
                </a:cubicBezTo>
                <a:cubicBezTo>
                  <a:pt x="1200" y="678"/>
                  <a:pt x="1200" y="677"/>
                  <a:pt x="1199" y="675"/>
                </a:cubicBezTo>
                <a:cubicBezTo>
                  <a:pt x="1198" y="674"/>
                  <a:pt x="1195" y="672"/>
                  <a:pt x="1192" y="672"/>
                </a:cubicBezTo>
                <a:cubicBezTo>
                  <a:pt x="1191" y="672"/>
                  <a:pt x="1190" y="672"/>
                  <a:pt x="1189" y="672"/>
                </a:cubicBezTo>
                <a:cubicBezTo>
                  <a:pt x="1185" y="674"/>
                  <a:pt x="1174" y="677"/>
                  <a:pt x="1166" y="681"/>
                </a:cubicBezTo>
                <a:cubicBezTo>
                  <a:pt x="1165" y="682"/>
                  <a:pt x="1162" y="683"/>
                  <a:pt x="1160" y="683"/>
                </a:cubicBezTo>
                <a:cubicBezTo>
                  <a:pt x="1159" y="683"/>
                  <a:pt x="1157" y="682"/>
                  <a:pt x="1157" y="682"/>
                </a:cubicBezTo>
                <a:cubicBezTo>
                  <a:pt x="1157" y="680"/>
                  <a:pt x="1157" y="679"/>
                  <a:pt x="1157" y="679"/>
                </a:cubicBezTo>
                <a:close/>
                <a:moveTo>
                  <a:pt x="1239" y="392"/>
                </a:moveTo>
                <a:cubicBezTo>
                  <a:pt x="1238" y="392"/>
                  <a:pt x="1238" y="392"/>
                  <a:pt x="1237" y="393"/>
                </a:cubicBezTo>
                <a:cubicBezTo>
                  <a:pt x="1236" y="393"/>
                  <a:pt x="1235" y="393"/>
                  <a:pt x="1234" y="393"/>
                </a:cubicBezTo>
                <a:cubicBezTo>
                  <a:pt x="1233" y="393"/>
                  <a:pt x="1233" y="393"/>
                  <a:pt x="1232" y="392"/>
                </a:cubicBezTo>
                <a:cubicBezTo>
                  <a:pt x="1232" y="392"/>
                  <a:pt x="1232" y="392"/>
                  <a:pt x="1231" y="391"/>
                </a:cubicBezTo>
                <a:cubicBezTo>
                  <a:pt x="1234" y="391"/>
                  <a:pt x="1236" y="392"/>
                  <a:pt x="1239" y="392"/>
                </a:cubicBezTo>
                <a:close/>
                <a:moveTo>
                  <a:pt x="1190" y="333"/>
                </a:moveTo>
                <a:cubicBezTo>
                  <a:pt x="1192" y="333"/>
                  <a:pt x="1194" y="333"/>
                  <a:pt x="1196" y="333"/>
                </a:cubicBezTo>
                <a:cubicBezTo>
                  <a:pt x="1198" y="333"/>
                  <a:pt x="1200" y="332"/>
                  <a:pt x="1202" y="332"/>
                </a:cubicBezTo>
                <a:cubicBezTo>
                  <a:pt x="1208" y="332"/>
                  <a:pt x="1213" y="333"/>
                  <a:pt x="1217" y="334"/>
                </a:cubicBezTo>
                <a:cubicBezTo>
                  <a:pt x="1218" y="334"/>
                  <a:pt x="1219" y="334"/>
                  <a:pt x="1219" y="334"/>
                </a:cubicBezTo>
                <a:cubicBezTo>
                  <a:pt x="1219" y="335"/>
                  <a:pt x="1219" y="336"/>
                  <a:pt x="1219" y="337"/>
                </a:cubicBezTo>
                <a:cubicBezTo>
                  <a:pt x="1219" y="339"/>
                  <a:pt x="1218" y="341"/>
                  <a:pt x="1218" y="342"/>
                </a:cubicBezTo>
                <a:cubicBezTo>
                  <a:pt x="1218" y="343"/>
                  <a:pt x="1217" y="343"/>
                  <a:pt x="1217" y="343"/>
                </a:cubicBezTo>
                <a:cubicBezTo>
                  <a:pt x="1215" y="344"/>
                  <a:pt x="1212" y="345"/>
                  <a:pt x="1208" y="347"/>
                </a:cubicBezTo>
                <a:cubicBezTo>
                  <a:pt x="1204" y="348"/>
                  <a:pt x="1199" y="352"/>
                  <a:pt x="1197" y="358"/>
                </a:cubicBezTo>
                <a:cubicBezTo>
                  <a:pt x="1197" y="358"/>
                  <a:pt x="1197" y="359"/>
                  <a:pt x="1197" y="359"/>
                </a:cubicBezTo>
                <a:cubicBezTo>
                  <a:pt x="1197" y="357"/>
                  <a:pt x="1197" y="356"/>
                  <a:pt x="1197" y="354"/>
                </a:cubicBezTo>
                <a:cubicBezTo>
                  <a:pt x="1197" y="349"/>
                  <a:pt x="1196" y="343"/>
                  <a:pt x="1191" y="339"/>
                </a:cubicBezTo>
                <a:cubicBezTo>
                  <a:pt x="1188" y="336"/>
                  <a:pt x="1185" y="334"/>
                  <a:pt x="1182" y="332"/>
                </a:cubicBezTo>
                <a:cubicBezTo>
                  <a:pt x="1184" y="333"/>
                  <a:pt x="1187" y="333"/>
                  <a:pt x="1190" y="333"/>
                </a:cubicBezTo>
                <a:close/>
                <a:moveTo>
                  <a:pt x="1102" y="289"/>
                </a:moveTo>
                <a:cubicBezTo>
                  <a:pt x="1101" y="287"/>
                  <a:pt x="1101" y="287"/>
                  <a:pt x="1101" y="287"/>
                </a:cubicBezTo>
                <a:cubicBezTo>
                  <a:pt x="1102" y="289"/>
                  <a:pt x="1102" y="289"/>
                  <a:pt x="1102" y="289"/>
                </a:cubicBezTo>
                <a:cubicBezTo>
                  <a:pt x="1102" y="289"/>
                  <a:pt x="1102" y="289"/>
                  <a:pt x="1102" y="289"/>
                </a:cubicBezTo>
                <a:close/>
                <a:moveTo>
                  <a:pt x="190" y="423"/>
                </a:moveTo>
                <a:cubicBezTo>
                  <a:pt x="188" y="425"/>
                  <a:pt x="186" y="427"/>
                  <a:pt x="184" y="427"/>
                </a:cubicBezTo>
                <a:cubicBezTo>
                  <a:pt x="183" y="427"/>
                  <a:pt x="183" y="427"/>
                  <a:pt x="183" y="427"/>
                </a:cubicBezTo>
                <a:cubicBezTo>
                  <a:pt x="181" y="427"/>
                  <a:pt x="180" y="427"/>
                  <a:pt x="179" y="426"/>
                </a:cubicBezTo>
                <a:cubicBezTo>
                  <a:pt x="180" y="426"/>
                  <a:pt x="182" y="425"/>
                  <a:pt x="183" y="423"/>
                </a:cubicBezTo>
                <a:cubicBezTo>
                  <a:pt x="186" y="420"/>
                  <a:pt x="188" y="420"/>
                  <a:pt x="191" y="420"/>
                </a:cubicBezTo>
                <a:cubicBezTo>
                  <a:pt x="192" y="420"/>
                  <a:pt x="192" y="420"/>
                  <a:pt x="193" y="420"/>
                </a:cubicBezTo>
                <a:cubicBezTo>
                  <a:pt x="192" y="421"/>
                  <a:pt x="191" y="422"/>
                  <a:pt x="190" y="423"/>
                </a:cubicBezTo>
                <a:close/>
                <a:moveTo>
                  <a:pt x="692" y="653"/>
                </a:moveTo>
                <a:cubicBezTo>
                  <a:pt x="692" y="653"/>
                  <a:pt x="692" y="652"/>
                  <a:pt x="692" y="652"/>
                </a:cubicBezTo>
                <a:cubicBezTo>
                  <a:pt x="692" y="652"/>
                  <a:pt x="692" y="652"/>
                  <a:pt x="692" y="652"/>
                </a:cubicBezTo>
                <a:cubicBezTo>
                  <a:pt x="692" y="653"/>
                  <a:pt x="693" y="653"/>
                  <a:pt x="693" y="653"/>
                </a:cubicBezTo>
                <a:cubicBezTo>
                  <a:pt x="693" y="653"/>
                  <a:pt x="692" y="653"/>
                  <a:pt x="692" y="653"/>
                </a:cubicBezTo>
                <a:close/>
                <a:moveTo>
                  <a:pt x="714" y="672"/>
                </a:moveTo>
                <a:cubicBezTo>
                  <a:pt x="714" y="673"/>
                  <a:pt x="716" y="676"/>
                  <a:pt x="716" y="680"/>
                </a:cubicBezTo>
                <a:cubicBezTo>
                  <a:pt x="715" y="677"/>
                  <a:pt x="714" y="675"/>
                  <a:pt x="714" y="672"/>
                </a:cubicBezTo>
                <a:close/>
                <a:moveTo>
                  <a:pt x="832" y="962"/>
                </a:moveTo>
                <a:cubicBezTo>
                  <a:pt x="832" y="961"/>
                  <a:pt x="832" y="960"/>
                  <a:pt x="835" y="957"/>
                </a:cubicBezTo>
                <a:cubicBezTo>
                  <a:pt x="835" y="957"/>
                  <a:pt x="836" y="957"/>
                  <a:pt x="836" y="956"/>
                </a:cubicBezTo>
                <a:cubicBezTo>
                  <a:pt x="837" y="957"/>
                  <a:pt x="838" y="960"/>
                  <a:pt x="839" y="963"/>
                </a:cubicBezTo>
                <a:cubicBezTo>
                  <a:pt x="840" y="967"/>
                  <a:pt x="841" y="972"/>
                  <a:pt x="843" y="977"/>
                </a:cubicBezTo>
                <a:cubicBezTo>
                  <a:pt x="843" y="977"/>
                  <a:pt x="843" y="977"/>
                  <a:pt x="843" y="977"/>
                </a:cubicBezTo>
                <a:cubicBezTo>
                  <a:pt x="836" y="970"/>
                  <a:pt x="831" y="964"/>
                  <a:pt x="832" y="962"/>
                </a:cubicBezTo>
                <a:close/>
                <a:moveTo>
                  <a:pt x="897" y="270"/>
                </a:moveTo>
                <a:cubicBezTo>
                  <a:pt x="897" y="270"/>
                  <a:pt x="896" y="270"/>
                  <a:pt x="896" y="270"/>
                </a:cubicBezTo>
                <a:cubicBezTo>
                  <a:pt x="892" y="270"/>
                  <a:pt x="888" y="270"/>
                  <a:pt x="883" y="271"/>
                </a:cubicBezTo>
                <a:cubicBezTo>
                  <a:pt x="873" y="272"/>
                  <a:pt x="857" y="275"/>
                  <a:pt x="850" y="275"/>
                </a:cubicBezTo>
                <a:cubicBezTo>
                  <a:pt x="849" y="275"/>
                  <a:pt x="849" y="275"/>
                  <a:pt x="849" y="275"/>
                </a:cubicBezTo>
                <a:cubicBezTo>
                  <a:pt x="848" y="275"/>
                  <a:pt x="847" y="275"/>
                  <a:pt x="847" y="275"/>
                </a:cubicBezTo>
                <a:cubicBezTo>
                  <a:pt x="846" y="274"/>
                  <a:pt x="844" y="271"/>
                  <a:pt x="836" y="268"/>
                </a:cubicBezTo>
                <a:cubicBezTo>
                  <a:pt x="824" y="261"/>
                  <a:pt x="818" y="261"/>
                  <a:pt x="812" y="258"/>
                </a:cubicBezTo>
                <a:cubicBezTo>
                  <a:pt x="816" y="256"/>
                  <a:pt x="818" y="254"/>
                  <a:pt x="821" y="252"/>
                </a:cubicBezTo>
                <a:cubicBezTo>
                  <a:pt x="823" y="251"/>
                  <a:pt x="824" y="250"/>
                  <a:pt x="825" y="249"/>
                </a:cubicBezTo>
                <a:cubicBezTo>
                  <a:pt x="826" y="249"/>
                  <a:pt x="827" y="249"/>
                  <a:pt x="827" y="249"/>
                </a:cubicBezTo>
                <a:cubicBezTo>
                  <a:pt x="828" y="250"/>
                  <a:pt x="829" y="253"/>
                  <a:pt x="831" y="256"/>
                </a:cubicBezTo>
                <a:cubicBezTo>
                  <a:pt x="832" y="259"/>
                  <a:pt x="834" y="264"/>
                  <a:pt x="839" y="267"/>
                </a:cubicBezTo>
                <a:cubicBezTo>
                  <a:pt x="844" y="269"/>
                  <a:pt x="849" y="270"/>
                  <a:pt x="855" y="270"/>
                </a:cubicBezTo>
                <a:cubicBezTo>
                  <a:pt x="860" y="270"/>
                  <a:pt x="866" y="269"/>
                  <a:pt x="871" y="268"/>
                </a:cubicBezTo>
                <a:cubicBezTo>
                  <a:pt x="873" y="267"/>
                  <a:pt x="881" y="266"/>
                  <a:pt x="887" y="266"/>
                </a:cubicBezTo>
                <a:cubicBezTo>
                  <a:pt x="893" y="266"/>
                  <a:pt x="899" y="266"/>
                  <a:pt x="902" y="267"/>
                </a:cubicBezTo>
                <a:cubicBezTo>
                  <a:pt x="904" y="267"/>
                  <a:pt x="908" y="268"/>
                  <a:pt x="913" y="269"/>
                </a:cubicBezTo>
                <a:cubicBezTo>
                  <a:pt x="913" y="270"/>
                  <a:pt x="913" y="271"/>
                  <a:pt x="913" y="272"/>
                </a:cubicBezTo>
                <a:cubicBezTo>
                  <a:pt x="913" y="273"/>
                  <a:pt x="913" y="274"/>
                  <a:pt x="913" y="276"/>
                </a:cubicBezTo>
                <a:cubicBezTo>
                  <a:pt x="908" y="272"/>
                  <a:pt x="902" y="270"/>
                  <a:pt x="897" y="270"/>
                </a:cubicBezTo>
                <a:close/>
                <a:moveTo>
                  <a:pt x="1692" y="1468"/>
                </a:moveTo>
                <a:cubicBezTo>
                  <a:pt x="1691" y="1470"/>
                  <a:pt x="1691" y="1471"/>
                  <a:pt x="1682" y="1473"/>
                </a:cubicBezTo>
                <a:cubicBezTo>
                  <a:pt x="1680" y="1474"/>
                  <a:pt x="1679" y="1474"/>
                  <a:pt x="1678" y="1474"/>
                </a:cubicBezTo>
                <a:cubicBezTo>
                  <a:pt x="1677" y="1474"/>
                  <a:pt x="1676" y="1474"/>
                  <a:pt x="1676" y="1474"/>
                </a:cubicBezTo>
                <a:cubicBezTo>
                  <a:pt x="1676" y="1473"/>
                  <a:pt x="1677" y="1473"/>
                  <a:pt x="1678" y="1473"/>
                </a:cubicBezTo>
                <a:cubicBezTo>
                  <a:pt x="1683" y="1472"/>
                  <a:pt x="1688" y="1470"/>
                  <a:pt x="1692" y="1467"/>
                </a:cubicBezTo>
                <a:cubicBezTo>
                  <a:pt x="1692" y="1467"/>
                  <a:pt x="1692" y="1468"/>
                  <a:pt x="1692" y="1468"/>
                </a:cubicBezTo>
                <a:close/>
                <a:moveTo>
                  <a:pt x="1712" y="1500"/>
                </a:moveTo>
                <a:cubicBezTo>
                  <a:pt x="1712" y="1500"/>
                  <a:pt x="1712" y="1500"/>
                  <a:pt x="1712" y="1500"/>
                </a:cubicBezTo>
                <a:cubicBezTo>
                  <a:pt x="1712" y="1500"/>
                  <a:pt x="1712" y="1500"/>
                  <a:pt x="1712" y="1500"/>
                </a:cubicBezTo>
                <a:cubicBezTo>
                  <a:pt x="1712" y="1500"/>
                  <a:pt x="1712" y="1500"/>
                  <a:pt x="1712" y="1500"/>
                </a:cubicBezTo>
                <a:cubicBezTo>
                  <a:pt x="1712" y="1500"/>
                  <a:pt x="1712" y="1500"/>
                  <a:pt x="1712" y="1500"/>
                </a:cubicBezTo>
                <a:close/>
                <a:moveTo>
                  <a:pt x="1024" y="266"/>
                </a:moveTo>
                <a:cubicBezTo>
                  <a:pt x="1021" y="266"/>
                  <a:pt x="1014" y="264"/>
                  <a:pt x="1008" y="264"/>
                </a:cubicBezTo>
                <a:cubicBezTo>
                  <a:pt x="1003" y="264"/>
                  <a:pt x="998" y="265"/>
                  <a:pt x="994" y="268"/>
                </a:cubicBezTo>
                <a:cubicBezTo>
                  <a:pt x="990" y="271"/>
                  <a:pt x="989" y="276"/>
                  <a:pt x="989" y="279"/>
                </a:cubicBezTo>
                <a:cubicBezTo>
                  <a:pt x="989" y="287"/>
                  <a:pt x="993" y="296"/>
                  <a:pt x="1003" y="297"/>
                </a:cubicBezTo>
                <a:cubicBezTo>
                  <a:pt x="1004" y="297"/>
                  <a:pt x="1005" y="297"/>
                  <a:pt x="1005" y="297"/>
                </a:cubicBezTo>
                <a:cubicBezTo>
                  <a:pt x="1012" y="297"/>
                  <a:pt x="1019" y="295"/>
                  <a:pt x="1023" y="294"/>
                </a:cubicBezTo>
                <a:cubicBezTo>
                  <a:pt x="1024" y="297"/>
                  <a:pt x="1025" y="302"/>
                  <a:pt x="1027" y="307"/>
                </a:cubicBezTo>
                <a:cubicBezTo>
                  <a:pt x="1030" y="312"/>
                  <a:pt x="1034" y="320"/>
                  <a:pt x="1044" y="320"/>
                </a:cubicBezTo>
                <a:cubicBezTo>
                  <a:pt x="1047" y="320"/>
                  <a:pt x="1049" y="319"/>
                  <a:pt x="1052" y="318"/>
                </a:cubicBezTo>
                <a:cubicBezTo>
                  <a:pt x="1060" y="313"/>
                  <a:pt x="1064" y="308"/>
                  <a:pt x="1066" y="305"/>
                </a:cubicBezTo>
                <a:cubicBezTo>
                  <a:pt x="1067" y="303"/>
                  <a:pt x="1068" y="302"/>
                  <a:pt x="1068" y="301"/>
                </a:cubicBezTo>
                <a:cubicBezTo>
                  <a:pt x="1071" y="300"/>
                  <a:pt x="1072" y="298"/>
                  <a:pt x="1073" y="297"/>
                </a:cubicBezTo>
                <a:cubicBezTo>
                  <a:pt x="1073" y="295"/>
                  <a:pt x="1073" y="294"/>
                  <a:pt x="1073" y="292"/>
                </a:cubicBezTo>
                <a:cubicBezTo>
                  <a:pt x="1073" y="284"/>
                  <a:pt x="1070" y="272"/>
                  <a:pt x="1063" y="265"/>
                </a:cubicBezTo>
                <a:cubicBezTo>
                  <a:pt x="1058" y="262"/>
                  <a:pt x="1053" y="262"/>
                  <a:pt x="1047" y="262"/>
                </a:cubicBezTo>
                <a:cubicBezTo>
                  <a:pt x="1039" y="262"/>
                  <a:pt x="1030" y="263"/>
                  <a:pt x="1025" y="266"/>
                </a:cubicBezTo>
                <a:cubicBezTo>
                  <a:pt x="1025" y="266"/>
                  <a:pt x="1025" y="266"/>
                  <a:pt x="1025" y="266"/>
                </a:cubicBezTo>
                <a:cubicBezTo>
                  <a:pt x="1025" y="266"/>
                  <a:pt x="1024" y="266"/>
                  <a:pt x="1024" y="266"/>
                </a:cubicBezTo>
                <a:close/>
                <a:moveTo>
                  <a:pt x="2576" y="835"/>
                </a:moveTo>
                <a:cubicBezTo>
                  <a:pt x="2575" y="835"/>
                  <a:pt x="2567" y="833"/>
                  <a:pt x="2559" y="833"/>
                </a:cubicBezTo>
                <a:cubicBezTo>
                  <a:pt x="2556" y="833"/>
                  <a:pt x="2552" y="833"/>
                  <a:pt x="2548" y="836"/>
                </a:cubicBezTo>
                <a:cubicBezTo>
                  <a:pt x="2546" y="837"/>
                  <a:pt x="2544" y="840"/>
                  <a:pt x="2544" y="843"/>
                </a:cubicBezTo>
                <a:cubicBezTo>
                  <a:pt x="2545" y="849"/>
                  <a:pt x="2548" y="851"/>
                  <a:pt x="2551" y="854"/>
                </a:cubicBezTo>
                <a:cubicBezTo>
                  <a:pt x="2555" y="857"/>
                  <a:pt x="2558" y="860"/>
                  <a:pt x="2562" y="862"/>
                </a:cubicBezTo>
                <a:cubicBezTo>
                  <a:pt x="2563" y="862"/>
                  <a:pt x="2565" y="864"/>
                  <a:pt x="2568" y="867"/>
                </a:cubicBezTo>
                <a:cubicBezTo>
                  <a:pt x="2570" y="869"/>
                  <a:pt x="2572" y="873"/>
                  <a:pt x="2577" y="874"/>
                </a:cubicBezTo>
                <a:cubicBezTo>
                  <a:pt x="2577" y="874"/>
                  <a:pt x="2577" y="874"/>
                  <a:pt x="2577" y="874"/>
                </a:cubicBezTo>
                <a:cubicBezTo>
                  <a:pt x="2577" y="874"/>
                  <a:pt x="2577" y="874"/>
                  <a:pt x="2577" y="874"/>
                </a:cubicBezTo>
                <a:cubicBezTo>
                  <a:pt x="2577" y="874"/>
                  <a:pt x="2577" y="874"/>
                  <a:pt x="2577" y="874"/>
                </a:cubicBezTo>
                <a:cubicBezTo>
                  <a:pt x="2579" y="875"/>
                  <a:pt x="2581" y="875"/>
                  <a:pt x="2583" y="875"/>
                </a:cubicBezTo>
                <a:cubicBezTo>
                  <a:pt x="2586" y="875"/>
                  <a:pt x="2590" y="874"/>
                  <a:pt x="2594" y="872"/>
                </a:cubicBezTo>
                <a:cubicBezTo>
                  <a:pt x="2598" y="870"/>
                  <a:pt x="2601" y="865"/>
                  <a:pt x="2601" y="859"/>
                </a:cubicBezTo>
                <a:cubicBezTo>
                  <a:pt x="2601" y="857"/>
                  <a:pt x="2600" y="855"/>
                  <a:pt x="2600" y="853"/>
                </a:cubicBezTo>
                <a:cubicBezTo>
                  <a:pt x="2594" y="836"/>
                  <a:pt x="2579" y="834"/>
                  <a:pt x="2576" y="835"/>
                </a:cubicBezTo>
                <a:close/>
                <a:moveTo>
                  <a:pt x="4079" y="1252"/>
                </a:moveTo>
                <a:cubicBezTo>
                  <a:pt x="4079" y="1252"/>
                  <a:pt x="4079" y="1252"/>
                  <a:pt x="4078" y="1252"/>
                </a:cubicBezTo>
                <a:cubicBezTo>
                  <a:pt x="4074" y="1252"/>
                  <a:pt x="4073" y="1255"/>
                  <a:pt x="4071" y="1256"/>
                </a:cubicBezTo>
                <a:cubicBezTo>
                  <a:pt x="4067" y="1261"/>
                  <a:pt x="4063" y="1269"/>
                  <a:pt x="4063" y="1277"/>
                </a:cubicBezTo>
                <a:cubicBezTo>
                  <a:pt x="4063" y="1280"/>
                  <a:pt x="4063" y="1282"/>
                  <a:pt x="4064" y="1284"/>
                </a:cubicBezTo>
                <a:cubicBezTo>
                  <a:pt x="4064" y="1284"/>
                  <a:pt x="4064" y="1284"/>
                  <a:pt x="4064" y="1284"/>
                </a:cubicBezTo>
                <a:cubicBezTo>
                  <a:pt x="4059" y="1279"/>
                  <a:pt x="4054" y="1273"/>
                  <a:pt x="4045" y="1272"/>
                </a:cubicBezTo>
                <a:cubicBezTo>
                  <a:pt x="4042" y="1272"/>
                  <a:pt x="4040" y="1273"/>
                  <a:pt x="4038" y="1274"/>
                </a:cubicBezTo>
                <a:cubicBezTo>
                  <a:pt x="4035" y="1275"/>
                  <a:pt x="4034" y="1277"/>
                  <a:pt x="4033" y="1278"/>
                </a:cubicBezTo>
                <a:cubicBezTo>
                  <a:pt x="4030" y="1283"/>
                  <a:pt x="4027" y="1290"/>
                  <a:pt x="4027" y="1298"/>
                </a:cubicBezTo>
                <a:cubicBezTo>
                  <a:pt x="4027" y="1301"/>
                  <a:pt x="4027" y="1304"/>
                  <a:pt x="4030" y="1307"/>
                </a:cubicBezTo>
                <a:cubicBezTo>
                  <a:pt x="4032" y="1310"/>
                  <a:pt x="4036" y="1312"/>
                  <a:pt x="4039" y="1311"/>
                </a:cubicBezTo>
                <a:cubicBezTo>
                  <a:pt x="4046" y="1311"/>
                  <a:pt x="4055" y="1313"/>
                  <a:pt x="4062" y="1313"/>
                </a:cubicBezTo>
                <a:cubicBezTo>
                  <a:pt x="4065" y="1313"/>
                  <a:pt x="4067" y="1313"/>
                  <a:pt x="4069" y="1312"/>
                </a:cubicBezTo>
                <a:cubicBezTo>
                  <a:pt x="4071" y="1312"/>
                  <a:pt x="4072" y="1311"/>
                  <a:pt x="4073" y="1310"/>
                </a:cubicBezTo>
                <a:cubicBezTo>
                  <a:pt x="4075" y="1309"/>
                  <a:pt x="4076" y="1307"/>
                  <a:pt x="4076" y="1304"/>
                </a:cubicBezTo>
                <a:cubicBezTo>
                  <a:pt x="4076" y="1302"/>
                  <a:pt x="4075" y="1301"/>
                  <a:pt x="4074" y="1299"/>
                </a:cubicBezTo>
                <a:cubicBezTo>
                  <a:pt x="4073" y="1297"/>
                  <a:pt x="4070" y="1293"/>
                  <a:pt x="4067" y="1289"/>
                </a:cubicBezTo>
                <a:cubicBezTo>
                  <a:pt x="4070" y="1291"/>
                  <a:pt x="4074" y="1292"/>
                  <a:pt x="4078" y="1292"/>
                </a:cubicBezTo>
                <a:cubicBezTo>
                  <a:pt x="4079" y="1292"/>
                  <a:pt x="4079" y="1292"/>
                  <a:pt x="4080" y="1292"/>
                </a:cubicBezTo>
                <a:cubicBezTo>
                  <a:pt x="4092" y="1292"/>
                  <a:pt x="4099" y="1283"/>
                  <a:pt x="4099" y="1274"/>
                </a:cubicBezTo>
                <a:cubicBezTo>
                  <a:pt x="4099" y="1264"/>
                  <a:pt x="4091" y="1252"/>
                  <a:pt x="4079" y="1252"/>
                </a:cubicBezTo>
                <a:close/>
                <a:moveTo>
                  <a:pt x="4392" y="2119"/>
                </a:moveTo>
                <a:cubicBezTo>
                  <a:pt x="4385" y="2120"/>
                  <a:pt x="4381" y="2124"/>
                  <a:pt x="4375" y="2127"/>
                </a:cubicBezTo>
                <a:cubicBezTo>
                  <a:pt x="4372" y="2129"/>
                  <a:pt x="4369" y="2131"/>
                  <a:pt x="4367" y="2132"/>
                </a:cubicBezTo>
                <a:cubicBezTo>
                  <a:pt x="4366" y="2133"/>
                  <a:pt x="4365" y="2133"/>
                  <a:pt x="4365" y="2133"/>
                </a:cubicBezTo>
                <a:cubicBezTo>
                  <a:pt x="4365" y="2133"/>
                  <a:pt x="4364" y="2133"/>
                  <a:pt x="4364" y="2133"/>
                </a:cubicBezTo>
                <a:cubicBezTo>
                  <a:pt x="4359" y="2132"/>
                  <a:pt x="4348" y="2127"/>
                  <a:pt x="4348" y="2127"/>
                </a:cubicBezTo>
                <a:cubicBezTo>
                  <a:pt x="4345" y="2126"/>
                  <a:pt x="4343" y="2127"/>
                  <a:pt x="4341" y="2129"/>
                </a:cubicBezTo>
                <a:cubicBezTo>
                  <a:pt x="4338" y="2132"/>
                  <a:pt x="4336" y="2136"/>
                  <a:pt x="4336" y="2140"/>
                </a:cubicBezTo>
                <a:cubicBezTo>
                  <a:pt x="4336" y="2148"/>
                  <a:pt x="4342" y="2151"/>
                  <a:pt x="4344" y="2154"/>
                </a:cubicBezTo>
                <a:cubicBezTo>
                  <a:pt x="4348" y="2157"/>
                  <a:pt x="4349" y="2158"/>
                  <a:pt x="4349" y="2160"/>
                </a:cubicBezTo>
                <a:cubicBezTo>
                  <a:pt x="4349" y="2161"/>
                  <a:pt x="4349" y="2161"/>
                  <a:pt x="4349" y="2162"/>
                </a:cubicBezTo>
                <a:cubicBezTo>
                  <a:pt x="4348" y="2163"/>
                  <a:pt x="4348" y="2165"/>
                  <a:pt x="4348" y="2166"/>
                </a:cubicBezTo>
                <a:cubicBezTo>
                  <a:pt x="4348" y="2170"/>
                  <a:pt x="4350" y="2175"/>
                  <a:pt x="4354" y="2177"/>
                </a:cubicBezTo>
                <a:cubicBezTo>
                  <a:pt x="4357" y="2179"/>
                  <a:pt x="4360" y="2179"/>
                  <a:pt x="4363" y="2179"/>
                </a:cubicBezTo>
                <a:cubicBezTo>
                  <a:pt x="4370" y="2179"/>
                  <a:pt x="4376" y="2177"/>
                  <a:pt x="4380" y="2175"/>
                </a:cubicBezTo>
                <a:cubicBezTo>
                  <a:pt x="4384" y="2173"/>
                  <a:pt x="4385" y="2171"/>
                  <a:pt x="4388" y="2167"/>
                </a:cubicBezTo>
                <a:cubicBezTo>
                  <a:pt x="4394" y="2157"/>
                  <a:pt x="4401" y="2140"/>
                  <a:pt x="4401" y="2129"/>
                </a:cubicBezTo>
                <a:cubicBezTo>
                  <a:pt x="4401" y="2128"/>
                  <a:pt x="4401" y="2127"/>
                  <a:pt x="4401" y="2125"/>
                </a:cubicBezTo>
                <a:cubicBezTo>
                  <a:pt x="4400" y="2122"/>
                  <a:pt x="4395" y="2119"/>
                  <a:pt x="4392" y="2119"/>
                </a:cubicBezTo>
                <a:close/>
                <a:moveTo>
                  <a:pt x="4086" y="1305"/>
                </a:moveTo>
                <a:cubicBezTo>
                  <a:pt x="4085" y="1304"/>
                  <a:pt x="4083" y="1303"/>
                  <a:pt x="4081" y="1304"/>
                </a:cubicBezTo>
                <a:cubicBezTo>
                  <a:pt x="4079" y="1304"/>
                  <a:pt x="4078" y="1305"/>
                  <a:pt x="4077" y="1306"/>
                </a:cubicBezTo>
                <a:cubicBezTo>
                  <a:pt x="4072" y="1313"/>
                  <a:pt x="4069" y="1318"/>
                  <a:pt x="4067" y="1320"/>
                </a:cubicBezTo>
                <a:cubicBezTo>
                  <a:pt x="4066" y="1321"/>
                  <a:pt x="4066" y="1322"/>
                  <a:pt x="4065" y="1322"/>
                </a:cubicBezTo>
                <a:cubicBezTo>
                  <a:pt x="4064" y="1321"/>
                  <a:pt x="4062" y="1320"/>
                  <a:pt x="4058" y="1318"/>
                </a:cubicBezTo>
                <a:cubicBezTo>
                  <a:pt x="4056" y="1317"/>
                  <a:pt x="4053" y="1316"/>
                  <a:pt x="4051" y="1316"/>
                </a:cubicBezTo>
                <a:cubicBezTo>
                  <a:pt x="4043" y="1316"/>
                  <a:pt x="4037" y="1320"/>
                  <a:pt x="4032" y="1324"/>
                </a:cubicBezTo>
                <a:cubicBezTo>
                  <a:pt x="4027" y="1329"/>
                  <a:pt x="4023" y="1334"/>
                  <a:pt x="4022" y="1341"/>
                </a:cubicBezTo>
                <a:cubicBezTo>
                  <a:pt x="4022" y="1342"/>
                  <a:pt x="4023" y="1344"/>
                  <a:pt x="4024" y="1346"/>
                </a:cubicBezTo>
                <a:cubicBezTo>
                  <a:pt x="4026" y="1350"/>
                  <a:pt x="4031" y="1351"/>
                  <a:pt x="4034" y="1352"/>
                </a:cubicBezTo>
                <a:cubicBezTo>
                  <a:pt x="4040" y="1352"/>
                  <a:pt x="4045" y="1352"/>
                  <a:pt x="4050" y="1353"/>
                </a:cubicBezTo>
                <a:cubicBezTo>
                  <a:pt x="4055" y="1353"/>
                  <a:pt x="4057" y="1355"/>
                  <a:pt x="4058" y="1356"/>
                </a:cubicBezTo>
                <a:cubicBezTo>
                  <a:pt x="4060" y="1361"/>
                  <a:pt x="4061" y="1364"/>
                  <a:pt x="4063" y="1367"/>
                </a:cubicBezTo>
                <a:cubicBezTo>
                  <a:pt x="4065" y="1370"/>
                  <a:pt x="4069" y="1372"/>
                  <a:pt x="4073" y="1372"/>
                </a:cubicBezTo>
                <a:cubicBezTo>
                  <a:pt x="4073" y="1372"/>
                  <a:pt x="4073" y="1372"/>
                  <a:pt x="4074" y="1372"/>
                </a:cubicBezTo>
                <a:cubicBezTo>
                  <a:pt x="4076" y="1372"/>
                  <a:pt x="4079" y="1371"/>
                  <a:pt x="4082" y="1371"/>
                </a:cubicBezTo>
                <a:cubicBezTo>
                  <a:pt x="4090" y="1369"/>
                  <a:pt x="4095" y="1363"/>
                  <a:pt x="4100" y="1357"/>
                </a:cubicBezTo>
                <a:cubicBezTo>
                  <a:pt x="4104" y="1351"/>
                  <a:pt x="4107" y="1344"/>
                  <a:pt x="4107" y="1337"/>
                </a:cubicBezTo>
                <a:cubicBezTo>
                  <a:pt x="4107" y="1335"/>
                  <a:pt x="4107" y="1333"/>
                  <a:pt x="4106" y="1331"/>
                </a:cubicBezTo>
                <a:cubicBezTo>
                  <a:pt x="4101" y="1319"/>
                  <a:pt x="4086" y="1306"/>
                  <a:pt x="4086" y="1305"/>
                </a:cubicBezTo>
                <a:close/>
                <a:moveTo>
                  <a:pt x="4425" y="1824"/>
                </a:moveTo>
                <a:cubicBezTo>
                  <a:pt x="4417" y="1815"/>
                  <a:pt x="4412" y="1805"/>
                  <a:pt x="4412" y="1803"/>
                </a:cubicBezTo>
                <a:cubicBezTo>
                  <a:pt x="4412" y="1803"/>
                  <a:pt x="4412" y="1803"/>
                  <a:pt x="4412" y="1803"/>
                </a:cubicBezTo>
                <a:cubicBezTo>
                  <a:pt x="4412" y="1802"/>
                  <a:pt x="4412" y="1802"/>
                  <a:pt x="4412" y="1802"/>
                </a:cubicBezTo>
                <a:cubicBezTo>
                  <a:pt x="4412" y="1802"/>
                  <a:pt x="4412" y="1801"/>
                  <a:pt x="4412" y="1801"/>
                </a:cubicBezTo>
                <a:cubicBezTo>
                  <a:pt x="4413" y="1796"/>
                  <a:pt x="4410" y="1792"/>
                  <a:pt x="4407" y="1789"/>
                </a:cubicBezTo>
                <a:cubicBezTo>
                  <a:pt x="4398" y="1782"/>
                  <a:pt x="4386" y="1781"/>
                  <a:pt x="4381" y="1775"/>
                </a:cubicBezTo>
                <a:cubicBezTo>
                  <a:pt x="4377" y="1772"/>
                  <a:pt x="4374" y="1764"/>
                  <a:pt x="4372" y="1753"/>
                </a:cubicBezTo>
                <a:cubicBezTo>
                  <a:pt x="4370" y="1743"/>
                  <a:pt x="4368" y="1732"/>
                  <a:pt x="4365" y="1722"/>
                </a:cubicBezTo>
                <a:cubicBezTo>
                  <a:pt x="4359" y="1704"/>
                  <a:pt x="4346" y="1693"/>
                  <a:pt x="4335" y="1678"/>
                </a:cubicBezTo>
                <a:cubicBezTo>
                  <a:pt x="4331" y="1672"/>
                  <a:pt x="4326" y="1661"/>
                  <a:pt x="4323" y="1651"/>
                </a:cubicBezTo>
                <a:cubicBezTo>
                  <a:pt x="4322" y="1646"/>
                  <a:pt x="4320" y="1642"/>
                  <a:pt x="4319" y="1638"/>
                </a:cubicBezTo>
                <a:cubicBezTo>
                  <a:pt x="4318" y="1636"/>
                  <a:pt x="4318" y="1635"/>
                  <a:pt x="4317" y="1633"/>
                </a:cubicBezTo>
                <a:cubicBezTo>
                  <a:pt x="4316" y="1633"/>
                  <a:pt x="4316" y="1631"/>
                  <a:pt x="4315" y="1630"/>
                </a:cubicBezTo>
                <a:cubicBezTo>
                  <a:pt x="4320" y="1627"/>
                  <a:pt x="4324" y="1621"/>
                  <a:pt x="4327" y="1615"/>
                </a:cubicBezTo>
                <a:cubicBezTo>
                  <a:pt x="4331" y="1607"/>
                  <a:pt x="4335" y="1599"/>
                  <a:pt x="4336" y="1597"/>
                </a:cubicBezTo>
                <a:cubicBezTo>
                  <a:pt x="4337" y="1596"/>
                  <a:pt x="4344" y="1593"/>
                  <a:pt x="4350" y="1593"/>
                </a:cubicBezTo>
                <a:cubicBezTo>
                  <a:pt x="4352" y="1593"/>
                  <a:pt x="4354" y="1594"/>
                  <a:pt x="4355" y="1594"/>
                </a:cubicBezTo>
                <a:cubicBezTo>
                  <a:pt x="4356" y="1595"/>
                  <a:pt x="4356" y="1595"/>
                  <a:pt x="4357" y="1596"/>
                </a:cubicBezTo>
                <a:cubicBezTo>
                  <a:pt x="4359" y="1610"/>
                  <a:pt x="4367" y="1624"/>
                  <a:pt x="4383" y="1633"/>
                </a:cubicBezTo>
                <a:cubicBezTo>
                  <a:pt x="4393" y="1639"/>
                  <a:pt x="4404" y="1646"/>
                  <a:pt x="4413" y="1646"/>
                </a:cubicBezTo>
                <a:cubicBezTo>
                  <a:pt x="4416" y="1647"/>
                  <a:pt x="4422" y="1644"/>
                  <a:pt x="4423" y="1639"/>
                </a:cubicBezTo>
                <a:cubicBezTo>
                  <a:pt x="4423" y="1638"/>
                  <a:pt x="4423" y="1637"/>
                  <a:pt x="4423" y="1636"/>
                </a:cubicBezTo>
                <a:cubicBezTo>
                  <a:pt x="4423" y="1630"/>
                  <a:pt x="4421" y="1622"/>
                  <a:pt x="4418" y="1614"/>
                </a:cubicBezTo>
                <a:cubicBezTo>
                  <a:pt x="4414" y="1606"/>
                  <a:pt x="4411" y="1599"/>
                  <a:pt x="4403" y="1595"/>
                </a:cubicBezTo>
                <a:cubicBezTo>
                  <a:pt x="4401" y="1594"/>
                  <a:pt x="4394" y="1588"/>
                  <a:pt x="4390" y="1580"/>
                </a:cubicBezTo>
                <a:cubicBezTo>
                  <a:pt x="4385" y="1574"/>
                  <a:pt x="4381" y="1565"/>
                  <a:pt x="4381" y="1563"/>
                </a:cubicBezTo>
                <a:cubicBezTo>
                  <a:pt x="4381" y="1555"/>
                  <a:pt x="4375" y="1550"/>
                  <a:pt x="4371" y="1547"/>
                </a:cubicBezTo>
                <a:cubicBezTo>
                  <a:pt x="4366" y="1544"/>
                  <a:pt x="4361" y="1542"/>
                  <a:pt x="4359" y="1540"/>
                </a:cubicBezTo>
                <a:cubicBezTo>
                  <a:pt x="4354" y="1536"/>
                  <a:pt x="4347" y="1513"/>
                  <a:pt x="4326" y="1508"/>
                </a:cubicBezTo>
                <a:cubicBezTo>
                  <a:pt x="4310" y="1504"/>
                  <a:pt x="4307" y="1498"/>
                  <a:pt x="4288" y="1486"/>
                </a:cubicBezTo>
                <a:cubicBezTo>
                  <a:pt x="4275" y="1479"/>
                  <a:pt x="4258" y="1477"/>
                  <a:pt x="4243" y="1477"/>
                </a:cubicBezTo>
                <a:cubicBezTo>
                  <a:pt x="4237" y="1477"/>
                  <a:pt x="4232" y="1477"/>
                  <a:pt x="4228" y="1478"/>
                </a:cubicBezTo>
                <a:cubicBezTo>
                  <a:pt x="4226" y="1478"/>
                  <a:pt x="4224" y="1479"/>
                  <a:pt x="4222" y="1480"/>
                </a:cubicBezTo>
                <a:cubicBezTo>
                  <a:pt x="4222" y="1480"/>
                  <a:pt x="4221" y="1481"/>
                  <a:pt x="4221" y="1481"/>
                </a:cubicBezTo>
                <a:cubicBezTo>
                  <a:pt x="4219" y="1479"/>
                  <a:pt x="4216" y="1478"/>
                  <a:pt x="4212" y="1476"/>
                </a:cubicBezTo>
                <a:cubicBezTo>
                  <a:pt x="4204" y="1473"/>
                  <a:pt x="4197" y="1473"/>
                  <a:pt x="4193" y="1473"/>
                </a:cubicBezTo>
                <a:cubicBezTo>
                  <a:pt x="4191" y="1472"/>
                  <a:pt x="4189" y="1472"/>
                  <a:pt x="4189" y="1472"/>
                </a:cubicBezTo>
                <a:cubicBezTo>
                  <a:pt x="4188" y="1471"/>
                  <a:pt x="4188" y="1472"/>
                  <a:pt x="4188" y="1470"/>
                </a:cubicBezTo>
                <a:cubicBezTo>
                  <a:pt x="4186" y="1464"/>
                  <a:pt x="4181" y="1458"/>
                  <a:pt x="4173" y="1458"/>
                </a:cubicBezTo>
                <a:cubicBezTo>
                  <a:pt x="4166" y="1458"/>
                  <a:pt x="4161" y="1462"/>
                  <a:pt x="4156" y="1468"/>
                </a:cubicBezTo>
                <a:cubicBezTo>
                  <a:pt x="4154" y="1471"/>
                  <a:pt x="4152" y="1473"/>
                  <a:pt x="4150" y="1474"/>
                </a:cubicBezTo>
                <a:cubicBezTo>
                  <a:pt x="4149" y="1476"/>
                  <a:pt x="4147" y="1478"/>
                  <a:pt x="4147" y="1482"/>
                </a:cubicBezTo>
                <a:cubicBezTo>
                  <a:pt x="4147" y="1484"/>
                  <a:pt x="4148" y="1487"/>
                  <a:pt x="4150" y="1488"/>
                </a:cubicBezTo>
                <a:cubicBezTo>
                  <a:pt x="4154" y="1491"/>
                  <a:pt x="4158" y="1491"/>
                  <a:pt x="4166" y="1493"/>
                </a:cubicBezTo>
                <a:cubicBezTo>
                  <a:pt x="4173" y="1495"/>
                  <a:pt x="4178" y="1496"/>
                  <a:pt x="4181" y="1497"/>
                </a:cubicBezTo>
                <a:cubicBezTo>
                  <a:pt x="4181" y="1497"/>
                  <a:pt x="4181" y="1497"/>
                  <a:pt x="4181" y="1497"/>
                </a:cubicBezTo>
                <a:cubicBezTo>
                  <a:pt x="4181" y="1497"/>
                  <a:pt x="4180" y="1498"/>
                  <a:pt x="4179" y="1499"/>
                </a:cubicBezTo>
                <a:cubicBezTo>
                  <a:pt x="4174" y="1507"/>
                  <a:pt x="4169" y="1516"/>
                  <a:pt x="4168" y="1524"/>
                </a:cubicBezTo>
                <a:cubicBezTo>
                  <a:pt x="4168" y="1528"/>
                  <a:pt x="4171" y="1534"/>
                  <a:pt x="4176" y="1535"/>
                </a:cubicBezTo>
                <a:cubicBezTo>
                  <a:pt x="4177" y="1535"/>
                  <a:pt x="4179" y="1535"/>
                  <a:pt x="4180" y="1535"/>
                </a:cubicBezTo>
                <a:cubicBezTo>
                  <a:pt x="4187" y="1535"/>
                  <a:pt x="4196" y="1533"/>
                  <a:pt x="4201" y="1533"/>
                </a:cubicBezTo>
                <a:cubicBezTo>
                  <a:pt x="4202" y="1533"/>
                  <a:pt x="4202" y="1533"/>
                  <a:pt x="4202" y="1533"/>
                </a:cubicBezTo>
                <a:cubicBezTo>
                  <a:pt x="4202" y="1533"/>
                  <a:pt x="4202" y="1535"/>
                  <a:pt x="4203" y="1537"/>
                </a:cubicBezTo>
                <a:cubicBezTo>
                  <a:pt x="4205" y="1540"/>
                  <a:pt x="4208" y="1541"/>
                  <a:pt x="4211" y="1543"/>
                </a:cubicBezTo>
                <a:cubicBezTo>
                  <a:pt x="4214" y="1544"/>
                  <a:pt x="4218" y="1545"/>
                  <a:pt x="4225" y="1546"/>
                </a:cubicBezTo>
                <a:cubicBezTo>
                  <a:pt x="4246" y="1550"/>
                  <a:pt x="4248" y="1557"/>
                  <a:pt x="4253" y="1563"/>
                </a:cubicBezTo>
                <a:cubicBezTo>
                  <a:pt x="4255" y="1565"/>
                  <a:pt x="4258" y="1569"/>
                  <a:pt x="4260" y="1572"/>
                </a:cubicBezTo>
                <a:cubicBezTo>
                  <a:pt x="4261" y="1574"/>
                  <a:pt x="4262" y="1576"/>
                  <a:pt x="4263" y="1577"/>
                </a:cubicBezTo>
                <a:cubicBezTo>
                  <a:pt x="4259" y="1578"/>
                  <a:pt x="4256" y="1580"/>
                  <a:pt x="4253" y="1583"/>
                </a:cubicBezTo>
                <a:cubicBezTo>
                  <a:pt x="4250" y="1586"/>
                  <a:pt x="4247" y="1590"/>
                  <a:pt x="4246" y="1595"/>
                </a:cubicBezTo>
                <a:cubicBezTo>
                  <a:pt x="4246" y="1599"/>
                  <a:pt x="4250" y="1603"/>
                  <a:pt x="4253" y="1604"/>
                </a:cubicBezTo>
                <a:cubicBezTo>
                  <a:pt x="4255" y="1604"/>
                  <a:pt x="4256" y="1605"/>
                  <a:pt x="4257" y="1605"/>
                </a:cubicBezTo>
                <a:cubicBezTo>
                  <a:pt x="4264" y="1605"/>
                  <a:pt x="4274" y="1604"/>
                  <a:pt x="4278" y="1604"/>
                </a:cubicBezTo>
                <a:cubicBezTo>
                  <a:pt x="4278" y="1604"/>
                  <a:pt x="4278" y="1604"/>
                  <a:pt x="4278" y="1604"/>
                </a:cubicBezTo>
                <a:cubicBezTo>
                  <a:pt x="4280" y="1604"/>
                  <a:pt x="4282" y="1612"/>
                  <a:pt x="4286" y="1618"/>
                </a:cubicBezTo>
                <a:cubicBezTo>
                  <a:pt x="4290" y="1624"/>
                  <a:pt x="4295" y="1631"/>
                  <a:pt x="4304" y="1633"/>
                </a:cubicBezTo>
                <a:cubicBezTo>
                  <a:pt x="4303" y="1635"/>
                  <a:pt x="4303" y="1636"/>
                  <a:pt x="4302" y="1638"/>
                </a:cubicBezTo>
                <a:cubicBezTo>
                  <a:pt x="4299" y="1647"/>
                  <a:pt x="4295" y="1662"/>
                  <a:pt x="4295" y="1675"/>
                </a:cubicBezTo>
                <a:cubicBezTo>
                  <a:pt x="4295" y="1682"/>
                  <a:pt x="4296" y="1688"/>
                  <a:pt x="4299" y="1693"/>
                </a:cubicBezTo>
                <a:cubicBezTo>
                  <a:pt x="4300" y="1695"/>
                  <a:pt x="4301" y="1698"/>
                  <a:pt x="4301" y="1701"/>
                </a:cubicBezTo>
                <a:cubicBezTo>
                  <a:pt x="4301" y="1712"/>
                  <a:pt x="4294" y="1729"/>
                  <a:pt x="4289" y="1742"/>
                </a:cubicBezTo>
                <a:cubicBezTo>
                  <a:pt x="4289" y="1743"/>
                  <a:pt x="4288" y="1744"/>
                  <a:pt x="4288" y="1744"/>
                </a:cubicBezTo>
                <a:cubicBezTo>
                  <a:pt x="4288" y="1744"/>
                  <a:pt x="4287" y="1744"/>
                  <a:pt x="4286" y="1743"/>
                </a:cubicBezTo>
                <a:cubicBezTo>
                  <a:pt x="4281" y="1740"/>
                  <a:pt x="4274" y="1733"/>
                  <a:pt x="4267" y="1728"/>
                </a:cubicBezTo>
                <a:cubicBezTo>
                  <a:pt x="4255" y="1719"/>
                  <a:pt x="4239" y="1713"/>
                  <a:pt x="4233" y="1705"/>
                </a:cubicBezTo>
                <a:cubicBezTo>
                  <a:pt x="4233" y="1705"/>
                  <a:pt x="4232" y="1705"/>
                  <a:pt x="4232" y="1704"/>
                </a:cubicBezTo>
                <a:cubicBezTo>
                  <a:pt x="4232" y="1701"/>
                  <a:pt x="4234" y="1694"/>
                  <a:pt x="4237" y="1688"/>
                </a:cubicBezTo>
                <a:cubicBezTo>
                  <a:pt x="4240" y="1681"/>
                  <a:pt x="4243" y="1675"/>
                  <a:pt x="4243" y="1668"/>
                </a:cubicBezTo>
                <a:cubicBezTo>
                  <a:pt x="4243" y="1666"/>
                  <a:pt x="4243" y="1663"/>
                  <a:pt x="4241" y="1661"/>
                </a:cubicBezTo>
                <a:cubicBezTo>
                  <a:pt x="4236" y="1654"/>
                  <a:pt x="4229" y="1653"/>
                  <a:pt x="4222" y="1653"/>
                </a:cubicBezTo>
                <a:cubicBezTo>
                  <a:pt x="4216" y="1653"/>
                  <a:pt x="4210" y="1654"/>
                  <a:pt x="4205" y="1655"/>
                </a:cubicBezTo>
                <a:cubicBezTo>
                  <a:pt x="4202" y="1655"/>
                  <a:pt x="4200" y="1656"/>
                  <a:pt x="4198" y="1656"/>
                </a:cubicBezTo>
                <a:cubicBezTo>
                  <a:pt x="4198" y="1656"/>
                  <a:pt x="4197" y="1656"/>
                  <a:pt x="4197" y="1656"/>
                </a:cubicBezTo>
                <a:cubicBezTo>
                  <a:pt x="4196" y="1655"/>
                  <a:pt x="4194" y="1653"/>
                  <a:pt x="4192" y="1650"/>
                </a:cubicBezTo>
                <a:cubicBezTo>
                  <a:pt x="4189" y="1647"/>
                  <a:pt x="4185" y="1643"/>
                  <a:pt x="4179" y="1643"/>
                </a:cubicBezTo>
                <a:cubicBezTo>
                  <a:pt x="4174" y="1643"/>
                  <a:pt x="4171" y="1646"/>
                  <a:pt x="4170" y="1649"/>
                </a:cubicBezTo>
                <a:cubicBezTo>
                  <a:pt x="4169" y="1652"/>
                  <a:pt x="4168" y="1655"/>
                  <a:pt x="4167" y="1659"/>
                </a:cubicBezTo>
                <a:cubicBezTo>
                  <a:pt x="4165" y="1656"/>
                  <a:pt x="4163" y="1653"/>
                  <a:pt x="4160" y="1650"/>
                </a:cubicBezTo>
                <a:cubicBezTo>
                  <a:pt x="4159" y="1649"/>
                  <a:pt x="4158" y="1648"/>
                  <a:pt x="4157" y="1647"/>
                </a:cubicBezTo>
                <a:cubicBezTo>
                  <a:pt x="4156" y="1646"/>
                  <a:pt x="4155" y="1645"/>
                  <a:pt x="4151" y="1644"/>
                </a:cubicBezTo>
                <a:cubicBezTo>
                  <a:pt x="4148" y="1644"/>
                  <a:pt x="4145" y="1648"/>
                  <a:pt x="4145" y="1649"/>
                </a:cubicBezTo>
                <a:cubicBezTo>
                  <a:pt x="4145" y="1650"/>
                  <a:pt x="4145" y="1651"/>
                  <a:pt x="4145" y="1652"/>
                </a:cubicBezTo>
                <a:cubicBezTo>
                  <a:pt x="4145" y="1654"/>
                  <a:pt x="4145" y="1657"/>
                  <a:pt x="4145" y="1659"/>
                </a:cubicBezTo>
                <a:cubicBezTo>
                  <a:pt x="4145" y="1663"/>
                  <a:pt x="4144" y="1668"/>
                  <a:pt x="4142" y="1671"/>
                </a:cubicBezTo>
                <a:cubicBezTo>
                  <a:pt x="4137" y="1677"/>
                  <a:pt x="4135" y="1679"/>
                  <a:pt x="4133" y="1683"/>
                </a:cubicBezTo>
                <a:cubicBezTo>
                  <a:pt x="4131" y="1686"/>
                  <a:pt x="4131" y="1688"/>
                  <a:pt x="4129" y="1695"/>
                </a:cubicBezTo>
                <a:cubicBezTo>
                  <a:pt x="4128" y="1697"/>
                  <a:pt x="4128" y="1699"/>
                  <a:pt x="4127" y="1699"/>
                </a:cubicBezTo>
                <a:cubicBezTo>
                  <a:pt x="4127" y="1699"/>
                  <a:pt x="4127" y="1700"/>
                  <a:pt x="4127" y="1700"/>
                </a:cubicBezTo>
                <a:cubicBezTo>
                  <a:pt x="4127" y="1700"/>
                  <a:pt x="4127" y="1700"/>
                  <a:pt x="4127" y="1700"/>
                </a:cubicBezTo>
                <a:cubicBezTo>
                  <a:pt x="4126" y="1700"/>
                  <a:pt x="4120" y="1696"/>
                  <a:pt x="4114" y="1688"/>
                </a:cubicBezTo>
                <a:cubicBezTo>
                  <a:pt x="4110" y="1682"/>
                  <a:pt x="4105" y="1679"/>
                  <a:pt x="4099" y="1678"/>
                </a:cubicBezTo>
                <a:cubicBezTo>
                  <a:pt x="4090" y="1679"/>
                  <a:pt x="4087" y="1685"/>
                  <a:pt x="4083" y="1686"/>
                </a:cubicBezTo>
                <a:cubicBezTo>
                  <a:pt x="4077" y="1691"/>
                  <a:pt x="4074" y="1698"/>
                  <a:pt x="4071" y="1705"/>
                </a:cubicBezTo>
                <a:cubicBezTo>
                  <a:pt x="4068" y="1712"/>
                  <a:pt x="4068" y="1720"/>
                  <a:pt x="4064" y="1721"/>
                </a:cubicBezTo>
                <a:cubicBezTo>
                  <a:pt x="4064" y="1721"/>
                  <a:pt x="4064" y="1721"/>
                  <a:pt x="4064" y="1721"/>
                </a:cubicBezTo>
                <a:cubicBezTo>
                  <a:pt x="4064" y="1722"/>
                  <a:pt x="4057" y="1726"/>
                  <a:pt x="4050" y="1729"/>
                </a:cubicBezTo>
                <a:cubicBezTo>
                  <a:pt x="4043" y="1732"/>
                  <a:pt x="4037" y="1735"/>
                  <a:pt x="4032" y="1740"/>
                </a:cubicBezTo>
                <a:cubicBezTo>
                  <a:pt x="4028" y="1745"/>
                  <a:pt x="4026" y="1753"/>
                  <a:pt x="4025" y="1760"/>
                </a:cubicBezTo>
                <a:cubicBezTo>
                  <a:pt x="4024" y="1766"/>
                  <a:pt x="4023" y="1772"/>
                  <a:pt x="4023" y="1775"/>
                </a:cubicBezTo>
                <a:cubicBezTo>
                  <a:pt x="4021" y="1776"/>
                  <a:pt x="4016" y="1777"/>
                  <a:pt x="4011" y="1777"/>
                </a:cubicBezTo>
                <a:cubicBezTo>
                  <a:pt x="4005" y="1778"/>
                  <a:pt x="3998" y="1779"/>
                  <a:pt x="3993" y="1783"/>
                </a:cubicBezTo>
                <a:cubicBezTo>
                  <a:pt x="3991" y="1785"/>
                  <a:pt x="3988" y="1786"/>
                  <a:pt x="3984" y="1786"/>
                </a:cubicBezTo>
                <a:cubicBezTo>
                  <a:pt x="3979" y="1786"/>
                  <a:pt x="3973" y="1785"/>
                  <a:pt x="3968" y="1785"/>
                </a:cubicBezTo>
                <a:cubicBezTo>
                  <a:pt x="3963" y="1785"/>
                  <a:pt x="3960" y="1787"/>
                  <a:pt x="3956" y="1790"/>
                </a:cubicBezTo>
                <a:cubicBezTo>
                  <a:pt x="3943" y="1798"/>
                  <a:pt x="3926" y="1814"/>
                  <a:pt x="3920" y="1819"/>
                </a:cubicBezTo>
                <a:cubicBezTo>
                  <a:pt x="3911" y="1826"/>
                  <a:pt x="3910" y="1837"/>
                  <a:pt x="3909" y="1847"/>
                </a:cubicBezTo>
                <a:cubicBezTo>
                  <a:pt x="3910" y="1854"/>
                  <a:pt x="3910" y="1861"/>
                  <a:pt x="3914" y="1866"/>
                </a:cubicBezTo>
                <a:cubicBezTo>
                  <a:pt x="3917" y="1870"/>
                  <a:pt x="3922" y="1881"/>
                  <a:pt x="3922" y="1884"/>
                </a:cubicBezTo>
                <a:cubicBezTo>
                  <a:pt x="3917" y="1888"/>
                  <a:pt x="3916" y="1895"/>
                  <a:pt x="3915" y="1902"/>
                </a:cubicBezTo>
                <a:cubicBezTo>
                  <a:pt x="3915" y="1911"/>
                  <a:pt x="3918" y="1921"/>
                  <a:pt x="3927" y="1931"/>
                </a:cubicBezTo>
                <a:cubicBezTo>
                  <a:pt x="3935" y="1942"/>
                  <a:pt x="3935" y="1945"/>
                  <a:pt x="3935" y="1949"/>
                </a:cubicBezTo>
                <a:cubicBezTo>
                  <a:pt x="3935" y="1950"/>
                  <a:pt x="3935" y="1951"/>
                  <a:pt x="3935" y="1953"/>
                </a:cubicBezTo>
                <a:cubicBezTo>
                  <a:pt x="3935" y="1954"/>
                  <a:pt x="3935" y="1955"/>
                  <a:pt x="3936" y="1957"/>
                </a:cubicBezTo>
                <a:cubicBezTo>
                  <a:pt x="3936" y="1962"/>
                  <a:pt x="3939" y="1967"/>
                  <a:pt x="3942" y="1970"/>
                </a:cubicBezTo>
                <a:cubicBezTo>
                  <a:pt x="3945" y="1974"/>
                  <a:pt x="3948" y="1978"/>
                  <a:pt x="3953" y="1984"/>
                </a:cubicBezTo>
                <a:cubicBezTo>
                  <a:pt x="3953" y="1985"/>
                  <a:pt x="3954" y="1986"/>
                  <a:pt x="3954" y="1987"/>
                </a:cubicBezTo>
                <a:cubicBezTo>
                  <a:pt x="3954" y="1989"/>
                  <a:pt x="3951" y="1993"/>
                  <a:pt x="3946" y="1997"/>
                </a:cubicBezTo>
                <a:cubicBezTo>
                  <a:pt x="3941" y="2002"/>
                  <a:pt x="3936" y="2005"/>
                  <a:pt x="3932" y="2012"/>
                </a:cubicBezTo>
                <a:cubicBezTo>
                  <a:pt x="3932" y="2013"/>
                  <a:pt x="3931" y="2015"/>
                  <a:pt x="3931" y="2017"/>
                </a:cubicBezTo>
                <a:cubicBezTo>
                  <a:pt x="3932" y="2030"/>
                  <a:pt x="3943" y="2039"/>
                  <a:pt x="3949" y="2046"/>
                </a:cubicBezTo>
                <a:cubicBezTo>
                  <a:pt x="3953" y="2050"/>
                  <a:pt x="3959" y="2051"/>
                  <a:pt x="3965" y="2051"/>
                </a:cubicBezTo>
                <a:cubicBezTo>
                  <a:pt x="3974" y="2051"/>
                  <a:pt x="3983" y="2049"/>
                  <a:pt x="3990" y="2046"/>
                </a:cubicBezTo>
                <a:cubicBezTo>
                  <a:pt x="3996" y="2043"/>
                  <a:pt x="4002" y="2039"/>
                  <a:pt x="4007" y="2036"/>
                </a:cubicBezTo>
                <a:cubicBezTo>
                  <a:pt x="4012" y="2032"/>
                  <a:pt x="4016" y="2030"/>
                  <a:pt x="4017" y="2030"/>
                </a:cubicBezTo>
                <a:cubicBezTo>
                  <a:pt x="4020" y="2029"/>
                  <a:pt x="4030" y="2028"/>
                  <a:pt x="4039" y="2028"/>
                </a:cubicBezTo>
                <a:cubicBezTo>
                  <a:pt x="4048" y="2027"/>
                  <a:pt x="4056" y="2027"/>
                  <a:pt x="4056" y="2027"/>
                </a:cubicBezTo>
                <a:cubicBezTo>
                  <a:pt x="4058" y="2027"/>
                  <a:pt x="4060" y="2026"/>
                  <a:pt x="4061" y="2024"/>
                </a:cubicBezTo>
                <a:cubicBezTo>
                  <a:pt x="4061" y="2024"/>
                  <a:pt x="4072" y="2003"/>
                  <a:pt x="4080" y="1993"/>
                </a:cubicBezTo>
                <a:cubicBezTo>
                  <a:pt x="4081" y="1991"/>
                  <a:pt x="4084" y="1990"/>
                  <a:pt x="4089" y="1990"/>
                </a:cubicBezTo>
                <a:cubicBezTo>
                  <a:pt x="4093" y="1990"/>
                  <a:pt x="4097" y="1991"/>
                  <a:pt x="4101" y="1992"/>
                </a:cubicBezTo>
                <a:cubicBezTo>
                  <a:pt x="4104" y="1993"/>
                  <a:pt x="4106" y="1993"/>
                  <a:pt x="4106" y="1993"/>
                </a:cubicBezTo>
                <a:cubicBezTo>
                  <a:pt x="4108" y="1994"/>
                  <a:pt x="4110" y="1994"/>
                  <a:pt x="4112" y="1993"/>
                </a:cubicBezTo>
                <a:cubicBezTo>
                  <a:pt x="4112" y="1993"/>
                  <a:pt x="4113" y="1992"/>
                  <a:pt x="4114" y="1992"/>
                </a:cubicBezTo>
                <a:cubicBezTo>
                  <a:pt x="4117" y="1989"/>
                  <a:pt x="4128" y="1984"/>
                  <a:pt x="4148" y="1978"/>
                </a:cubicBezTo>
                <a:cubicBezTo>
                  <a:pt x="4153" y="1977"/>
                  <a:pt x="4156" y="1977"/>
                  <a:pt x="4158" y="1977"/>
                </a:cubicBezTo>
                <a:cubicBezTo>
                  <a:pt x="4161" y="1977"/>
                  <a:pt x="4161" y="1977"/>
                  <a:pt x="4161" y="1977"/>
                </a:cubicBezTo>
                <a:cubicBezTo>
                  <a:pt x="4161" y="1977"/>
                  <a:pt x="4161" y="1977"/>
                  <a:pt x="4161" y="1977"/>
                </a:cubicBezTo>
                <a:cubicBezTo>
                  <a:pt x="4162" y="1978"/>
                  <a:pt x="4163" y="1986"/>
                  <a:pt x="4171" y="1989"/>
                </a:cubicBezTo>
                <a:cubicBezTo>
                  <a:pt x="4182" y="1994"/>
                  <a:pt x="4195" y="1997"/>
                  <a:pt x="4201" y="2002"/>
                </a:cubicBezTo>
                <a:cubicBezTo>
                  <a:pt x="4202" y="2003"/>
                  <a:pt x="4202" y="2004"/>
                  <a:pt x="4203" y="2007"/>
                </a:cubicBezTo>
                <a:cubicBezTo>
                  <a:pt x="4203" y="2012"/>
                  <a:pt x="4199" y="2021"/>
                  <a:pt x="4198" y="2027"/>
                </a:cubicBezTo>
                <a:cubicBezTo>
                  <a:pt x="4198" y="2027"/>
                  <a:pt x="4198" y="2028"/>
                  <a:pt x="4198" y="2028"/>
                </a:cubicBezTo>
                <a:cubicBezTo>
                  <a:pt x="4198" y="2032"/>
                  <a:pt x="4201" y="2036"/>
                  <a:pt x="4203" y="2036"/>
                </a:cubicBezTo>
                <a:cubicBezTo>
                  <a:pt x="4206" y="2038"/>
                  <a:pt x="4208" y="2038"/>
                  <a:pt x="4210" y="2038"/>
                </a:cubicBezTo>
                <a:cubicBezTo>
                  <a:pt x="4214" y="2038"/>
                  <a:pt x="4218" y="2037"/>
                  <a:pt x="4222" y="2036"/>
                </a:cubicBezTo>
                <a:cubicBezTo>
                  <a:pt x="4225" y="2034"/>
                  <a:pt x="4229" y="2032"/>
                  <a:pt x="4231" y="2026"/>
                </a:cubicBezTo>
                <a:cubicBezTo>
                  <a:pt x="4231" y="2022"/>
                  <a:pt x="4234" y="2017"/>
                  <a:pt x="4243" y="2011"/>
                </a:cubicBezTo>
                <a:cubicBezTo>
                  <a:pt x="4243" y="2013"/>
                  <a:pt x="4242" y="2015"/>
                  <a:pt x="4242" y="2018"/>
                </a:cubicBezTo>
                <a:cubicBezTo>
                  <a:pt x="4242" y="2022"/>
                  <a:pt x="4243" y="2026"/>
                  <a:pt x="4244" y="2030"/>
                </a:cubicBezTo>
                <a:cubicBezTo>
                  <a:pt x="4245" y="2032"/>
                  <a:pt x="4246" y="2033"/>
                  <a:pt x="4247" y="2034"/>
                </a:cubicBezTo>
                <a:cubicBezTo>
                  <a:pt x="4248" y="2036"/>
                  <a:pt x="4250" y="2037"/>
                  <a:pt x="4253" y="2037"/>
                </a:cubicBezTo>
                <a:cubicBezTo>
                  <a:pt x="4255" y="2037"/>
                  <a:pt x="4257" y="2036"/>
                  <a:pt x="4258" y="2035"/>
                </a:cubicBezTo>
                <a:cubicBezTo>
                  <a:pt x="4259" y="2037"/>
                  <a:pt x="4260" y="2038"/>
                  <a:pt x="4260" y="2039"/>
                </a:cubicBezTo>
                <a:cubicBezTo>
                  <a:pt x="4262" y="2043"/>
                  <a:pt x="4264" y="2044"/>
                  <a:pt x="4266" y="2045"/>
                </a:cubicBezTo>
                <a:cubicBezTo>
                  <a:pt x="4269" y="2047"/>
                  <a:pt x="4271" y="2048"/>
                  <a:pt x="4273" y="2050"/>
                </a:cubicBezTo>
                <a:cubicBezTo>
                  <a:pt x="4275" y="2052"/>
                  <a:pt x="4276" y="2053"/>
                  <a:pt x="4276" y="2057"/>
                </a:cubicBezTo>
                <a:cubicBezTo>
                  <a:pt x="4276" y="2064"/>
                  <a:pt x="4276" y="2069"/>
                  <a:pt x="4277" y="2074"/>
                </a:cubicBezTo>
                <a:cubicBezTo>
                  <a:pt x="4277" y="2078"/>
                  <a:pt x="4278" y="2083"/>
                  <a:pt x="4282" y="2086"/>
                </a:cubicBezTo>
                <a:cubicBezTo>
                  <a:pt x="4285" y="2089"/>
                  <a:pt x="4287" y="2088"/>
                  <a:pt x="4290" y="2089"/>
                </a:cubicBezTo>
                <a:cubicBezTo>
                  <a:pt x="4297" y="2090"/>
                  <a:pt x="4305" y="2091"/>
                  <a:pt x="4310" y="2101"/>
                </a:cubicBezTo>
                <a:cubicBezTo>
                  <a:pt x="4313" y="2107"/>
                  <a:pt x="4316" y="2111"/>
                  <a:pt x="4323" y="2112"/>
                </a:cubicBezTo>
                <a:cubicBezTo>
                  <a:pt x="4329" y="2111"/>
                  <a:pt x="4332" y="2107"/>
                  <a:pt x="4334" y="2104"/>
                </a:cubicBezTo>
                <a:cubicBezTo>
                  <a:pt x="4336" y="2101"/>
                  <a:pt x="4338" y="2100"/>
                  <a:pt x="4339" y="2096"/>
                </a:cubicBezTo>
                <a:cubicBezTo>
                  <a:pt x="4339" y="2096"/>
                  <a:pt x="4339" y="2096"/>
                  <a:pt x="4339" y="2096"/>
                </a:cubicBezTo>
                <a:cubicBezTo>
                  <a:pt x="4342" y="2096"/>
                  <a:pt x="4353" y="2102"/>
                  <a:pt x="4355" y="2105"/>
                </a:cubicBezTo>
                <a:cubicBezTo>
                  <a:pt x="4356" y="2107"/>
                  <a:pt x="4359" y="2108"/>
                  <a:pt x="4362" y="2108"/>
                </a:cubicBezTo>
                <a:cubicBezTo>
                  <a:pt x="4369" y="2107"/>
                  <a:pt x="4372" y="2103"/>
                  <a:pt x="4378" y="2100"/>
                </a:cubicBezTo>
                <a:cubicBezTo>
                  <a:pt x="4383" y="2096"/>
                  <a:pt x="4389" y="2092"/>
                  <a:pt x="4396" y="2090"/>
                </a:cubicBezTo>
                <a:cubicBezTo>
                  <a:pt x="4404" y="2087"/>
                  <a:pt x="4408" y="2086"/>
                  <a:pt x="4412" y="2084"/>
                </a:cubicBezTo>
                <a:cubicBezTo>
                  <a:pt x="4416" y="2082"/>
                  <a:pt x="4417" y="2078"/>
                  <a:pt x="4419" y="2075"/>
                </a:cubicBezTo>
                <a:cubicBezTo>
                  <a:pt x="4424" y="2064"/>
                  <a:pt x="4427" y="2043"/>
                  <a:pt x="4437" y="2028"/>
                </a:cubicBezTo>
                <a:cubicBezTo>
                  <a:pt x="4447" y="2011"/>
                  <a:pt x="4462" y="1982"/>
                  <a:pt x="4462" y="1957"/>
                </a:cubicBezTo>
                <a:cubicBezTo>
                  <a:pt x="4462" y="1935"/>
                  <a:pt x="4461" y="1884"/>
                  <a:pt x="4447" y="1858"/>
                </a:cubicBezTo>
                <a:cubicBezTo>
                  <a:pt x="4441" y="1846"/>
                  <a:pt x="4432" y="1834"/>
                  <a:pt x="4425" y="1824"/>
                </a:cubicBezTo>
                <a:close/>
                <a:moveTo>
                  <a:pt x="4055" y="1637"/>
                </a:moveTo>
                <a:cubicBezTo>
                  <a:pt x="4057" y="1639"/>
                  <a:pt x="4060" y="1640"/>
                  <a:pt x="4062" y="1640"/>
                </a:cubicBezTo>
                <a:cubicBezTo>
                  <a:pt x="4062" y="1640"/>
                  <a:pt x="4062" y="1640"/>
                  <a:pt x="4062" y="1640"/>
                </a:cubicBezTo>
                <a:cubicBezTo>
                  <a:pt x="4069" y="1640"/>
                  <a:pt x="4074" y="1635"/>
                  <a:pt x="4079" y="1632"/>
                </a:cubicBezTo>
                <a:cubicBezTo>
                  <a:pt x="4082" y="1629"/>
                  <a:pt x="4085" y="1627"/>
                  <a:pt x="4086" y="1626"/>
                </a:cubicBezTo>
                <a:cubicBezTo>
                  <a:pt x="4088" y="1625"/>
                  <a:pt x="4091" y="1624"/>
                  <a:pt x="4095" y="1623"/>
                </a:cubicBezTo>
                <a:cubicBezTo>
                  <a:pt x="4097" y="1622"/>
                  <a:pt x="4100" y="1620"/>
                  <a:pt x="4103" y="1618"/>
                </a:cubicBezTo>
                <a:cubicBezTo>
                  <a:pt x="4105" y="1616"/>
                  <a:pt x="4108" y="1612"/>
                  <a:pt x="4108" y="1607"/>
                </a:cubicBezTo>
                <a:cubicBezTo>
                  <a:pt x="4107" y="1601"/>
                  <a:pt x="4104" y="1596"/>
                  <a:pt x="4100" y="1592"/>
                </a:cubicBezTo>
                <a:cubicBezTo>
                  <a:pt x="4095" y="1589"/>
                  <a:pt x="4090" y="1586"/>
                  <a:pt x="4084" y="1586"/>
                </a:cubicBezTo>
                <a:cubicBezTo>
                  <a:pt x="4079" y="1586"/>
                  <a:pt x="4074" y="1588"/>
                  <a:pt x="4071" y="1593"/>
                </a:cubicBezTo>
                <a:cubicBezTo>
                  <a:pt x="4068" y="1598"/>
                  <a:pt x="4064" y="1603"/>
                  <a:pt x="4060" y="1608"/>
                </a:cubicBezTo>
                <a:cubicBezTo>
                  <a:pt x="4056" y="1614"/>
                  <a:pt x="4052" y="1619"/>
                  <a:pt x="4052" y="1627"/>
                </a:cubicBezTo>
                <a:cubicBezTo>
                  <a:pt x="4052" y="1627"/>
                  <a:pt x="4052" y="1628"/>
                  <a:pt x="4052" y="1629"/>
                </a:cubicBezTo>
                <a:cubicBezTo>
                  <a:pt x="4052" y="1632"/>
                  <a:pt x="4053" y="1634"/>
                  <a:pt x="4055" y="1637"/>
                </a:cubicBezTo>
                <a:close/>
                <a:moveTo>
                  <a:pt x="4022" y="1470"/>
                </a:moveTo>
                <a:cubicBezTo>
                  <a:pt x="4023" y="1470"/>
                  <a:pt x="4024" y="1470"/>
                  <a:pt x="4025" y="1470"/>
                </a:cubicBezTo>
                <a:cubicBezTo>
                  <a:pt x="4038" y="1469"/>
                  <a:pt x="4065" y="1464"/>
                  <a:pt x="4069" y="1464"/>
                </a:cubicBezTo>
                <a:cubicBezTo>
                  <a:pt x="4076" y="1464"/>
                  <a:pt x="4079" y="1459"/>
                  <a:pt x="4081" y="1455"/>
                </a:cubicBezTo>
                <a:cubicBezTo>
                  <a:pt x="4084" y="1451"/>
                  <a:pt x="4086" y="1447"/>
                  <a:pt x="4086" y="1442"/>
                </a:cubicBezTo>
                <a:cubicBezTo>
                  <a:pt x="4086" y="1441"/>
                  <a:pt x="4086" y="1440"/>
                  <a:pt x="4085" y="1438"/>
                </a:cubicBezTo>
                <a:cubicBezTo>
                  <a:pt x="4083" y="1436"/>
                  <a:pt x="4081" y="1434"/>
                  <a:pt x="4078" y="1434"/>
                </a:cubicBezTo>
                <a:cubicBezTo>
                  <a:pt x="4072" y="1435"/>
                  <a:pt x="4043" y="1441"/>
                  <a:pt x="4036" y="1443"/>
                </a:cubicBezTo>
                <a:cubicBezTo>
                  <a:pt x="4036" y="1443"/>
                  <a:pt x="4036" y="1443"/>
                  <a:pt x="4036" y="1443"/>
                </a:cubicBezTo>
                <a:cubicBezTo>
                  <a:pt x="4033" y="1443"/>
                  <a:pt x="4028" y="1442"/>
                  <a:pt x="4023" y="1442"/>
                </a:cubicBezTo>
                <a:cubicBezTo>
                  <a:pt x="4019" y="1441"/>
                  <a:pt x="4015" y="1440"/>
                  <a:pt x="4015" y="1440"/>
                </a:cubicBezTo>
                <a:cubicBezTo>
                  <a:pt x="4013" y="1440"/>
                  <a:pt x="4011" y="1440"/>
                  <a:pt x="4009" y="1442"/>
                </a:cubicBezTo>
                <a:cubicBezTo>
                  <a:pt x="4006" y="1446"/>
                  <a:pt x="4004" y="1450"/>
                  <a:pt x="4004" y="1455"/>
                </a:cubicBezTo>
                <a:cubicBezTo>
                  <a:pt x="4004" y="1459"/>
                  <a:pt x="4006" y="1463"/>
                  <a:pt x="4010" y="1466"/>
                </a:cubicBezTo>
                <a:cubicBezTo>
                  <a:pt x="4013" y="1469"/>
                  <a:pt x="4017" y="1470"/>
                  <a:pt x="4022" y="1470"/>
                </a:cubicBezTo>
                <a:close/>
                <a:moveTo>
                  <a:pt x="4825" y="1720"/>
                </a:moveTo>
                <a:cubicBezTo>
                  <a:pt x="4825" y="1720"/>
                  <a:pt x="4825" y="1720"/>
                  <a:pt x="4825" y="1720"/>
                </a:cubicBezTo>
                <a:cubicBezTo>
                  <a:pt x="4824" y="1720"/>
                  <a:pt x="4822" y="1719"/>
                  <a:pt x="4821" y="1719"/>
                </a:cubicBezTo>
                <a:cubicBezTo>
                  <a:pt x="4816" y="1720"/>
                  <a:pt x="4812" y="1722"/>
                  <a:pt x="4808" y="1725"/>
                </a:cubicBezTo>
                <a:cubicBezTo>
                  <a:pt x="4797" y="1735"/>
                  <a:pt x="4787" y="1751"/>
                  <a:pt x="4787" y="1752"/>
                </a:cubicBezTo>
                <a:cubicBezTo>
                  <a:pt x="4786" y="1753"/>
                  <a:pt x="4786" y="1755"/>
                  <a:pt x="4786" y="1757"/>
                </a:cubicBezTo>
                <a:cubicBezTo>
                  <a:pt x="4787" y="1758"/>
                  <a:pt x="4788" y="1759"/>
                  <a:pt x="4789" y="1759"/>
                </a:cubicBezTo>
                <a:cubicBezTo>
                  <a:pt x="4792" y="1760"/>
                  <a:pt x="4794" y="1760"/>
                  <a:pt x="4796" y="1760"/>
                </a:cubicBezTo>
                <a:cubicBezTo>
                  <a:pt x="4797" y="1760"/>
                  <a:pt x="4797" y="1760"/>
                  <a:pt x="4797" y="1760"/>
                </a:cubicBezTo>
                <a:cubicBezTo>
                  <a:pt x="4806" y="1760"/>
                  <a:pt x="4813" y="1755"/>
                  <a:pt x="4820" y="1749"/>
                </a:cubicBezTo>
                <a:cubicBezTo>
                  <a:pt x="4826" y="1743"/>
                  <a:pt x="4831" y="1737"/>
                  <a:pt x="4831" y="1729"/>
                </a:cubicBezTo>
                <a:cubicBezTo>
                  <a:pt x="4832" y="1726"/>
                  <a:pt x="4829" y="1722"/>
                  <a:pt x="4825" y="1720"/>
                </a:cubicBezTo>
                <a:close/>
                <a:moveTo>
                  <a:pt x="4791" y="2070"/>
                </a:moveTo>
                <a:cubicBezTo>
                  <a:pt x="4787" y="2070"/>
                  <a:pt x="4785" y="2072"/>
                  <a:pt x="4784" y="2072"/>
                </a:cubicBezTo>
                <a:cubicBezTo>
                  <a:pt x="4782" y="2073"/>
                  <a:pt x="4782" y="2073"/>
                  <a:pt x="4782" y="2073"/>
                </a:cubicBezTo>
                <a:cubicBezTo>
                  <a:pt x="4781" y="2073"/>
                  <a:pt x="4780" y="2073"/>
                  <a:pt x="4777" y="2071"/>
                </a:cubicBezTo>
                <a:cubicBezTo>
                  <a:pt x="4771" y="2067"/>
                  <a:pt x="4770" y="2066"/>
                  <a:pt x="4769" y="2066"/>
                </a:cubicBezTo>
                <a:cubicBezTo>
                  <a:pt x="4769" y="2065"/>
                  <a:pt x="4767" y="2062"/>
                  <a:pt x="4764" y="2055"/>
                </a:cubicBezTo>
                <a:cubicBezTo>
                  <a:pt x="4761" y="2050"/>
                  <a:pt x="4759" y="2044"/>
                  <a:pt x="4757" y="2038"/>
                </a:cubicBezTo>
                <a:cubicBezTo>
                  <a:pt x="4756" y="2035"/>
                  <a:pt x="4755" y="2033"/>
                  <a:pt x="4753" y="2030"/>
                </a:cubicBezTo>
                <a:cubicBezTo>
                  <a:pt x="4751" y="2028"/>
                  <a:pt x="4748" y="2026"/>
                  <a:pt x="4744" y="2026"/>
                </a:cubicBezTo>
                <a:cubicBezTo>
                  <a:pt x="4741" y="2026"/>
                  <a:pt x="4738" y="2027"/>
                  <a:pt x="4736" y="2028"/>
                </a:cubicBezTo>
                <a:cubicBezTo>
                  <a:pt x="4731" y="2031"/>
                  <a:pt x="4731" y="2035"/>
                  <a:pt x="4731" y="2038"/>
                </a:cubicBezTo>
                <a:cubicBezTo>
                  <a:pt x="4731" y="2046"/>
                  <a:pt x="4734" y="2055"/>
                  <a:pt x="4739" y="2061"/>
                </a:cubicBezTo>
                <a:cubicBezTo>
                  <a:pt x="4740" y="2061"/>
                  <a:pt x="4741" y="2065"/>
                  <a:pt x="4742" y="2070"/>
                </a:cubicBezTo>
                <a:cubicBezTo>
                  <a:pt x="4743" y="2074"/>
                  <a:pt x="4744" y="2080"/>
                  <a:pt x="4744" y="2083"/>
                </a:cubicBezTo>
                <a:cubicBezTo>
                  <a:pt x="4744" y="2084"/>
                  <a:pt x="4743" y="2085"/>
                  <a:pt x="4743" y="2085"/>
                </a:cubicBezTo>
                <a:cubicBezTo>
                  <a:pt x="4743" y="2086"/>
                  <a:pt x="4740" y="2088"/>
                  <a:pt x="4737" y="2091"/>
                </a:cubicBezTo>
                <a:cubicBezTo>
                  <a:pt x="4734" y="2093"/>
                  <a:pt x="4730" y="2096"/>
                  <a:pt x="4729" y="2102"/>
                </a:cubicBezTo>
                <a:cubicBezTo>
                  <a:pt x="4729" y="2106"/>
                  <a:pt x="4732" y="2109"/>
                  <a:pt x="4734" y="2111"/>
                </a:cubicBezTo>
                <a:cubicBezTo>
                  <a:pt x="4741" y="2116"/>
                  <a:pt x="4748" y="2116"/>
                  <a:pt x="4753" y="2116"/>
                </a:cubicBezTo>
                <a:cubicBezTo>
                  <a:pt x="4754" y="2116"/>
                  <a:pt x="4754" y="2116"/>
                  <a:pt x="4755" y="2116"/>
                </a:cubicBezTo>
                <a:cubicBezTo>
                  <a:pt x="4753" y="2120"/>
                  <a:pt x="4750" y="2125"/>
                  <a:pt x="4750" y="2131"/>
                </a:cubicBezTo>
                <a:cubicBezTo>
                  <a:pt x="4749" y="2129"/>
                  <a:pt x="4747" y="2127"/>
                  <a:pt x="4744" y="2125"/>
                </a:cubicBezTo>
                <a:cubicBezTo>
                  <a:pt x="4743" y="2123"/>
                  <a:pt x="4740" y="2121"/>
                  <a:pt x="4738" y="2119"/>
                </a:cubicBezTo>
                <a:cubicBezTo>
                  <a:pt x="4736" y="2117"/>
                  <a:pt x="4735" y="2115"/>
                  <a:pt x="4730" y="2115"/>
                </a:cubicBezTo>
                <a:cubicBezTo>
                  <a:pt x="4728" y="2114"/>
                  <a:pt x="4724" y="2118"/>
                  <a:pt x="4724" y="2120"/>
                </a:cubicBezTo>
                <a:cubicBezTo>
                  <a:pt x="4724" y="2121"/>
                  <a:pt x="4722" y="2122"/>
                  <a:pt x="4719" y="2124"/>
                </a:cubicBezTo>
                <a:cubicBezTo>
                  <a:pt x="4716" y="2126"/>
                  <a:pt x="4711" y="2128"/>
                  <a:pt x="4707" y="2132"/>
                </a:cubicBezTo>
                <a:cubicBezTo>
                  <a:pt x="4703" y="2137"/>
                  <a:pt x="4702" y="2141"/>
                  <a:pt x="4701" y="2143"/>
                </a:cubicBezTo>
                <a:cubicBezTo>
                  <a:pt x="4700" y="2145"/>
                  <a:pt x="4698" y="2148"/>
                  <a:pt x="4688" y="2155"/>
                </a:cubicBezTo>
                <a:cubicBezTo>
                  <a:pt x="4669" y="2169"/>
                  <a:pt x="4645" y="2183"/>
                  <a:pt x="4638" y="2199"/>
                </a:cubicBezTo>
                <a:cubicBezTo>
                  <a:pt x="4637" y="2202"/>
                  <a:pt x="4636" y="2205"/>
                  <a:pt x="4636" y="2207"/>
                </a:cubicBezTo>
                <a:cubicBezTo>
                  <a:pt x="4636" y="2214"/>
                  <a:pt x="4640" y="2220"/>
                  <a:pt x="4646" y="2223"/>
                </a:cubicBezTo>
                <a:cubicBezTo>
                  <a:pt x="4651" y="2226"/>
                  <a:pt x="4658" y="2228"/>
                  <a:pt x="4666" y="2228"/>
                </a:cubicBezTo>
                <a:cubicBezTo>
                  <a:pt x="4673" y="2229"/>
                  <a:pt x="4676" y="2230"/>
                  <a:pt x="4680" y="2230"/>
                </a:cubicBezTo>
                <a:cubicBezTo>
                  <a:pt x="4680" y="2230"/>
                  <a:pt x="4680" y="2230"/>
                  <a:pt x="4680" y="2230"/>
                </a:cubicBezTo>
                <a:cubicBezTo>
                  <a:pt x="4684" y="2230"/>
                  <a:pt x="4687" y="2228"/>
                  <a:pt x="4689" y="2225"/>
                </a:cubicBezTo>
                <a:cubicBezTo>
                  <a:pt x="4692" y="2223"/>
                  <a:pt x="4694" y="2220"/>
                  <a:pt x="4698" y="2215"/>
                </a:cubicBezTo>
                <a:cubicBezTo>
                  <a:pt x="4710" y="2199"/>
                  <a:pt x="4721" y="2189"/>
                  <a:pt x="4736" y="2176"/>
                </a:cubicBezTo>
                <a:cubicBezTo>
                  <a:pt x="4750" y="2162"/>
                  <a:pt x="4753" y="2145"/>
                  <a:pt x="4753" y="2139"/>
                </a:cubicBezTo>
                <a:cubicBezTo>
                  <a:pt x="4755" y="2141"/>
                  <a:pt x="4757" y="2142"/>
                  <a:pt x="4759" y="2143"/>
                </a:cubicBezTo>
                <a:cubicBezTo>
                  <a:pt x="4761" y="2143"/>
                  <a:pt x="4762" y="2143"/>
                  <a:pt x="4764" y="2143"/>
                </a:cubicBezTo>
                <a:cubicBezTo>
                  <a:pt x="4771" y="2143"/>
                  <a:pt x="4775" y="2138"/>
                  <a:pt x="4778" y="2134"/>
                </a:cubicBezTo>
                <a:cubicBezTo>
                  <a:pt x="4781" y="2129"/>
                  <a:pt x="4783" y="2124"/>
                  <a:pt x="4785" y="2120"/>
                </a:cubicBezTo>
                <a:cubicBezTo>
                  <a:pt x="4789" y="2110"/>
                  <a:pt x="4793" y="2103"/>
                  <a:pt x="4799" y="2099"/>
                </a:cubicBezTo>
                <a:cubicBezTo>
                  <a:pt x="4803" y="2096"/>
                  <a:pt x="4805" y="2091"/>
                  <a:pt x="4805" y="2088"/>
                </a:cubicBezTo>
                <a:cubicBezTo>
                  <a:pt x="4805" y="2083"/>
                  <a:pt x="4803" y="2079"/>
                  <a:pt x="4801" y="2076"/>
                </a:cubicBezTo>
                <a:cubicBezTo>
                  <a:pt x="4798" y="2073"/>
                  <a:pt x="4796" y="2070"/>
                  <a:pt x="4791" y="2070"/>
                </a:cubicBezTo>
                <a:close/>
                <a:moveTo>
                  <a:pt x="4639" y="1836"/>
                </a:moveTo>
                <a:cubicBezTo>
                  <a:pt x="4646" y="1836"/>
                  <a:pt x="4651" y="1831"/>
                  <a:pt x="4652" y="1824"/>
                </a:cubicBezTo>
                <a:cubicBezTo>
                  <a:pt x="4646" y="1823"/>
                  <a:pt x="4646" y="1823"/>
                  <a:pt x="4646" y="1823"/>
                </a:cubicBezTo>
                <a:cubicBezTo>
                  <a:pt x="4652" y="1825"/>
                  <a:pt x="4652" y="1825"/>
                  <a:pt x="4652" y="1825"/>
                </a:cubicBezTo>
                <a:cubicBezTo>
                  <a:pt x="4652" y="1823"/>
                  <a:pt x="4652" y="1822"/>
                  <a:pt x="4652" y="1821"/>
                </a:cubicBezTo>
                <a:cubicBezTo>
                  <a:pt x="4652" y="1811"/>
                  <a:pt x="4644" y="1801"/>
                  <a:pt x="4624" y="1796"/>
                </a:cubicBezTo>
                <a:cubicBezTo>
                  <a:pt x="4620" y="1795"/>
                  <a:pt x="4617" y="1794"/>
                  <a:pt x="4614" y="1794"/>
                </a:cubicBezTo>
                <a:cubicBezTo>
                  <a:pt x="4613" y="1794"/>
                  <a:pt x="4611" y="1794"/>
                  <a:pt x="4609" y="1795"/>
                </a:cubicBezTo>
                <a:cubicBezTo>
                  <a:pt x="4607" y="1796"/>
                  <a:pt x="4606" y="1799"/>
                  <a:pt x="4606" y="1802"/>
                </a:cubicBezTo>
                <a:cubicBezTo>
                  <a:pt x="4606" y="1805"/>
                  <a:pt x="4607" y="1806"/>
                  <a:pt x="4608" y="1807"/>
                </a:cubicBezTo>
                <a:cubicBezTo>
                  <a:pt x="4610" y="1812"/>
                  <a:pt x="4615" y="1816"/>
                  <a:pt x="4617" y="1821"/>
                </a:cubicBezTo>
                <a:cubicBezTo>
                  <a:pt x="4623" y="1829"/>
                  <a:pt x="4630" y="1836"/>
                  <a:pt x="4639" y="1836"/>
                </a:cubicBezTo>
                <a:cubicBezTo>
                  <a:pt x="4639" y="1836"/>
                  <a:pt x="4639" y="1836"/>
                  <a:pt x="4639" y="1836"/>
                </a:cubicBezTo>
                <a:close/>
                <a:moveTo>
                  <a:pt x="2422" y="804"/>
                </a:moveTo>
                <a:cubicBezTo>
                  <a:pt x="2416" y="804"/>
                  <a:pt x="2413" y="808"/>
                  <a:pt x="2409" y="815"/>
                </a:cubicBezTo>
                <a:cubicBezTo>
                  <a:pt x="2409" y="816"/>
                  <a:pt x="2408" y="817"/>
                  <a:pt x="2408" y="819"/>
                </a:cubicBezTo>
                <a:cubicBezTo>
                  <a:pt x="2408" y="823"/>
                  <a:pt x="2411" y="826"/>
                  <a:pt x="2413" y="827"/>
                </a:cubicBezTo>
                <a:cubicBezTo>
                  <a:pt x="2415" y="828"/>
                  <a:pt x="2417" y="828"/>
                  <a:pt x="2420" y="828"/>
                </a:cubicBezTo>
                <a:cubicBezTo>
                  <a:pt x="2424" y="828"/>
                  <a:pt x="2429" y="827"/>
                  <a:pt x="2432" y="821"/>
                </a:cubicBezTo>
                <a:cubicBezTo>
                  <a:pt x="2432" y="821"/>
                  <a:pt x="2432" y="821"/>
                  <a:pt x="2432" y="821"/>
                </a:cubicBezTo>
                <a:cubicBezTo>
                  <a:pt x="2432" y="819"/>
                  <a:pt x="2433" y="818"/>
                  <a:pt x="2433" y="816"/>
                </a:cubicBezTo>
                <a:cubicBezTo>
                  <a:pt x="2433" y="813"/>
                  <a:pt x="2432" y="811"/>
                  <a:pt x="2430" y="809"/>
                </a:cubicBezTo>
                <a:cubicBezTo>
                  <a:pt x="2429" y="806"/>
                  <a:pt x="2426" y="804"/>
                  <a:pt x="2422" y="804"/>
                </a:cubicBezTo>
                <a:close/>
                <a:moveTo>
                  <a:pt x="4023" y="1526"/>
                </a:moveTo>
                <a:cubicBezTo>
                  <a:pt x="4023" y="1530"/>
                  <a:pt x="4024" y="1536"/>
                  <a:pt x="4028" y="1543"/>
                </a:cubicBezTo>
                <a:cubicBezTo>
                  <a:pt x="4037" y="1556"/>
                  <a:pt x="4051" y="1557"/>
                  <a:pt x="4055" y="1557"/>
                </a:cubicBezTo>
                <a:cubicBezTo>
                  <a:pt x="4056" y="1557"/>
                  <a:pt x="4057" y="1557"/>
                  <a:pt x="4057" y="1557"/>
                </a:cubicBezTo>
                <a:cubicBezTo>
                  <a:pt x="4060" y="1557"/>
                  <a:pt x="4063" y="1554"/>
                  <a:pt x="4063" y="1551"/>
                </a:cubicBezTo>
                <a:cubicBezTo>
                  <a:pt x="4063" y="1550"/>
                  <a:pt x="4062" y="1542"/>
                  <a:pt x="4060" y="1532"/>
                </a:cubicBezTo>
                <a:cubicBezTo>
                  <a:pt x="4058" y="1522"/>
                  <a:pt x="4055" y="1511"/>
                  <a:pt x="4046" y="1504"/>
                </a:cubicBezTo>
                <a:cubicBezTo>
                  <a:pt x="4044" y="1503"/>
                  <a:pt x="4043" y="1502"/>
                  <a:pt x="4041" y="1501"/>
                </a:cubicBezTo>
                <a:cubicBezTo>
                  <a:pt x="4042" y="1501"/>
                  <a:pt x="4043" y="1501"/>
                  <a:pt x="4043" y="1501"/>
                </a:cubicBezTo>
                <a:cubicBezTo>
                  <a:pt x="4049" y="1501"/>
                  <a:pt x="4053" y="1500"/>
                  <a:pt x="4057" y="1497"/>
                </a:cubicBezTo>
                <a:cubicBezTo>
                  <a:pt x="4061" y="1495"/>
                  <a:pt x="4063" y="1490"/>
                  <a:pt x="4063" y="1486"/>
                </a:cubicBezTo>
                <a:cubicBezTo>
                  <a:pt x="4063" y="1484"/>
                  <a:pt x="4063" y="1482"/>
                  <a:pt x="4062" y="1480"/>
                </a:cubicBezTo>
                <a:cubicBezTo>
                  <a:pt x="4058" y="1471"/>
                  <a:pt x="4050" y="1471"/>
                  <a:pt x="4043" y="1471"/>
                </a:cubicBezTo>
                <a:cubicBezTo>
                  <a:pt x="4035" y="1471"/>
                  <a:pt x="4027" y="1472"/>
                  <a:pt x="4023" y="1473"/>
                </a:cubicBezTo>
                <a:cubicBezTo>
                  <a:pt x="4023" y="1473"/>
                  <a:pt x="4023" y="1473"/>
                  <a:pt x="4022" y="1473"/>
                </a:cubicBezTo>
                <a:cubicBezTo>
                  <a:pt x="4021" y="1473"/>
                  <a:pt x="4017" y="1472"/>
                  <a:pt x="4015" y="1471"/>
                </a:cubicBezTo>
                <a:cubicBezTo>
                  <a:pt x="4012" y="1470"/>
                  <a:pt x="4010" y="1469"/>
                  <a:pt x="4010" y="1469"/>
                </a:cubicBezTo>
                <a:cubicBezTo>
                  <a:pt x="4009" y="1467"/>
                  <a:pt x="4007" y="1467"/>
                  <a:pt x="4005" y="1468"/>
                </a:cubicBezTo>
                <a:cubicBezTo>
                  <a:pt x="3999" y="1470"/>
                  <a:pt x="3996" y="1475"/>
                  <a:pt x="3995" y="1480"/>
                </a:cubicBezTo>
                <a:cubicBezTo>
                  <a:pt x="3994" y="1485"/>
                  <a:pt x="3994" y="1489"/>
                  <a:pt x="3993" y="1496"/>
                </a:cubicBezTo>
                <a:cubicBezTo>
                  <a:pt x="3992" y="1504"/>
                  <a:pt x="3986" y="1511"/>
                  <a:pt x="3986" y="1520"/>
                </a:cubicBezTo>
                <a:cubicBezTo>
                  <a:pt x="3986" y="1525"/>
                  <a:pt x="3988" y="1529"/>
                  <a:pt x="3992" y="1532"/>
                </a:cubicBezTo>
                <a:cubicBezTo>
                  <a:pt x="3994" y="1534"/>
                  <a:pt x="3996" y="1534"/>
                  <a:pt x="3999" y="1534"/>
                </a:cubicBezTo>
                <a:cubicBezTo>
                  <a:pt x="4007" y="1534"/>
                  <a:pt x="4011" y="1529"/>
                  <a:pt x="4016" y="1525"/>
                </a:cubicBezTo>
                <a:cubicBezTo>
                  <a:pt x="4019" y="1522"/>
                  <a:pt x="4021" y="1520"/>
                  <a:pt x="4022" y="1519"/>
                </a:cubicBezTo>
                <a:cubicBezTo>
                  <a:pt x="4023" y="1521"/>
                  <a:pt x="4023" y="1523"/>
                  <a:pt x="4023" y="1526"/>
                </a:cubicBezTo>
                <a:close/>
                <a:moveTo>
                  <a:pt x="4598" y="517"/>
                </a:moveTo>
                <a:cubicBezTo>
                  <a:pt x="4598" y="516"/>
                  <a:pt x="4598" y="514"/>
                  <a:pt x="4599" y="511"/>
                </a:cubicBezTo>
                <a:cubicBezTo>
                  <a:pt x="4603" y="504"/>
                  <a:pt x="4605" y="498"/>
                  <a:pt x="4608" y="496"/>
                </a:cubicBezTo>
                <a:cubicBezTo>
                  <a:pt x="4611" y="493"/>
                  <a:pt x="4618" y="490"/>
                  <a:pt x="4634" y="490"/>
                </a:cubicBezTo>
                <a:cubicBezTo>
                  <a:pt x="4662" y="490"/>
                  <a:pt x="4659" y="492"/>
                  <a:pt x="4672" y="492"/>
                </a:cubicBezTo>
                <a:cubicBezTo>
                  <a:pt x="4676" y="492"/>
                  <a:pt x="4680" y="492"/>
                  <a:pt x="4685" y="491"/>
                </a:cubicBezTo>
                <a:cubicBezTo>
                  <a:pt x="4700" y="491"/>
                  <a:pt x="4711" y="485"/>
                  <a:pt x="4721" y="480"/>
                </a:cubicBezTo>
                <a:cubicBezTo>
                  <a:pt x="4730" y="474"/>
                  <a:pt x="4739" y="469"/>
                  <a:pt x="4751" y="465"/>
                </a:cubicBezTo>
                <a:cubicBezTo>
                  <a:pt x="4771" y="458"/>
                  <a:pt x="4788" y="454"/>
                  <a:pt x="4797" y="454"/>
                </a:cubicBezTo>
                <a:cubicBezTo>
                  <a:pt x="4800" y="454"/>
                  <a:pt x="4801" y="454"/>
                  <a:pt x="4802" y="455"/>
                </a:cubicBezTo>
                <a:cubicBezTo>
                  <a:pt x="4805" y="456"/>
                  <a:pt x="4809" y="457"/>
                  <a:pt x="4812" y="457"/>
                </a:cubicBezTo>
                <a:cubicBezTo>
                  <a:pt x="4815" y="457"/>
                  <a:pt x="4818" y="457"/>
                  <a:pt x="4821" y="455"/>
                </a:cubicBezTo>
                <a:cubicBezTo>
                  <a:pt x="4823" y="454"/>
                  <a:pt x="4826" y="450"/>
                  <a:pt x="4826" y="447"/>
                </a:cubicBezTo>
                <a:cubicBezTo>
                  <a:pt x="4826" y="443"/>
                  <a:pt x="4824" y="440"/>
                  <a:pt x="4822" y="437"/>
                </a:cubicBezTo>
                <a:cubicBezTo>
                  <a:pt x="4818" y="433"/>
                  <a:pt x="4813" y="428"/>
                  <a:pt x="4809" y="424"/>
                </a:cubicBezTo>
                <a:cubicBezTo>
                  <a:pt x="4808" y="423"/>
                  <a:pt x="4806" y="421"/>
                  <a:pt x="4805" y="420"/>
                </a:cubicBezTo>
                <a:cubicBezTo>
                  <a:pt x="4809" y="419"/>
                  <a:pt x="4812" y="418"/>
                  <a:pt x="4816" y="416"/>
                </a:cubicBezTo>
                <a:cubicBezTo>
                  <a:pt x="4821" y="413"/>
                  <a:pt x="4826" y="409"/>
                  <a:pt x="4828" y="402"/>
                </a:cubicBezTo>
                <a:cubicBezTo>
                  <a:pt x="4828" y="400"/>
                  <a:pt x="4828" y="398"/>
                  <a:pt x="4828" y="396"/>
                </a:cubicBezTo>
                <a:cubicBezTo>
                  <a:pt x="4828" y="385"/>
                  <a:pt x="4821" y="374"/>
                  <a:pt x="4822" y="367"/>
                </a:cubicBezTo>
                <a:cubicBezTo>
                  <a:pt x="4822" y="365"/>
                  <a:pt x="4822" y="364"/>
                  <a:pt x="4823" y="362"/>
                </a:cubicBezTo>
                <a:cubicBezTo>
                  <a:pt x="4826" y="359"/>
                  <a:pt x="4827" y="355"/>
                  <a:pt x="4827" y="351"/>
                </a:cubicBezTo>
                <a:cubicBezTo>
                  <a:pt x="4827" y="344"/>
                  <a:pt x="4823" y="338"/>
                  <a:pt x="4818" y="334"/>
                </a:cubicBezTo>
                <a:cubicBezTo>
                  <a:pt x="4813" y="330"/>
                  <a:pt x="4807" y="326"/>
                  <a:pt x="4801" y="325"/>
                </a:cubicBezTo>
                <a:cubicBezTo>
                  <a:pt x="4798" y="324"/>
                  <a:pt x="4793" y="324"/>
                  <a:pt x="4788" y="324"/>
                </a:cubicBezTo>
                <a:cubicBezTo>
                  <a:pt x="4778" y="324"/>
                  <a:pt x="4766" y="325"/>
                  <a:pt x="4756" y="325"/>
                </a:cubicBezTo>
                <a:cubicBezTo>
                  <a:pt x="4746" y="325"/>
                  <a:pt x="4738" y="323"/>
                  <a:pt x="4737" y="323"/>
                </a:cubicBezTo>
                <a:cubicBezTo>
                  <a:pt x="4730" y="318"/>
                  <a:pt x="4719" y="313"/>
                  <a:pt x="4710" y="312"/>
                </a:cubicBezTo>
                <a:cubicBezTo>
                  <a:pt x="4707" y="312"/>
                  <a:pt x="4704" y="313"/>
                  <a:pt x="4702" y="315"/>
                </a:cubicBezTo>
                <a:cubicBezTo>
                  <a:pt x="4698" y="319"/>
                  <a:pt x="4695" y="325"/>
                  <a:pt x="4691" y="332"/>
                </a:cubicBezTo>
                <a:cubicBezTo>
                  <a:pt x="4689" y="335"/>
                  <a:pt x="4688" y="338"/>
                  <a:pt x="4687" y="340"/>
                </a:cubicBezTo>
                <a:cubicBezTo>
                  <a:pt x="4686" y="339"/>
                  <a:pt x="4684" y="338"/>
                  <a:pt x="4681" y="333"/>
                </a:cubicBezTo>
                <a:cubicBezTo>
                  <a:pt x="4676" y="325"/>
                  <a:pt x="4666" y="323"/>
                  <a:pt x="4657" y="321"/>
                </a:cubicBezTo>
                <a:cubicBezTo>
                  <a:pt x="4647" y="319"/>
                  <a:pt x="4636" y="319"/>
                  <a:pt x="4628" y="319"/>
                </a:cubicBezTo>
                <a:cubicBezTo>
                  <a:pt x="4624" y="319"/>
                  <a:pt x="4621" y="319"/>
                  <a:pt x="4619" y="319"/>
                </a:cubicBezTo>
                <a:cubicBezTo>
                  <a:pt x="4607" y="319"/>
                  <a:pt x="4594" y="322"/>
                  <a:pt x="4582" y="323"/>
                </a:cubicBezTo>
                <a:cubicBezTo>
                  <a:pt x="4575" y="324"/>
                  <a:pt x="4570" y="326"/>
                  <a:pt x="4567" y="325"/>
                </a:cubicBezTo>
                <a:cubicBezTo>
                  <a:pt x="4564" y="325"/>
                  <a:pt x="4562" y="325"/>
                  <a:pt x="4558" y="321"/>
                </a:cubicBezTo>
                <a:cubicBezTo>
                  <a:pt x="4548" y="310"/>
                  <a:pt x="4534" y="306"/>
                  <a:pt x="4531" y="303"/>
                </a:cubicBezTo>
                <a:cubicBezTo>
                  <a:pt x="4528" y="300"/>
                  <a:pt x="4524" y="300"/>
                  <a:pt x="4520" y="299"/>
                </a:cubicBezTo>
                <a:cubicBezTo>
                  <a:pt x="4516" y="298"/>
                  <a:pt x="4511" y="298"/>
                  <a:pt x="4505" y="298"/>
                </a:cubicBezTo>
                <a:cubicBezTo>
                  <a:pt x="4496" y="298"/>
                  <a:pt x="4486" y="299"/>
                  <a:pt x="4477" y="300"/>
                </a:cubicBezTo>
                <a:cubicBezTo>
                  <a:pt x="4461" y="302"/>
                  <a:pt x="4445" y="303"/>
                  <a:pt x="4440" y="303"/>
                </a:cubicBezTo>
                <a:cubicBezTo>
                  <a:pt x="4439" y="302"/>
                  <a:pt x="4437" y="301"/>
                  <a:pt x="4435" y="300"/>
                </a:cubicBezTo>
                <a:cubicBezTo>
                  <a:pt x="4431" y="298"/>
                  <a:pt x="4426" y="295"/>
                  <a:pt x="4419" y="290"/>
                </a:cubicBezTo>
                <a:cubicBezTo>
                  <a:pt x="4412" y="285"/>
                  <a:pt x="4405" y="281"/>
                  <a:pt x="4399" y="278"/>
                </a:cubicBezTo>
                <a:cubicBezTo>
                  <a:pt x="4393" y="275"/>
                  <a:pt x="4388" y="273"/>
                  <a:pt x="4383" y="272"/>
                </a:cubicBezTo>
                <a:cubicBezTo>
                  <a:pt x="4379" y="272"/>
                  <a:pt x="4363" y="275"/>
                  <a:pt x="4350" y="275"/>
                </a:cubicBezTo>
                <a:cubicBezTo>
                  <a:pt x="4344" y="276"/>
                  <a:pt x="4339" y="274"/>
                  <a:pt x="4339" y="274"/>
                </a:cubicBezTo>
                <a:cubicBezTo>
                  <a:pt x="4331" y="267"/>
                  <a:pt x="4324" y="263"/>
                  <a:pt x="4316" y="262"/>
                </a:cubicBezTo>
                <a:cubicBezTo>
                  <a:pt x="4321" y="260"/>
                  <a:pt x="4327" y="259"/>
                  <a:pt x="4334" y="257"/>
                </a:cubicBezTo>
                <a:cubicBezTo>
                  <a:pt x="4343" y="254"/>
                  <a:pt x="4351" y="251"/>
                  <a:pt x="4351" y="251"/>
                </a:cubicBezTo>
                <a:cubicBezTo>
                  <a:pt x="4353" y="250"/>
                  <a:pt x="4354" y="249"/>
                  <a:pt x="4355" y="247"/>
                </a:cubicBezTo>
                <a:cubicBezTo>
                  <a:pt x="4355" y="246"/>
                  <a:pt x="4355" y="244"/>
                  <a:pt x="4354" y="242"/>
                </a:cubicBezTo>
                <a:cubicBezTo>
                  <a:pt x="4354" y="242"/>
                  <a:pt x="4351" y="238"/>
                  <a:pt x="4347" y="234"/>
                </a:cubicBezTo>
                <a:cubicBezTo>
                  <a:pt x="4343" y="229"/>
                  <a:pt x="4337" y="224"/>
                  <a:pt x="4328" y="224"/>
                </a:cubicBezTo>
                <a:cubicBezTo>
                  <a:pt x="4324" y="224"/>
                  <a:pt x="4316" y="223"/>
                  <a:pt x="4308" y="221"/>
                </a:cubicBezTo>
                <a:cubicBezTo>
                  <a:pt x="4301" y="219"/>
                  <a:pt x="4295" y="217"/>
                  <a:pt x="4290" y="217"/>
                </a:cubicBezTo>
                <a:cubicBezTo>
                  <a:pt x="4288" y="217"/>
                  <a:pt x="4285" y="218"/>
                  <a:pt x="4284" y="219"/>
                </a:cubicBezTo>
                <a:cubicBezTo>
                  <a:pt x="4283" y="220"/>
                  <a:pt x="4282" y="221"/>
                  <a:pt x="4282" y="222"/>
                </a:cubicBezTo>
                <a:cubicBezTo>
                  <a:pt x="4281" y="222"/>
                  <a:pt x="4280" y="222"/>
                  <a:pt x="4279" y="222"/>
                </a:cubicBezTo>
                <a:cubicBezTo>
                  <a:pt x="4271" y="220"/>
                  <a:pt x="4264" y="216"/>
                  <a:pt x="4255" y="216"/>
                </a:cubicBezTo>
                <a:cubicBezTo>
                  <a:pt x="4251" y="216"/>
                  <a:pt x="4247" y="217"/>
                  <a:pt x="4244" y="220"/>
                </a:cubicBezTo>
                <a:cubicBezTo>
                  <a:pt x="4242" y="222"/>
                  <a:pt x="4239" y="224"/>
                  <a:pt x="4235" y="226"/>
                </a:cubicBezTo>
                <a:cubicBezTo>
                  <a:pt x="4232" y="229"/>
                  <a:pt x="4229" y="232"/>
                  <a:pt x="4228" y="238"/>
                </a:cubicBezTo>
                <a:cubicBezTo>
                  <a:pt x="4228" y="241"/>
                  <a:pt x="4230" y="244"/>
                  <a:pt x="4232" y="246"/>
                </a:cubicBezTo>
                <a:cubicBezTo>
                  <a:pt x="4234" y="248"/>
                  <a:pt x="4237" y="249"/>
                  <a:pt x="4240" y="250"/>
                </a:cubicBezTo>
                <a:cubicBezTo>
                  <a:pt x="4250" y="253"/>
                  <a:pt x="4259" y="253"/>
                  <a:pt x="4265" y="253"/>
                </a:cubicBezTo>
                <a:cubicBezTo>
                  <a:pt x="4272" y="253"/>
                  <a:pt x="4275" y="255"/>
                  <a:pt x="4275" y="255"/>
                </a:cubicBezTo>
                <a:cubicBezTo>
                  <a:pt x="4276" y="257"/>
                  <a:pt x="4276" y="258"/>
                  <a:pt x="4276" y="259"/>
                </a:cubicBezTo>
                <a:cubicBezTo>
                  <a:pt x="4276" y="261"/>
                  <a:pt x="4274" y="264"/>
                  <a:pt x="4274" y="270"/>
                </a:cubicBezTo>
                <a:cubicBezTo>
                  <a:pt x="4274" y="270"/>
                  <a:pt x="4272" y="276"/>
                  <a:pt x="4269" y="280"/>
                </a:cubicBezTo>
                <a:cubicBezTo>
                  <a:pt x="4267" y="284"/>
                  <a:pt x="4263" y="288"/>
                  <a:pt x="4262" y="288"/>
                </a:cubicBezTo>
                <a:cubicBezTo>
                  <a:pt x="4262" y="288"/>
                  <a:pt x="4262" y="288"/>
                  <a:pt x="4262" y="288"/>
                </a:cubicBezTo>
                <a:cubicBezTo>
                  <a:pt x="4260" y="288"/>
                  <a:pt x="4257" y="287"/>
                  <a:pt x="4251" y="287"/>
                </a:cubicBezTo>
                <a:cubicBezTo>
                  <a:pt x="4248" y="287"/>
                  <a:pt x="4243" y="289"/>
                  <a:pt x="4238" y="292"/>
                </a:cubicBezTo>
                <a:cubicBezTo>
                  <a:pt x="4234" y="294"/>
                  <a:pt x="4224" y="296"/>
                  <a:pt x="4216" y="296"/>
                </a:cubicBezTo>
                <a:cubicBezTo>
                  <a:pt x="4213" y="296"/>
                  <a:pt x="4211" y="296"/>
                  <a:pt x="4210" y="296"/>
                </a:cubicBezTo>
                <a:cubicBezTo>
                  <a:pt x="4206" y="296"/>
                  <a:pt x="4203" y="295"/>
                  <a:pt x="4201" y="295"/>
                </a:cubicBezTo>
                <a:cubicBezTo>
                  <a:pt x="4199" y="296"/>
                  <a:pt x="4197" y="295"/>
                  <a:pt x="4196" y="296"/>
                </a:cubicBezTo>
                <a:cubicBezTo>
                  <a:pt x="4195" y="295"/>
                  <a:pt x="4194" y="294"/>
                  <a:pt x="4193" y="293"/>
                </a:cubicBezTo>
                <a:cubicBezTo>
                  <a:pt x="4190" y="291"/>
                  <a:pt x="4188" y="288"/>
                  <a:pt x="4182" y="287"/>
                </a:cubicBezTo>
                <a:cubicBezTo>
                  <a:pt x="4181" y="287"/>
                  <a:pt x="4180" y="288"/>
                  <a:pt x="4178" y="288"/>
                </a:cubicBezTo>
                <a:cubicBezTo>
                  <a:pt x="4174" y="291"/>
                  <a:pt x="4169" y="295"/>
                  <a:pt x="4164" y="300"/>
                </a:cubicBezTo>
                <a:cubicBezTo>
                  <a:pt x="4159" y="304"/>
                  <a:pt x="4152" y="307"/>
                  <a:pt x="4152" y="307"/>
                </a:cubicBezTo>
                <a:cubicBezTo>
                  <a:pt x="4152" y="307"/>
                  <a:pt x="4152" y="307"/>
                  <a:pt x="4152" y="307"/>
                </a:cubicBezTo>
                <a:cubicBezTo>
                  <a:pt x="4148" y="306"/>
                  <a:pt x="4139" y="298"/>
                  <a:pt x="4139" y="291"/>
                </a:cubicBezTo>
                <a:cubicBezTo>
                  <a:pt x="4139" y="285"/>
                  <a:pt x="4139" y="278"/>
                  <a:pt x="4137" y="272"/>
                </a:cubicBezTo>
                <a:cubicBezTo>
                  <a:pt x="4136" y="267"/>
                  <a:pt x="4135" y="262"/>
                  <a:pt x="4130" y="258"/>
                </a:cubicBezTo>
                <a:cubicBezTo>
                  <a:pt x="4128" y="257"/>
                  <a:pt x="4126" y="257"/>
                  <a:pt x="4124" y="256"/>
                </a:cubicBezTo>
                <a:cubicBezTo>
                  <a:pt x="4118" y="255"/>
                  <a:pt x="4108" y="254"/>
                  <a:pt x="4099" y="254"/>
                </a:cubicBezTo>
                <a:cubicBezTo>
                  <a:pt x="4095" y="254"/>
                  <a:pt x="4091" y="254"/>
                  <a:pt x="4088" y="255"/>
                </a:cubicBezTo>
                <a:cubicBezTo>
                  <a:pt x="4084" y="255"/>
                  <a:pt x="4074" y="256"/>
                  <a:pt x="4065" y="258"/>
                </a:cubicBezTo>
                <a:cubicBezTo>
                  <a:pt x="4060" y="259"/>
                  <a:pt x="4056" y="260"/>
                  <a:pt x="4052" y="261"/>
                </a:cubicBezTo>
                <a:cubicBezTo>
                  <a:pt x="4048" y="262"/>
                  <a:pt x="4045" y="263"/>
                  <a:pt x="4042" y="266"/>
                </a:cubicBezTo>
                <a:cubicBezTo>
                  <a:pt x="4040" y="269"/>
                  <a:pt x="4027" y="274"/>
                  <a:pt x="4021" y="274"/>
                </a:cubicBezTo>
                <a:cubicBezTo>
                  <a:pt x="4020" y="274"/>
                  <a:pt x="4016" y="272"/>
                  <a:pt x="4011" y="269"/>
                </a:cubicBezTo>
                <a:cubicBezTo>
                  <a:pt x="4006" y="267"/>
                  <a:pt x="3999" y="263"/>
                  <a:pt x="3990" y="261"/>
                </a:cubicBezTo>
                <a:cubicBezTo>
                  <a:pt x="3976" y="259"/>
                  <a:pt x="3953" y="259"/>
                  <a:pt x="3939" y="259"/>
                </a:cubicBezTo>
                <a:cubicBezTo>
                  <a:pt x="3933" y="259"/>
                  <a:pt x="3930" y="260"/>
                  <a:pt x="3927" y="260"/>
                </a:cubicBezTo>
                <a:cubicBezTo>
                  <a:pt x="3927" y="260"/>
                  <a:pt x="3927" y="260"/>
                  <a:pt x="3927" y="260"/>
                </a:cubicBezTo>
                <a:cubicBezTo>
                  <a:pt x="3926" y="260"/>
                  <a:pt x="3923" y="259"/>
                  <a:pt x="3922" y="259"/>
                </a:cubicBezTo>
                <a:cubicBezTo>
                  <a:pt x="3924" y="256"/>
                  <a:pt x="3927" y="253"/>
                  <a:pt x="3930" y="250"/>
                </a:cubicBezTo>
                <a:cubicBezTo>
                  <a:pt x="3933" y="244"/>
                  <a:pt x="3937" y="239"/>
                  <a:pt x="3937" y="232"/>
                </a:cubicBezTo>
                <a:cubicBezTo>
                  <a:pt x="3937" y="227"/>
                  <a:pt x="3935" y="223"/>
                  <a:pt x="3931" y="220"/>
                </a:cubicBezTo>
                <a:cubicBezTo>
                  <a:pt x="3918" y="210"/>
                  <a:pt x="3895" y="211"/>
                  <a:pt x="3885" y="209"/>
                </a:cubicBezTo>
                <a:cubicBezTo>
                  <a:pt x="3878" y="208"/>
                  <a:pt x="3870" y="206"/>
                  <a:pt x="3861" y="206"/>
                </a:cubicBezTo>
                <a:cubicBezTo>
                  <a:pt x="3856" y="206"/>
                  <a:pt x="3851" y="207"/>
                  <a:pt x="3846" y="208"/>
                </a:cubicBezTo>
                <a:cubicBezTo>
                  <a:pt x="3840" y="209"/>
                  <a:pt x="3835" y="211"/>
                  <a:pt x="3831" y="213"/>
                </a:cubicBezTo>
                <a:cubicBezTo>
                  <a:pt x="3830" y="213"/>
                  <a:pt x="3830" y="213"/>
                  <a:pt x="3830" y="213"/>
                </a:cubicBezTo>
                <a:cubicBezTo>
                  <a:pt x="3830" y="212"/>
                  <a:pt x="3829" y="211"/>
                  <a:pt x="3829" y="211"/>
                </a:cubicBezTo>
                <a:cubicBezTo>
                  <a:pt x="3828" y="210"/>
                  <a:pt x="3828" y="210"/>
                  <a:pt x="3827" y="210"/>
                </a:cubicBezTo>
                <a:cubicBezTo>
                  <a:pt x="3826" y="209"/>
                  <a:pt x="3823" y="207"/>
                  <a:pt x="3817" y="204"/>
                </a:cubicBezTo>
                <a:cubicBezTo>
                  <a:pt x="3802" y="197"/>
                  <a:pt x="3791" y="194"/>
                  <a:pt x="3783" y="194"/>
                </a:cubicBezTo>
                <a:cubicBezTo>
                  <a:pt x="3777" y="194"/>
                  <a:pt x="3772" y="195"/>
                  <a:pt x="3768" y="197"/>
                </a:cubicBezTo>
                <a:cubicBezTo>
                  <a:pt x="3766" y="199"/>
                  <a:pt x="3765" y="200"/>
                  <a:pt x="3764" y="201"/>
                </a:cubicBezTo>
                <a:cubicBezTo>
                  <a:pt x="3762" y="203"/>
                  <a:pt x="3763" y="202"/>
                  <a:pt x="3762" y="203"/>
                </a:cubicBezTo>
                <a:cubicBezTo>
                  <a:pt x="3761" y="203"/>
                  <a:pt x="3758" y="204"/>
                  <a:pt x="3752" y="207"/>
                </a:cubicBezTo>
                <a:cubicBezTo>
                  <a:pt x="3734" y="215"/>
                  <a:pt x="3723" y="220"/>
                  <a:pt x="3719" y="220"/>
                </a:cubicBezTo>
                <a:cubicBezTo>
                  <a:pt x="3719" y="220"/>
                  <a:pt x="3719" y="220"/>
                  <a:pt x="3719" y="220"/>
                </a:cubicBezTo>
                <a:cubicBezTo>
                  <a:pt x="3717" y="220"/>
                  <a:pt x="3709" y="219"/>
                  <a:pt x="3702" y="217"/>
                </a:cubicBezTo>
                <a:cubicBezTo>
                  <a:pt x="3698" y="216"/>
                  <a:pt x="3694" y="215"/>
                  <a:pt x="3692" y="214"/>
                </a:cubicBezTo>
                <a:cubicBezTo>
                  <a:pt x="3690" y="214"/>
                  <a:pt x="3689" y="214"/>
                  <a:pt x="3689" y="213"/>
                </a:cubicBezTo>
                <a:cubicBezTo>
                  <a:pt x="3688" y="213"/>
                  <a:pt x="3688" y="213"/>
                  <a:pt x="3688" y="213"/>
                </a:cubicBezTo>
                <a:cubicBezTo>
                  <a:pt x="3688" y="213"/>
                  <a:pt x="3688" y="213"/>
                  <a:pt x="3688" y="213"/>
                </a:cubicBezTo>
                <a:cubicBezTo>
                  <a:pt x="3684" y="211"/>
                  <a:pt x="3683" y="211"/>
                  <a:pt x="3681" y="211"/>
                </a:cubicBezTo>
                <a:cubicBezTo>
                  <a:pt x="3673" y="211"/>
                  <a:pt x="3663" y="215"/>
                  <a:pt x="3654" y="219"/>
                </a:cubicBezTo>
                <a:cubicBezTo>
                  <a:pt x="3643" y="225"/>
                  <a:pt x="3636" y="231"/>
                  <a:pt x="3630" y="230"/>
                </a:cubicBezTo>
                <a:cubicBezTo>
                  <a:pt x="3629" y="230"/>
                  <a:pt x="3628" y="230"/>
                  <a:pt x="3626" y="230"/>
                </a:cubicBezTo>
                <a:cubicBezTo>
                  <a:pt x="3621" y="228"/>
                  <a:pt x="3615" y="228"/>
                  <a:pt x="3608" y="228"/>
                </a:cubicBezTo>
                <a:cubicBezTo>
                  <a:pt x="3599" y="228"/>
                  <a:pt x="3589" y="229"/>
                  <a:pt x="3581" y="233"/>
                </a:cubicBezTo>
                <a:cubicBezTo>
                  <a:pt x="3571" y="238"/>
                  <a:pt x="3562" y="238"/>
                  <a:pt x="3549" y="249"/>
                </a:cubicBezTo>
                <a:cubicBezTo>
                  <a:pt x="3544" y="253"/>
                  <a:pt x="3536" y="257"/>
                  <a:pt x="3529" y="259"/>
                </a:cubicBezTo>
                <a:cubicBezTo>
                  <a:pt x="3525" y="261"/>
                  <a:pt x="3520" y="262"/>
                  <a:pt x="3519" y="263"/>
                </a:cubicBezTo>
                <a:cubicBezTo>
                  <a:pt x="3514" y="262"/>
                  <a:pt x="3499" y="261"/>
                  <a:pt x="3489" y="261"/>
                </a:cubicBezTo>
                <a:cubicBezTo>
                  <a:pt x="3485" y="261"/>
                  <a:pt x="3481" y="261"/>
                  <a:pt x="3476" y="262"/>
                </a:cubicBezTo>
                <a:cubicBezTo>
                  <a:pt x="3474" y="262"/>
                  <a:pt x="3472" y="263"/>
                  <a:pt x="3470" y="264"/>
                </a:cubicBezTo>
                <a:cubicBezTo>
                  <a:pt x="3468" y="265"/>
                  <a:pt x="3465" y="268"/>
                  <a:pt x="3465" y="272"/>
                </a:cubicBezTo>
                <a:cubicBezTo>
                  <a:pt x="3465" y="276"/>
                  <a:pt x="3467" y="278"/>
                  <a:pt x="3470" y="281"/>
                </a:cubicBezTo>
                <a:cubicBezTo>
                  <a:pt x="3476" y="287"/>
                  <a:pt x="3485" y="292"/>
                  <a:pt x="3494" y="296"/>
                </a:cubicBezTo>
                <a:cubicBezTo>
                  <a:pt x="3494" y="296"/>
                  <a:pt x="3494" y="297"/>
                  <a:pt x="3494" y="297"/>
                </a:cubicBezTo>
                <a:cubicBezTo>
                  <a:pt x="3492" y="296"/>
                  <a:pt x="3490" y="295"/>
                  <a:pt x="3487" y="293"/>
                </a:cubicBezTo>
                <a:cubicBezTo>
                  <a:pt x="3480" y="291"/>
                  <a:pt x="3476" y="290"/>
                  <a:pt x="3474" y="289"/>
                </a:cubicBezTo>
                <a:cubicBezTo>
                  <a:pt x="3473" y="289"/>
                  <a:pt x="3471" y="287"/>
                  <a:pt x="3465" y="281"/>
                </a:cubicBezTo>
                <a:cubicBezTo>
                  <a:pt x="3458" y="274"/>
                  <a:pt x="3450" y="270"/>
                  <a:pt x="3443" y="270"/>
                </a:cubicBezTo>
                <a:cubicBezTo>
                  <a:pt x="3436" y="270"/>
                  <a:pt x="3429" y="274"/>
                  <a:pt x="3426" y="279"/>
                </a:cubicBezTo>
                <a:cubicBezTo>
                  <a:pt x="3421" y="285"/>
                  <a:pt x="3421" y="292"/>
                  <a:pt x="3420" y="297"/>
                </a:cubicBezTo>
                <a:cubicBezTo>
                  <a:pt x="3420" y="300"/>
                  <a:pt x="3420" y="302"/>
                  <a:pt x="3419" y="303"/>
                </a:cubicBezTo>
                <a:cubicBezTo>
                  <a:pt x="3419" y="303"/>
                  <a:pt x="3419" y="303"/>
                  <a:pt x="3419" y="303"/>
                </a:cubicBezTo>
                <a:cubicBezTo>
                  <a:pt x="3416" y="304"/>
                  <a:pt x="3413" y="305"/>
                  <a:pt x="3412" y="305"/>
                </a:cubicBezTo>
                <a:cubicBezTo>
                  <a:pt x="3412" y="305"/>
                  <a:pt x="3411" y="304"/>
                  <a:pt x="3411" y="303"/>
                </a:cubicBezTo>
                <a:cubicBezTo>
                  <a:pt x="3411" y="298"/>
                  <a:pt x="3411" y="291"/>
                  <a:pt x="3410" y="286"/>
                </a:cubicBezTo>
                <a:cubicBezTo>
                  <a:pt x="3410" y="283"/>
                  <a:pt x="3409" y="280"/>
                  <a:pt x="3408" y="278"/>
                </a:cubicBezTo>
                <a:cubicBezTo>
                  <a:pt x="3408" y="276"/>
                  <a:pt x="3407" y="275"/>
                  <a:pt x="3406" y="274"/>
                </a:cubicBezTo>
                <a:cubicBezTo>
                  <a:pt x="3405" y="273"/>
                  <a:pt x="3403" y="271"/>
                  <a:pt x="3400" y="271"/>
                </a:cubicBezTo>
                <a:cubicBezTo>
                  <a:pt x="3394" y="272"/>
                  <a:pt x="3393" y="275"/>
                  <a:pt x="3391" y="278"/>
                </a:cubicBezTo>
                <a:cubicBezTo>
                  <a:pt x="3387" y="285"/>
                  <a:pt x="3384" y="288"/>
                  <a:pt x="3382" y="291"/>
                </a:cubicBezTo>
                <a:cubicBezTo>
                  <a:pt x="3380" y="293"/>
                  <a:pt x="3378" y="297"/>
                  <a:pt x="3379" y="302"/>
                </a:cubicBezTo>
                <a:cubicBezTo>
                  <a:pt x="3379" y="311"/>
                  <a:pt x="3384" y="316"/>
                  <a:pt x="3384" y="323"/>
                </a:cubicBezTo>
                <a:cubicBezTo>
                  <a:pt x="3384" y="324"/>
                  <a:pt x="3384" y="326"/>
                  <a:pt x="3383" y="327"/>
                </a:cubicBezTo>
                <a:cubicBezTo>
                  <a:pt x="3382" y="333"/>
                  <a:pt x="3382" y="338"/>
                  <a:pt x="3382" y="342"/>
                </a:cubicBezTo>
                <a:cubicBezTo>
                  <a:pt x="3382" y="344"/>
                  <a:pt x="3382" y="347"/>
                  <a:pt x="3383" y="349"/>
                </a:cubicBezTo>
                <a:cubicBezTo>
                  <a:pt x="3383" y="351"/>
                  <a:pt x="3385" y="353"/>
                  <a:pt x="3387" y="354"/>
                </a:cubicBezTo>
                <a:cubicBezTo>
                  <a:pt x="3380" y="363"/>
                  <a:pt x="3372" y="375"/>
                  <a:pt x="3369" y="378"/>
                </a:cubicBezTo>
                <a:cubicBezTo>
                  <a:pt x="3367" y="380"/>
                  <a:pt x="3363" y="382"/>
                  <a:pt x="3358" y="384"/>
                </a:cubicBezTo>
                <a:cubicBezTo>
                  <a:pt x="3356" y="385"/>
                  <a:pt x="3355" y="386"/>
                  <a:pt x="3353" y="387"/>
                </a:cubicBezTo>
                <a:cubicBezTo>
                  <a:pt x="3356" y="382"/>
                  <a:pt x="3361" y="378"/>
                  <a:pt x="3364" y="376"/>
                </a:cubicBezTo>
                <a:cubicBezTo>
                  <a:pt x="3373" y="368"/>
                  <a:pt x="3380" y="357"/>
                  <a:pt x="3380" y="348"/>
                </a:cubicBezTo>
                <a:cubicBezTo>
                  <a:pt x="3380" y="346"/>
                  <a:pt x="3380" y="343"/>
                  <a:pt x="3378" y="341"/>
                </a:cubicBezTo>
                <a:cubicBezTo>
                  <a:pt x="3378" y="341"/>
                  <a:pt x="3378" y="341"/>
                  <a:pt x="3378" y="341"/>
                </a:cubicBezTo>
                <a:cubicBezTo>
                  <a:pt x="3376" y="339"/>
                  <a:pt x="3373" y="321"/>
                  <a:pt x="3373" y="313"/>
                </a:cubicBezTo>
                <a:cubicBezTo>
                  <a:pt x="3373" y="311"/>
                  <a:pt x="3373" y="309"/>
                  <a:pt x="3373" y="309"/>
                </a:cubicBezTo>
                <a:cubicBezTo>
                  <a:pt x="3374" y="306"/>
                  <a:pt x="3379" y="301"/>
                  <a:pt x="3380" y="292"/>
                </a:cubicBezTo>
                <a:cubicBezTo>
                  <a:pt x="3380" y="287"/>
                  <a:pt x="3377" y="282"/>
                  <a:pt x="3372" y="279"/>
                </a:cubicBezTo>
                <a:cubicBezTo>
                  <a:pt x="3361" y="272"/>
                  <a:pt x="3353" y="264"/>
                  <a:pt x="3342" y="259"/>
                </a:cubicBezTo>
                <a:cubicBezTo>
                  <a:pt x="3341" y="258"/>
                  <a:pt x="3339" y="258"/>
                  <a:pt x="3337" y="258"/>
                </a:cubicBezTo>
                <a:cubicBezTo>
                  <a:pt x="3329" y="259"/>
                  <a:pt x="3324" y="265"/>
                  <a:pt x="3320" y="270"/>
                </a:cubicBezTo>
                <a:cubicBezTo>
                  <a:pt x="3315" y="275"/>
                  <a:pt x="3311" y="280"/>
                  <a:pt x="3309" y="282"/>
                </a:cubicBezTo>
                <a:cubicBezTo>
                  <a:pt x="3304" y="285"/>
                  <a:pt x="3301" y="289"/>
                  <a:pt x="3300" y="291"/>
                </a:cubicBezTo>
                <a:cubicBezTo>
                  <a:pt x="3298" y="293"/>
                  <a:pt x="3298" y="294"/>
                  <a:pt x="3294" y="294"/>
                </a:cubicBezTo>
                <a:cubicBezTo>
                  <a:pt x="3285" y="296"/>
                  <a:pt x="3278" y="304"/>
                  <a:pt x="3278" y="313"/>
                </a:cubicBezTo>
                <a:cubicBezTo>
                  <a:pt x="3278" y="321"/>
                  <a:pt x="3283" y="328"/>
                  <a:pt x="3292" y="333"/>
                </a:cubicBezTo>
                <a:cubicBezTo>
                  <a:pt x="3298" y="337"/>
                  <a:pt x="3303" y="340"/>
                  <a:pt x="3306" y="343"/>
                </a:cubicBezTo>
                <a:cubicBezTo>
                  <a:pt x="3307" y="344"/>
                  <a:pt x="3308" y="345"/>
                  <a:pt x="3308" y="346"/>
                </a:cubicBezTo>
                <a:cubicBezTo>
                  <a:pt x="3308" y="346"/>
                  <a:pt x="3308" y="346"/>
                  <a:pt x="3308" y="346"/>
                </a:cubicBezTo>
                <a:cubicBezTo>
                  <a:pt x="3308" y="346"/>
                  <a:pt x="3308" y="346"/>
                  <a:pt x="3307" y="346"/>
                </a:cubicBezTo>
                <a:cubicBezTo>
                  <a:pt x="3305" y="346"/>
                  <a:pt x="3301" y="345"/>
                  <a:pt x="3297" y="344"/>
                </a:cubicBezTo>
                <a:cubicBezTo>
                  <a:pt x="3294" y="343"/>
                  <a:pt x="3291" y="342"/>
                  <a:pt x="3291" y="342"/>
                </a:cubicBezTo>
                <a:cubicBezTo>
                  <a:pt x="3291" y="342"/>
                  <a:pt x="3291" y="342"/>
                  <a:pt x="3291" y="342"/>
                </a:cubicBezTo>
                <a:cubicBezTo>
                  <a:pt x="3289" y="340"/>
                  <a:pt x="3276" y="333"/>
                  <a:pt x="3265" y="333"/>
                </a:cubicBezTo>
                <a:cubicBezTo>
                  <a:pt x="3258" y="333"/>
                  <a:pt x="3247" y="327"/>
                  <a:pt x="3236" y="325"/>
                </a:cubicBezTo>
                <a:cubicBezTo>
                  <a:pt x="3232" y="324"/>
                  <a:pt x="3228" y="324"/>
                  <a:pt x="3223" y="324"/>
                </a:cubicBezTo>
                <a:cubicBezTo>
                  <a:pt x="3214" y="324"/>
                  <a:pt x="3205" y="324"/>
                  <a:pt x="3198" y="331"/>
                </a:cubicBezTo>
                <a:cubicBezTo>
                  <a:pt x="3196" y="334"/>
                  <a:pt x="3193" y="338"/>
                  <a:pt x="3189" y="341"/>
                </a:cubicBezTo>
                <a:cubicBezTo>
                  <a:pt x="3186" y="345"/>
                  <a:pt x="3182" y="347"/>
                  <a:pt x="3181" y="347"/>
                </a:cubicBezTo>
                <a:cubicBezTo>
                  <a:pt x="3181" y="347"/>
                  <a:pt x="3181" y="346"/>
                  <a:pt x="3181" y="346"/>
                </a:cubicBezTo>
                <a:cubicBezTo>
                  <a:pt x="3178" y="345"/>
                  <a:pt x="3176" y="343"/>
                  <a:pt x="3174" y="341"/>
                </a:cubicBezTo>
                <a:cubicBezTo>
                  <a:pt x="3172" y="340"/>
                  <a:pt x="3168" y="338"/>
                  <a:pt x="3164" y="338"/>
                </a:cubicBezTo>
                <a:cubicBezTo>
                  <a:pt x="3161" y="338"/>
                  <a:pt x="3157" y="339"/>
                  <a:pt x="3153" y="340"/>
                </a:cubicBezTo>
                <a:cubicBezTo>
                  <a:pt x="3151" y="341"/>
                  <a:pt x="3149" y="342"/>
                  <a:pt x="3146" y="342"/>
                </a:cubicBezTo>
                <a:cubicBezTo>
                  <a:pt x="3142" y="342"/>
                  <a:pt x="3137" y="341"/>
                  <a:pt x="3132" y="341"/>
                </a:cubicBezTo>
                <a:cubicBezTo>
                  <a:pt x="3128" y="340"/>
                  <a:pt x="3122" y="342"/>
                  <a:pt x="3119" y="346"/>
                </a:cubicBezTo>
                <a:cubicBezTo>
                  <a:pt x="3118" y="348"/>
                  <a:pt x="3117" y="349"/>
                  <a:pt x="3116" y="350"/>
                </a:cubicBezTo>
                <a:cubicBezTo>
                  <a:pt x="3114" y="349"/>
                  <a:pt x="3109" y="347"/>
                  <a:pt x="3102" y="344"/>
                </a:cubicBezTo>
                <a:cubicBezTo>
                  <a:pt x="3097" y="342"/>
                  <a:pt x="3093" y="341"/>
                  <a:pt x="3089" y="341"/>
                </a:cubicBezTo>
                <a:cubicBezTo>
                  <a:pt x="3082" y="341"/>
                  <a:pt x="3077" y="345"/>
                  <a:pt x="3074" y="348"/>
                </a:cubicBezTo>
                <a:cubicBezTo>
                  <a:pt x="3071" y="350"/>
                  <a:pt x="3068" y="352"/>
                  <a:pt x="3061" y="354"/>
                </a:cubicBezTo>
                <a:cubicBezTo>
                  <a:pt x="3057" y="355"/>
                  <a:pt x="3053" y="355"/>
                  <a:pt x="3049" y="355"/>
                </a:cubicBezTo>
                <a:cubicBezTo>
                  <a:pt x="3043" y="355"/>
                  <a:pt x="3038" y="354"/>
                  <a:pt x="3033" y="354"/>
                </a:cubicBezTo>
                <a:cubicBezTo>
                  <a:pt x="3028" y="354"/>
                  <a:pt x="3022" y="355"/>
                  <a:pt x="3018" y="360"/>
                </a:cubicBezTo>
                <a:cubicBezTo>
                  <a:pt x="3016" y="363"/>
                  <a:pt x="3015" y="366"/>
                  <a:pt x="3013" y="369"/>
                </a:cubicBezTo>
                <a:cubicBezTo>
                  <a:pt x="3013" y="367"/>
                  <a:pt x="3014" y="365"/>
                  <a:pt x="3015" y="364"/>
                </a:cubicBezTo>
                <a:cubicBezTo>
                  <a:pt x="3017" y="359"/>
                  <a:pt x="3019" y="355"/>
                  <a:pt x="3019" y="350"/>
                </a:cubicBezTo>
                <a:cubicBezTo>
                  <a:pt x="3019" y="347"/>
                  <a:pt x="3018" y="344"/>
                  <a:pt x="3016" y="342"/>
                </a:cubicBezTo>
                <a:cubicBezTo>
                  <a:pt x="3011" y="337"/>
                  <a:pt x="3005" y="337"/>
                  <a:pt x="2999" y="337"/>
                </a:cubicBezTo>
                <a:cubicBezTo>
                  <a:pt x="2994" y="337"/>
                  <a:pt x="2989" y="337"/>
                  <a:pt x="2985" y="338"/>
                </a:cubicBezTo>
                <a:cubicBezTo>
                  <a:pt x="2980" y="339"/>
                  <a:pt x="2977" y="340"/>
                  <a:pt x="2974" y="343"/>
                </a:cubicBezTo>
                <a:cubicBezTo>
                  <a:pt x="2971" y="348"/>
                  <a:pt x="2971" y="351"/>
                  <a:pt x="2971" y="355"/>
                </a:cubicBezTo>
                <a:cubicBezTo>
                  <a:pt x="2971" y="362"/>
                  <a:pt x="2972" y="370"/>
                  <a:pt x="2974" y="375"/>
                </a:cubicBezTo>
                <a:cubicBezTo>
                  <a:pt x="2974" y="375"/>
                  <a:pt x="2974" y="376"/>
                  <a:pt x="2975" y="377"/>
                </a:cubicBezTo>
                <a:cubicBezTo>
                  <a:pt x="2973" y="375"/>
                  <a:pt x="2970" y="373"/>
                  <a:pt x="2967" y="373"/>
                </a:cubicBezTo>
                <a:cubicBezTo>
                  <a:pt x="2966" y="373"/>
                  <a:pt x="2965" y="373"/>
                  <a:pt x="2964" y="373"/>
                </a:cubicBezTo>
                <a:cubicBezTo>
                  <a:pt x="2961" y="374"/>
                  <a:pt x="2958" y="375"/>
                  <a:pt x="2956" y="376"/>
                </a:cubicBezTo>
                <a:cubicBezTo>
                  <a:pt x="2957" y="375"/>
                  <a:pt x="2957" y="373"/>
                  <a:pt x="2957" y="371"/>
                </a:cubicBezTo>
                <a:cubicBezTo>
                  <a:pt x="2957" y="365"/>
                  <a:pt x="2953" y="363"/>
                  <a:pt x="2950" y="361"/>
                </a:cubicBezTo>
                <a:cubicBezTo>
                  <a:pt x="2940" y="356"/>
                  <a:pt x="2929" y="350"/>
                  <a:pt x="2911" y="347"/>
                </a:cubicBezTo>
                <a:cubicBezTo>
                  <a:pt x="2895" y="344"/>
                  <a:pt x="2874" y="344"/>
                  <a:pt x="2850" y="334"/>
                </a:cubicBezTo>
                <a:cubicBezTo>
                  <a:pt x="2825" y="323"/>
                  <a:pt x="2819" y="318"/>
                  <a:pt x="2807" y="315"/>
                </a:cubicBezTo>
                <a:cubicBezTo>
                  <a:pt x="2798" y="313"/>
                  <a:pt x="2754" y="304"/>
                  <a:pt x="2721" y="304"/>
                </a:cubicBezTo>
                <a:cubicBezTo>
                  <a:pt x="2714" y="304"/>
                  <a:pt x="2708" y="304"/>
                  <a:pt x="2702" y="306"/>
                </a:cubicBezTo>
                <a:cubicBezTo>
                  <a:pt x="2687" y="308"/>
                  <a:pt x="2660" y="316"/>
                  <a:pt x="2636" y="323"/>
                </a:cubicBezTo>
                <a:cubicBezTo>
                  <a:pt x="2624" y="327"/>
                  <a:pt x="2613" y="331"/>
                  <a:pt x="2604" y="334"/>
                </a:cubicBezTo>
                <a:cubicBezTo>
                  <a:pt x="2600" y="335"/>
                  <a:pt x="2596" y="337"/>
                  <a:pt x="2593" y="338"/>
                </a:cubicBezTo>
                <a:cubicBezTo>
                  <a:pt x="2590" y="339"/>
                  <a:pt x="2589" y="340"/>
                  <a:pt x="2586" y="341"/>
                </a:cubicBezTo>
                <a:cubicBezTo>
                  <a:pt x="2583" y="345"/>
                  <a:pt x="2580" y="350"/>
                  <a:pt x="2576" y="356"/>
                </a:cubicBezTo>
                <a:cubicBezTo>
                  <a:pt x="2572" y="362"/>
                  <a:pt x="2567" y="370"/>
                  <a:pt x="2560" y="376"/>
                </a:cubicBezTo>
                <a:cubicBezTo>
                  <a:pt x="2545" y="390"/>
                  <a:pt x="2517" y="421"/>
                  <a:pt x="2498" y="426"/>
                </a:cubicBezTo>
                <a:cubicBezTo>
                  <a:pt x="2486" y="429"/>
                  <a:pt x="2474" y="436"/>
                  <a:pt x="2464" y="443"/>
                </a:cubicBezTo>
                <a:cubicBezTo>
                  <a:pt x="2460" y="447"/>
                  <a:pt x="2455" y="450"/>
                  <a:pt x="2452" y="454"/>
                </a:cubicBezTo>
                <a:cubicBezTo>
                  <a:pt x="2450" y="457"/>
                  <a:pt x="2447" y="459"/>
                  <a:pt x="2446" y="465"/>
                </a:cubicBezTo>
                <a:cubicBezTo>
                  <a:pt x="2447" y="469"/>
                  <a:pt x="2449" y="474"/>
                  <a:pt x="2450" y="480"/>
                </a:cubicBezTo>
                <a:cubicBezTo>
                  <a:pt x="2452" y="485"/>
                  <a:pt x="2454" y="491"/>
                  <a:pt x="2454" y="493"/>
                </a:cubicBezTo>
                <a:cubicBezTo>
                  <a:pt x="2453" y="494"/>
                  <a:pt x="2453" y="496"/>
                  <a:pt x="2453" y="497"/>
                </a:cubicBezTo>
                <a:cubicBezTo>
                  <a:pt x="2453" y="502"/>
                  <a:pt x="2455" y="509"/>
                  <a:pt x="2458" y="515"/>
                </a:cubicBezTo>
                <a:cubicBezTo>
                  <a:pt x="2462" y="521"/>
                  <a:pt x="2467" y="527"/>
                  <a:pt x="2474" y="531"/>
                </a:cubicBezTo>
                <a:cubicBezTo>
                  <a:pt x="2480" y="533"/>
                  <a:pt x="2488" y="534"/>
                  <a:pt x="2494" y="535"/>
                </a:cubicBezTo>
                <a:cubicBezTo>
                  <a:pt x="2498" y="535"/>
                  <a:pt x="2501" y="534"/>
                  <a:pt x="2503" y="534"/>
                </a:cubicBezTo>
                <a:cubicBezTo>
                  <a:pt x="2503" y="534"/>
                  <a:pt x="2503" y="534"/>
                  <a:pt x="2503" y="534"/>
                </a:cubicBezTo>
                <a:cubicBezTo>
                  <a:pt x="2498" y="536"/>
                  <a:pt x="2492" y="539"/>
                  <a:pt x="2489" y="545"/>
                </a:cubicBezTo>
                <a:cubicBezTo>
                  <a:pt x="2487" y="551"/>
                  <a:pt x="2485" y="560"/>
                  <a:pt x="2484" y="568"/>
                </a:cubicBezTo>
                <a:cubicBezTo>
                  <a:pt x="2485" y="572"/>
                  <a:pt x="2485" y="577"/>
                  <a:pt x="2488" y="581"/>
                </a:cubicBezTo>
                <a:cubicBezTo>
                  <a:pt x="2489" y="583"/>
                  <a:pt x="2490" y="584"/>
                  <a:pt x="2492" y="586"/>
                </a:cubicBezTo>
                <a:cubicBezTo>
                  <a:pt x="2488" y="585"/>
                  <a:pt x="2483" y="585"/>
                  <a:pt x="2479" y="585"/>
                </a:cubicBezTo>
                <a:cubicBezTo>
                  <a:pt x="2471" y="585"/>
                  <a:pt x="2463" y="587"/>
                  <a:pt x="2457" y="592"/>
                </a:cubicBezTo>
                <a:cubicBezTo>
                  <a:pt x="2449" y="599"/>
                  <a:pt x="2437" y="613"/>
                  <a:pt x="2432" y="617"/>
                </a:cubicBezTo>
                <a:cubicBezTo>
                  <a:pt x="2429" y="618"/>
                  <a:pt x="2425" y="618"/>
                  <a:pt x="2419" y="620"/>
                </a:cubicBezTo>
                <a:cubicBezTo>
                  <a:pt x="2418" y="620"/>
                  <a:pt x="2416" y="621"/>
                  <a:pt x="2414" y="621"/>
                </a:cubicBezTo>
                <a:cubicBezTo>
                  <a:pt x="2414" y="621"/>
                  <a:pt x="2414" y="620"/>
                  <a:pt x="2414" y="620"/>
                </a:cubicBezTo>
                <a:cubicBezTo>
                  <a:pt x="2412" y="607"/>
                  <a:pt x="2400" y="592"/>
                  <a:pt x="2387" y="585"/>
                </a:cubicBezTo>
                <a:cubicBezTo>
                  <a:pt x="2384" y="583"/>
                  <a:pt x="2379" y="576"/>
                  <a:pt x="2374" y="569"/>
                </a:cubicBezTo>
                <a:cubicBezTo>
                  <a:pt x="2369" y="561"/>
                  <a:pt x="2364" y="554"/>
                  <a:pt x="2360" y="550"/>
                </a:cubicBezTo>
                <a:cubicBezTo>
                  <a:pt x="2360" y="550"/>
                  <a:pt x="2360" y="550"/>
                  <a:pt x="2360" y="550"/>
                </a:cubicBezTo>
                <a:cubicBezTo>
                  <a:pt x="2360" y="548"/>
                  <a:pt x="2363" y="541"/>
                  <a:pt x="2363" y="533"/>
                </a:cubicBezTo>
                <a:cubicBezTo>
                  <a:pt x="2363" y="529"/>
                  <a:pt x="2362" y="525"/>
                  <a:pt x="2359" y="521"/>
                </a:cubicBezTo>
                <a:cubicBezTo>
                  <a:pt x="2355" y="516"/>
                  <a:pt x="2350" y="513"/>
                  <a:pt x="2346" y="511"/>
                </a:cubicBezTo>
                <a:cubicBezTo>
                  <a:pt x="2342" y="509"/>
                  <a:pt x="2339" y="508"/>
                  <a:pt x="2335" y="505"/>
                </a:cubicBezTo>
                <a:cubicBezTo>
                  <a:pt x="2332" y="503"/>
                  <a:pt x="2328" y="501"/>
                  <a:pt x="2325" y="501"/>
                </a:cubicBezTo>
                <a:cubicBezTo>
                  <a:pt x="2314" y="502"/>
                  <a:pt x="2308" y="510"/>
                  <a:pt x="2304" y="516"/>
                </a:cubicBezTo>
                <a:cubicBezTo>
                  <a:pt x="2303" y="517"/>
                  <a:pt x="2303" y="517"/>
                  <a:pt x="2303" y="517"/>
                </a:cubicBezTo>
                <a:cubicBezTo>
                  <a:pt x="2303" y="517"/>
                  <a:pt x="2303" y="517"/>
                  <a:pt x="2303" y="517"/>
                </a:cubicBezTo>
                <a:cubicBezTo>
                  <a:pt x="2302" y="517"/>
                  <a:pt x="2298" y="515"/>
                  <a:pt x="2292" y="514"/>
                </a:cubicBezTo>
                <a:cubicBezTo>
                  <a:pt x="2290" y="514"/>
                  <a:pt x="2289" y="515"/>
                  <a:pt x="2287" y="515"/>
                </a:cubicBezTo>
                <a:cubicBezTo>
                  <a:pt x="2280" y="518"/>
                  <a:pt x="2277" y="525"/>
                  <a:pt x="2277" y="531"/>
                </a:cubicBezTo>
                <a:cubicBezTo>
                  <a:pt x="2277" y="538"/>
                  <a:pt x="2280" y="544"/>
                  <a:pt x="2283" y="549"/>
                </a:cubicBezTo>
                <a:cubicBezTo>
                  <a:pt x="2284" y="551"/>
                  <a:pt x="2286" y="554"/>
                  <a:pt x="2288" y="557"/>
                </a:cubicBezTo>
                <a:cubicBezTo>
                  <a:pt x="2285" y="556"/>
                  <a:pt x="2283" y="556"/>
                  <a:pt x="2281" y="556"/>
                </a:cubicBezTo>
                <a:cubicBezTo>
                  <a:pt x="2279" y="556"/>
                  <a:pt x="2277" y="556"/>
                  <a:pt x="2275" y="557"/>
                </a:cubicBezTo>
                <a:cubicBezTo>
                  <a:pt x="2267" y="558"/>
                  <a:pt x="2263" y="564"/>
                  <a:pt x="2261" y="567"/>
                </a:cubicBezTo>
                <a:cubicBezTo>
                  <a:pt x="2260" y="569"/>
                  <a:pt x="2259" y="571"/>
                  <a:pt x="2258" y="571"/>
                </a:cubicBezTo>
                <a:cubicBezTo>
                  <a:pt x="2258" y="571"/>
                  <a:pt x="2258" y="571"/>
                  <a:pt x="2258" y="572"/>
                </a:cubicBezTo>
                <a:cubicBezTo>
                  <a:pt x="2254" y="572"/>
                  <a:pt x="2250" y="572"/>
                  <a:pt x="2246" y="574"/>
                </a:cubicBezTo>
                <a:cubicBezTo>
                  <a:pt x="2242" y="576"/>
                  <a:pt x="2239" y="581"/>
                  <a:pt x="2239" y="587"/>
                </a:cubicBezTo>
                <a:cubicBezTo>
                  <a:pt x="2239" y="588"/>
                  <a:pt x="2239" y="590"/>
                  <a:pt x="2239" y="591"/>
                </a:cubicBezTo>
                <a:cubicBezTo>
                  <a:pt x="2241" y="598"/>
                  <a:pt x="2243" y="603"/>
                  <a:pt x="2243" y="605"/>
                </a:cubicBezTo>
                <a:cubicBezTo>
                  <a:pt x="2243" y="605"/>
                  <a:pt x="2243" y="605"/>
                  <a:pt x="2243" y="605"/>
                </a:cubicBezTo>
                <a:cubicBezTo>
                  <a:pt x="2243" y="605"/>
                  <a:pt x="2243" y="605"/>
                  <a:pt x="2242" y="605"/>
                </a:cubicBezTo>
                <a:cubicBezTo>
                  <a:pt x="2238" y="608"/>
                  <a:pt x="2237" y="612"/>
                  <a:pt x="2237" y="616"/>
                </a:cubicBezTo>
                <a:cubicBezTo>
                  <a:pt x="2237" y="621"/>
                  <a:pt x="2239" y="626"/>
                  <a:pt x="2242" y="630"/>
                </a:cubicBezTo>
                <a:cubicBezTo>
                  <a:pt x="2245" y="634"/>
                  <a:pt x="2249" y="638"/>
                  <a:pt x="2255" y="639"/>
                </a:cubicBezTo>
                <a:cubicBezTo>
                  <a:pt x="2255" y="639"/>
                  <a:pt x="2255" y="639"/>
                  <a:pt x="2255" y="639"/>
                </a:cubicBezTo>
                <a:cubicBezTo>
                  <a:pt x="2256" y="639"/>
                  <a:pt x="2257" y="639"/>
                  <a:pt x="2258" y="639"/>
                </a:cubicBezTo>
                <a:cubicBezTo>
                  <a:pt x="2270" y="639"/>
                  <a:pt x="2279" y="630"/>
                  <a:pt x="2286" y="627"/>
                </a:cubicBezTo>
                <a:cubicBezTo>
                  <a:pt x="2295" y="623"/>
                  <a:pt x="2309" y="614"/>
                  <a:pt x="2309" y="597"/>
                </a:cubicBezTo>
                <a:cubicBezTo>
                  <a:pt x="2309" y="590"/>
                  <a:pt x="2308" y="583"/>
                  <a:pt x="2307" y="577"/>
                </a:cubicBezTo>
                <a:cubicBezTo>
                  <a:pt x="2308" y="578"/>
                  <a:pt x="2309" y="578"/>
                  <a:pt x="2309" y="579"/>
                </a:cubicBezTo>
                <a:cubicBezTo>
                  <a:pt x="2312" y="573"/>
                  <a:pt x="2312" y="573"/>
                  <a:pt x="2312" y="573"/>
                </a:cubicBezTo>
                <a:cubicBezTo>
                  <a:pt x="2309" y="579"/>
                  <a:pt x="2309" y="579"/>
                  <a:pt x="2309" y="579"/>
                </a:cubicBezTo>
                <a:cubicBezTo>
                  <a:pt x="2315" y="581"/>
                  <a:pt x="2322" y="584"/>
                  <a:pt x="2328" y="586"/>
                </a:cubicBezTo>
                <a:cubicBezTo>
                  <a:pt x="2329" y="587"/>
                  <a:pt x="2330" y="587"/>
                  <a:pt x="2331" y="588"/>
                </a:cubicBezTo>
                <a:cubicBezTo>
                  <a:pt x="2327" y="591"/>
                  <a:pt x="2322" y="595"/>
                  <a:pt x="2318" y="599"/>
                </a:cubicBezTo>
                <a:cubicBezTo>
                  <a:pt x="2312" y="605"/>
                  <a:pt x="2307" y="611"/>
                  <a:pt x="2305" y="617"/>
                </a:cubicBezTo>
                <a:cubicBezTo>
                  <a:pt x="2305" y="618"/>
                  <a:pt x="2305" y="619"/>
                  <a:pt x="2305" y="620"/>
                </a:cubicBezTo>
                <a:cubicBezTo>
                  <a:pt x="2306" y="629"/>
                  <a:pt x="2312" y="633"/>
                  <a:pt x="2318" y="636"/>
                </a:cubicBezTo>
                <a:cubicBezTo>
                  <a:pt x="2319" y="637"/>
                  <a:pt x="2321" y="638"/>
                  <a:pt x="2322" y="638"/>
                </a:cubicBezTo>
                <a:cubicBezTo>
                  <a:pt x="2322" y="640"/>
                  <a:pt x="2321" y="642"/>
                  <a:pt x="2321" y="644"/>
                </a:cubicBezTo>
                <a:cubicBezTo>
                  <a:pt x="2321" y="647"/>
                  <a:pt x="2323" y="652"/>
                  <a:pt x="2327" y="653"/>
                </a:cubicBezTo>
                <a:cubicBezTo>
                  <a:pt x="2328" y="654"/>
                  <a:pt x="2330" y="654"/>
                  <a:pt x="2331" y="654"/>
                </a:cubicBezTo>
                <a:cubicBezTo>
                  <a:pt x="2338" y="654"/>
                  <a:pt x="2340" y="650"/>
                  <a:pt x="2342" y="648"/>
                </a:cubicBezTo>
                <a:cubicBezTo>
                  <a:pt x="2345" y="645"/>
                  <a:pt x="2346" y="644"/>
                  <a:pt x="2348" y="644"/>
                </a:cubicBezTo>
                <a:cubicBezTo>
                  <a:pt x="2355" y="644"/>
                  <a:pt x="2372" y="650"/>
                  <a:pt x="2383" y="651"/>
                </a:cubicBezTo>
                <a:cubicBezTo>
                  <a:pt x="2375" y="653"/>
                  <a:pt x="2366" y="655"/>
                  <a:pt x="2357" y="657"/>
                </a:cubicBezTo>
                <a:cubicBezTo>
                  <a:pt x="2349" y="659"/>
                  <a:pt x="2345" y="662"/>
                  <a:pt x="2341" y="664"/>
                </a:cubicBezTo>
                <a:cubicBezTo>
                  <a:pt x="2338" y="666"/>
                  <a:pt x="2336" y="667"/>
                  <a:pt x="2329" y="668"/>
                </a:cubicBezTo>
                <a:cubicBezTo>
                  <a:pt x="2324" y="668"/>
                  <a:pt x="2320" y="669"/>
                  <a:pt x="2317" y="671"/>
                </a:cubicBezTo>
                <a:cubicBezTo>
                  <a:pt x="2313" y="673"/>
                  <a:pt x="2310" y="675"/>
                  <a:pt x="2310" y="680"/>
                </a:cubicBezTo>
                <a:cubicBezTo>
                  <a:pt x="2310" y="685"/>
                  <a:pt x="2313" y="687"/>
                  <a:pt x="2315" y="689"/>
                </a:cubicBezTo>
                <a:cubicBezTo>
                  <a:pt x="2318" y="691"/>
                  <a:pt x="2321" y="692"/>
                  <a:pt x="2325" y="692"/>
                </a:cubicBezTo>
                <a:cubicBezTo>
                  <a:pt x="2331" y="694"/>
                  <a:pt x="2341" y="697"/>
                  <a:pt x="2348" y="701"/>
                </a:cubicBezTo>
                <a:cubicBezTo>
                  <a:pt x="2355" y="705"/>
                  <a:pt x="2359" y="711"/>
                  <a:pt x="2359" y="713"/>
                </a:cubicBezTo>
                <a:cubicBezTo>
                  <a:pt x="2359" y="715"/>
                  <a:pt x="2359" y="717"/>
                  <a:pt x="2359" y="719"/>
                </a:cubicBezTo>
                <a:cubicBezTo>
                  <a:pt x="2359" y="729"/>
                  <a:pt x="2356" y="739"/>
                  <a:pt x="2352" y="749"/>
                </a:cubicBezTo>
                <a:cubicBezTo>
                  <a:pt x="2352" y="749"/>
                  <a:pt x="2352" y="749"/>
                  <a:pt x="2352" y="749"/>
                </a:cubicBezTo>
                <a:cubicBezTo>
                  <a:pt x="2352" y="749"/>
                  <a:pt x="2349" y="750"/>
                  <a:pt x="2344" y="750"/>
                </a:cubicBezTo>
                <a:cubicBezTo>
                  <a:pt x="2336" y="750"/>
                  <a:pt x="2325" y="748"/>
                  <a:pt x="2316" y="748"/>
                </a:cubicBezTo>
                <a:cubicBezTo>
                  <a:pt x="2308" y="748"/>
                  <a:pt x="2293" y="746"/>
                  <a:pt x="2279" y="746"/>
                </a:cubicBezTo>
                <a:cubicBezTo>
                  <a:pt x="2273" y="746"/>
                  <a:pt x="2267" y="746"/>
                  <a:pt x="2261" y="749"/>
                </a:cubicBezTo>
                <a:cubicBezTo>
                  <a:pt x="2250" y="754"/>
                  <a:pt x="2249" y="767"/>
                  <a:pt x="2249" y="778"/>
                </a:cubicBezTo>
                <a:cubicBezTo>
                  <a:pt x="2249" y="786"/>
                  <a:pt x="2250" y="795"/>
                  <a:pt x="2252" y="801"/>
                </a:cubicBezTo>
                <a:cubicBezTo>
                  <a:pt x="2253" y="804"/>
                  <a:pt x="2253" y="806"/>
                  <a:pt x="2253" y="808"/>
                </a:cubicBezTo>
                <a:cubicBezTo>
                  <a:pt x="2253" y="813"/>
                  <a:pt x="2251" y="816"/>
                  <a:pt x="2248" y="818"/>
                </a:cubicBezTo>
                <a:cubicBezTo>
                  <a:pt x="2244" y="823"/>
                  <a:pt x="2242" y="828"/>
                  <a:pt x="2242" y="834"/>
                </a:cubicBezTo>
                <a:cubicBezTo>
                  <a:pt x="2242" y="839"/>
                  <a:pt x="2244" y="845"/>
                  <a:pt x="2248" y="849"/>
                </a:cubicBezTo>
                <a:cubicBezTo>
                  <a:pt x="2250" y="851"/>
                  <a:pt x="2253" y="855"/>
                  <a:pt x="2255" y="859"/>
                </a:cubicBezTo>
                <a:cubicBezTo>
                  <a:pt x="2258" y="863"/>
                  <a:pt x="2259" y="868"/>
                  <a:pt x="2265" y="870"/>
                </a:cubicBezTo>
                <a:cubicBezTo>
                  <a:pt x="2267" y="871"/>
                  <a:pt x="2268" y="871"/>
                  <a:pt x="2269" y="871"/>
                </a:cubicBezTo>
                <a:cubicBezTo>
                  <a:pt x="2274" y="871"/>
                  <a:pt x="2278" y="869"/>
                  <a:pt x="2282" y="870"/>
                </a:cubicBezTo>
                <a:cubicBezTo>
                  <a:pt x="2286" y="870"/>
                  <a:pt x="2288" y="870"/>
                  <a:pt x="2288" y="871"/>
                </a:cubicBezTo>
                <a:cubicBezTo>
                  <a:pt x="2290" y="873"/>
                  <a:pt x="2292" y="878"/>
                  <a:pt x="2295" y="882"/>
                </a:cubicBezTo>
                <a:cubicBezTo>
                  <a:pt x="2296" y="884"/>
                  <a:pt x="2297" y="887"/>
                  <a:pt x="2299" y="888"/>
                </a:cubicBezTo>
                <a:cubicBezTo>
                  <a:pt x="2299" y="889"/>
                  <a:pt x="2299" y="889"/>
                  <a:pt x="2299" y="889"/>
                </a:cubicBezTo>
                <a:cubicBezTo>
                  <a:pt x="2299" y="889"/>
                  <a:pt x="2299" y="889"/>
                  <a:pt x="2298" y="890"/>
                </a:cubicBezTo>
                <a:cubicBezTo>
                  <a:pt x="2291" y="894"/>
                  <a:pt x="2284" y="901"/>
                  <a:pt x="2279" y="905"/>
                </a:cubicBezTo>
                <a:cubicBezTo>
                  <a:pt x="2276" y="908"/>
                  <a:pt x="2274" y="910"/>
                  <a:pt x="2272" y="911"/>
                </a:cubicBezTo>
                <a:cubicBezTo>
                  <a:pt x="2272" y="911"/>
                  <a:pt x="2271" y="912"/>
                  <a:pt x="2271" y="912"/>
                </a:cubicBezTo>
                <a:cubicBezTo>
                  <a:pt x="2268" y="912"/>
                  <a:pt x="2266" y="914"/>
                  <a:pt x="2264" y="915"/>
                </a:cubicBezTo>
                <a:cubicBezTo>
                  <a:pt x="2258" y="920"/>
                  <a:pt x="2251" y="930"/>
                  <a:pt x="2245" y="946"/>
                </a:cubicBezTo>
                <a:cubicBezTo>
                  <a:pt x="2242" y="958"/>
                  <a:pt x="2242" y="968"/>
                  <a:pt x="2241" y="976"/>
                </a:cubicBezTo>
                <a:cubicBezTo>
                  <a:pt x="2241" y="984"/>
                  <a:pt x="2240" y="987"/>
                  <a:pt x="2237" y="989"/>
                </a:cubicBezTo>
                <a:cubicBezTo>
                  <a:pt x="2224" y="996"/>
                  <a:pt x="2201" y="1011"/>
                  <a:pt x="2190" y="1023"/>
                </a:cubicBezTo>
                <a:cubicBezTo>
                  <a:pt x="2184" y="1030"/>
                  <a:pt x="2179" y="1042"/>
                  <a:pt x="2174" y="1056"/>
                </a:cubicBezTo>
                <a:cubicBezTo>
                  <a:pt x="2168" y="1069"/>
                  <a:pt x="2163" y="1083"/>
                  <a:pt x="2157" y="1091"/>
                </a:cubicBezTo>
                <a:cubicBezTo>
                  <a:pt x="2153" y="1098"/>
                  <a:pt x="2151" y="1105"/>
                  <a:pt x="2151" y="1111"/>
                </a:cubicBezTo>
                <a:cubicBezTo>
                  <a:pt x="2152" y="1125"/>
                  <a:pt x="2158" y="1135"/>
                  <a:pt x="2159" y="1141"/>
                </a:cubicBezTo>
                <a:cubicBezTo>
                  <a:pt x="2160" y="1148"/>
                  <a:pt x="2163" y="1157"/>
                  <a:pt x="2163" y="1167"/>
                </a:cubicBezTo>
                <a:cubicBezTo>
                  <a:pt x="2163" y="1174"/>
                  <a:pt x="2162" y="1181"/>
                  <a:pt x="2157" y="1188"/>
                </a:cubicBezTo>
                <a:cubicBezTo>
                  <a:pt x="2151" y="1198"/>
                  <a:pt x="2148" y="1206"/>
                  <a:pt x="2146" y="1211"/>
                </a:cubicBezTo>
                <a:cubicBezTo>
                  <a:pt x="2145" y="1213"/>
                  <a:pt x="2144" y="1215"/>
                  <a:pt x="2144" y="1215"/>
                </a:cubicBezTo>
                <a:cubicBezTo>
                  <a:pt x="2143" y="1216"/>
                  <a:pt x="2143" y="1216"/>
                  <a:pt x="2143" y="1216"/>
                </a:cubicBezTo>
                <a:cubicBezTo>
                  <a:pt x="2142" y="1216"/>
                  <a:pt x="2141" y="1216"/>
                  <a:pt x="2140" y="1217"/>
                </a:cubicBezTo>
                <a:cubicBezTo>
                  <a:pt x="2139" y="1218"/>
                  <a:pt x="2138" y="1221"/>
                  <a:pt x="2138" y="1223"/>
                </a:cubicBezTo>
                <a:cubicBezTo>
                  <a:pt x="2138" y="1226"/>
                  <a:pt x="2139" y="1227"/>
                  <a:pt x="2140" y="1229"/>
                </a:cubicBezTo>
                <a:cubicBezTo>
                  <a:pt x="2143" y="1232"/>
                  <a:pt x="2146" y="1236"/>
                  <a:pt x="2147" y="1243"/>
                </a:cubicBezTo>
                <a:cubicBezTo>
                  <a:pt x="2148" y="1244"/>
                  <a:pt x="2148" y="1245"/>
                  <a:pt x="2148" y="1246"/>
                </a:cubicBezTo>
                <a:cubicBezTo>
                  <a:pt x="2148" y="1250"/>
                  <a:pt x="2146" y="1256"/>
                  <a:pt x="2146" y="1263"/>
                </a:cubicBezTo>
                <a:cubicBezTo>
                  <a:pt x="2145" y="1271"/>
                  <a:pt x="2150" y="1281"/>
                  <a:pt x="2162" y="1287"/>
                </a:cubicBezTo>
                <a:cubicBezTo>
                  <a:pt x="2183" y="1299"/>
                  <a:pt x="2192" y="1309"/>
                  <a:pt x="2197" y="1324"/>
                </a:cubicBezTo>
                <a:cubicBezTo>
                  <a:pt x="2204" y="1343"/>
                  <a:pt x="2233" y="1370"/>
                  <a:pt x="2233" y="1370"/>
                </a:cubicBezTo>
                <a:cubicBezTo>
                  <a:pt x="2233" y="1371"/>
                  <a:pt x="2254" y="1392"/>
                  <a:pt x="2264" y="1402"/>
                </a:cubicBezTo>
                <a:cubicBezTo>
                  <a:pt x="2269" y="1406"/>
                  <a:pt x="2272" y="1409"/>
                  <a:pt x="2277" y="1409"/>
                </a:cubicBezTo>
                <a:cubicBezTo>
                  <a:pt x="2282" y="1409"/>
                  <a:pt x="2285" y="1406"/>
                  <a:pt x="2287" y="1403"/>
                </a:cubicBezTo>
                <a:cubicBezTo>
                  <a:pt x="2289" y="1400"/>
                  <a:pt x="2290" y="1397"/>
                  <a:pt x="2290" y="1394"/>
                </a:cubicBezTo>
                <a:cubicBezTo>
                  <a:pt x="2291" y="1392"/>
                  <a:pt x="2292" y="1390"/>
                  <a:pt x="2297" y="1389"/>
                </a:cubicBezTo>
                <a:cubicBezTo>
                  <a:pt x="2302" y="1388"/>
                  <a:pt x="2309" y="1387"/>
                  <a:pt x="2317" y="1387"/>
                </a:cubicBezTo>
                <a:cubicBezTo>
                  <a:pt x="2328" y="1387"/>
                  <a:pt x="2337" y="1390"/>
                  <a:pt x="2349" y="1390"/>
                </a:cubicBezTo>
                <a:cubicBezTo>
                  <a:pt x="2353" y="1390"/>
                  <a:pt x="2357" y="1389"/>
                  <a:pt x="2361" y="1389"/>
                </a:cubicBezTo>
                <a:cubicBezTo>
                  <a:pt x="2380" y="1385"/>
                  <a:pt x="2396" y="1372"/>
                  <a:pt x="2401" y="1370"/>
                </a:cubicBezTo>
                <a:cubicBezTo>
                  <a:pt x="2406" y="1367"/>
                  <a:pt x="2417" y="1360"/>
                  <a:pt x="2426" y="1360"/>
                </a:cubicBezTo>
                <a:cubicBezTo>
                  <a:pt x="2430" y="1360"/>
                  <a:pt x="2432" y="1361"/>
                  <a:pt x="2435" y="1363"/>
                </a:cubicBezTo>
                <a:cubicBezTo>
                  <a:pt x="2441" y="1367"/>
                  <a:pt x="2444" y="1372"/>
                  <a:pt x="2446" y="1378"/>
                </a:cubicBezTo>
                <a:cubicBezTo>
                  <a:pt x="2448" y="1384"/>
                  <a:pt x="2450" y="1391"/>
                  <a:pt x="2455" y="1398"/>
                </a:cubicBezTo>
                <a:cubicBezTo>
                  <a:pt x="2459" y="1402"/>
                  <a:pt x="2465" y="1405"/>
                  <a:pt x="2470" y="1405"/>
                </a:cubicBezTo>
                <a:cubicBezTo>
                  <a:pt x="2480" y="1405"/>
                  <a:pt x="2488" y="1399"/>
                  <a:pt x="2496" y="1393"/>
                </a:cubicBezTo>
                <a:cubicBezTo>
                  <a:pt x="2497" y="1391"/>
                  <a:pt x="2498" y="1390"/>
                  <a:pt x="2499" y="1390"/>
                </a:cubicBezTo>
                <a:cubicBezTo>
                  <a:pt x="2500" y="1391"/>
                  <a:pt x="2503" y="1394"/>
                  <a:pt x="2507" y="1396"/>
                </a:cubicBezTo>
                <a:cubicBezTo>
                  <a:pt x="2514" y="1401"/>
                  <a:pt x="2517" y="1405"/>
                  <a:pt x="2517" y="1407"/>
                </a:cubicBezTo>
                <a:cubicBezTo>
                  <a:pt x="2517" y="1409"/>
                  <a:pt x="2516" y="1412"/>
                  <a:pt x="2513" y="1416"/>
                </a:cubicBezTo>
                <a:cubicBezTo>
                  <a:pt x="2505" y="1424"/>
                  <a:pt x="2504" y="1433"/>
                  <a:pt x="2503" y="1442"/>
                </a:cubicBezTo>
                <a:cubicBezTo>
                  <a:pt x="2503" y="1451"/>
                  <a:pt x="2503" y="1460"/>
                  <a:pt x="2500" y="1469"/>
                </a:cubicBezTo>
                <a:cubicBezTo>
                  <a:pt x="2497" y="1477"/>
                  <a:pt x="2495" y="1482"/>
                  <a:pt x="2495" y="1487"/>
                </a:cubicBezTo>
                <a:cubicBezTo>
                  <a:pt x="2495" y="1491"/>
                  <a:pt x="2497" y="1496"/>
                  <a:pt x="2499" y="1499"/>
                </a:cubicBezTo>
                <a:cubicBezTo>
                  <a:pt x="2502" y="1501"/>
                  <a:pt x="2505" y="1504"/>
                  <a:pt x="2509" y="1506"/>
                </a:cubicBezTo>
                <a:cubicBezTo>
                  <a:pt x="2513" y="1508"/>
                  <a:pt x="2523" y="1523"/>
                  <a:pt x="2530" y="1538"/>
                </a:cubicBezTo>
                <a:cubicBezTo>
                  <a:pt x="2539" y="1553"/>
                  <a:pt x="2546" y="1568"/>
                  <a:pt x="2550" y="1574"/>
                </a:cubicBezTo>
                <a:cubicBezTo>
                  <a:pt x="2551" y="1575"/>
                  <a:pt x="2552" y="1579"/>
                  <a:pt x="2552" y="1584"/>
                </a:cubicBezTo>
                <a:cubicBezTo>
                  <a:pt x="2552" y="1590"/>
                  <a:pt x="2551" y="1596"/>
                  <a:pt x="2551" y="1603"/>
                </a:cubicBezTo>
                <a:cubicBezTo>
                  <a:pt x="2551" y="1611"/>
                  <a:pt x="2552" y="1619"/>
                  <a:pt x="2555" y="1627"/>
                </a:cubicBezTo>
                <a:cubicBezTo>
                  <a:pt x="2561" y="1638"/>
                  <a:pt x="2566" y="1647"/>
                  <a:pt x="2566" y="1651"/>
                </a:cubicBezTo>
                <a:cubicBezTo>
                  <a:pt x="2565" y="1653"/>
                  <a:pt x="2565" y="1653"/>
                  <a:pt x="2564" y="1655"/>
                </a:cubicBezTo>
                <a:cubicBezTo>
                  <a:pt x="2554" y="1664"/>
                  <a:pt x="2536" y="1680"/>
                  <a:pt x="2535" y="1710"/>
                </a:cubicBezTo>
                <a:cubicBezTo>
                  <a:pt x="2535" y="1713"/>
                  <a:pt x="2535" y="1716"/>
                  <a:pt x="2535" y="1718"/>
                </a:cubicBezTo>
                <a:cubicBezTo>
                  <a:pt x="2535" y="1743"/>
                  <a:pt x="2540" y="1760"/>
                  <a:pt x="2545" y="1770"/>
                </a:cubicBezTo>
                <a:cubicBezTo>
                  <a:pt x="2549" y="1779"/>
                  <a:pt x="2561" y="1805"/>
                  <a:pt x="2567" y="1816"/>
                </a:cubicBezTo>
                <a:cubicBezTo>
                  <a:pt x="2572" y="1824"/>
                  <a:pt x="2579" y="1848"/>
                  <a:pt x="2580" y="1861"/>
                </a:cubicBezTo>
                <a:cubicBezTo>
                  <a:pt x="2580" y="1864"/>
                  <a:pt x="2580" y="1866"/>
                  <a:pt x="2580" y="1869"/>
                </a:cubicBezTo>
                <a:cubicBezTo>
                  <a:pt x="2580" y="1874"/>
                  <a:pt x="2580" y="1879"/>
                  <a:pt x="2580" y="1884"/>
                </a:cubicBezTo>
                <a:cubicBezTo>
                  <a:pt x="2580" y="1892"/>
                  <a:pt x="2580" y="1899"/>
                  <a:pt x="2584" y="1906"/>
                </a:cubicBezTo>
                <a:cubicBezTo>
                  <a:pt x="2589" y="1913"/>
                  <a:pt x="2593" y="1926"/>
                  <a:pt x="2605" y="1938"/>
                </a:cubicBezTo>
                <a:cubicBezTo>
                  <a:pt x="2609" y="1942"/>
                  <a:pt x="2612" y="1950"/>
                  <a:pt x="2614" y="1957"/>
                </a:cubicBezTo>
                <a:cubicBezTo>
                  <a:pt x="2616" y="1964"/>
                  <a:pt x="2617" y="1969"/>
                  <a:pt x="2617" y="1969"/>
                </a:cubicBezTo>
                <a:cubicBezTo>
                  <a:pt x="2617" y="1971"/>
                  <a:pt x="2617" y="1971"/>
                  <a:pt x="2617" y="1971"/>
                </a:cubicBezTo>
                <a:cubicBezTo>
                  <a:pt x="2617" y="1971"/>
                  <a:pt x="2618" y="1973"/>
                  <a:pt x="2619" y="1977"/>
                </a:cubicBezTo>
                <a:cubicBezTo>
                  <a:pt x="2620" y="1981"/>
                  <a:pt x="2621" y="1987"/>
                  <a:pt x="2621" y="1994"/>
                </a:cubicBezTo>
                <a:cubicBezTo>
                  <a:pt x="2622" y="2001"/>
                  <a:pt x="2622" y="2008"/>
                  <a:pt x="2625" y="2014"/>
                </a:cubicBezTo>
                <a:cubicBezTo>
                  <a:pt x="2627" y="2021"/>
                  <a:pt x="2631" y="2026"/>
                  <a:pt x="2638" y="2030"/>
                </a:cubicBezTo>
                <a:cubicBezTo>
                  <a:pt x="2645" y="2034"/>
                  <a:pt x="2651" y="2036"/>
                  <a:pt x="2657" y="2036"/>
                </a:cubicBezTo>
                <a:cubicBezTo>
                  <a:pt x="2658" y="2036"/>
                  <a:pt x="2658" y="2036"/>
                  <a:pt x="2658" y="2036"/>
                </a:cubicBezTo>
                <a:cubicBezTo>
                  <a:pt x="2663" y="2036"/>
                  <a:pt x="2668" y="2034"/>
                  <a:pt x="2671" y="2030"/>
                </a:cubicBezTo>
                <a:cubicBezTo>
                  <a:pt x="2671" y="2030"/>
                  <a:pt x="2672" y="2029"/>
                  <a:pt x="2674" y="2028"/>
                </a:cubicBezTo>
                <a:cubicBezTo>
                  <a:pt x="2681" y="2026"/>
                  <a:pt x="2693" y="2025"/>
                  <a:pt x="2704" y="2025"/>
                </a:cubicBezTo>
                <a:cubicBezTo>
                  <a:pt x="2708" y="2025"/>
                  <a:pt x="2712" y="2025"/>
                  <a:pt x="2715" y="2026"/>
                </a:cubicBezTo>
                <a:cubicBezTo>
                  <a:pt x="2717" y="2026"/>
                  <a:pt x="2718" y="2026"/>
                  <a:pt x="2719" y="2026"/>
                </a:cubicBezTo>
                <a:cubicBezTo>
                  <a:pt x="2736" y="2026"/>
                  <a:pt x="2752" y="2015"/>
                  <a:pt x="2767" y="2003"/>
                </a:cubicBezTo>
                <a:cubicBezTo>
                  <a:pt x="2783" y="1990"/>
                  <a:pt x="2805" y="1957"/>
                  <a:pt x="2813" y="1948"/>
                </a:cubicBezTo>
                <a:cubicBezTo>
                  <a:pt x="2816" y="1943"/>
                  <a:pt x="2822" y="1937"/>
                  <a:pt x="2828" y="1930"/>
                </a:cubicBezTo>
                <a:cubicBezTo>
                  <a:pt x="2833" y="1923"/>
                  <a:pt x="2838" y="1916"/>
                  <a:pt x="2838" y="1907"/>
                </a:cubicBezTo>
                <a:cubicBezTo>
                  <a:pt x="2838" y="1906"/>
                  <a:pt x="2838" y="1905"/>
                  <a:pt x="2838" y="1904"/>
                </a:cubicBezTo>
                <a:cubicBezTo>
                  <a:pt x="2837" y="1897"/>
                  <a:pt x="2835" y="1892"/>
                  <a:pt x="2835" y="1888"/>
                </a:cubicBezTo>
                <a:cubicBezTo>
                  <a:pt x="2835" y="1885"/>
                  <a:pt x="2835" y="1884"/>
                  <a:pt x="2838" y="1883"/>
                </a:cubicBezTo>
                <a:cubicBezTo>
                  <a:pt x="2842" y="1880"/>
                  <a:pt x="2850" y="1876"/>
                  <a:pt x="2857" y="1871"/>
                </a:cubicBezTo>
                <a:cubicBezTo>
                  <a:pt x="2864" y="1866"/>
                  <a:pt x="2871" y="1862"/>
                  <a:pt x="2873" y="1853"/>
                </a:cubicBezTo>
                <a:cubicBezTo>
                  <a:pt x="2873" y="1853"/>
                  <a:pt x="2873" y="1852"/>
                  <a:pt x="2873" y="1851"/>
                </a:cubicBezTo>
                <a:cubicBezTo>
                  <a:pt x="2873" y="1838"/>
                  <a:pt x="2864" y="1808"/>
                  <a:pt x="2862" y="1801"/>
                </a:cubicBezTo>
                <a:cubicBezTo>
                  <a:pt x="2862" y="1801"/>
                  <a:pt x="2862" y="1801"/>
                  <a:pt x="2862" y="1800"/>
                </a:cubicBezTo>
                <a:cubicBezTo>
                  <a:pt x="2862" y="1797"/>
                  <a:pt x="2868" y="1785"/>
                  <a:pt x="2876" y="1773"/>
                </a:cubicBezTo>
                <a:cubicBezTo>
                  <a:pt x="2880" y="1768"/>
                  <a:pt x="2889" y="1762"/>
                  <a:pt x="2897" y="1758"/>
                </a:cubicBezTo>
                <a:cubicBezTo>
                  <a:pt x="2902" y="1755"/>
                  <a:pt x="2906" y="1753"/>
                  <a:pt x="2910" y="1751"/>
                </a:cubicBezTo>
                <a:cubicBezTo>
                  <a:pt x="2913" y="1749"/>
                  <a:pt x="2916" y="1748"/>
                  <a:pt x="2919" y="1745"/>
                </a:cubicBezTo>
                <a:cubicBezTo>
                  <a:pt x="2924" y="1738"/>
                  <a:pt x="2937" y="1715"/>
                  <a:pt x="2939" y="1695"/>
                </a:cubicBezTo>
                <a:cubicBezTo>
                  <a:pt x="2940" y="1692"/>
                  <a:pt x="2940" y="1689"/>
                  <a:pt x="2940" y="1686"/>
                </a:cubicBezTo>
                <a:cubicBezTo>
                  <a:pt x="2940" y="1674"/>
                  <a:pt x="2938" y="1662"/>
                  <a:pt x="2938" y="1654"/>
                </a:cubicBezTo>
                <a:cubicBezTo>
                  <a:pt x="2938" y="1651"/>
                  <a:pt x="2938" y="1648"/>
                  <a:pt x="2939" y="1647"/>
                </a:cubicBezTo>
                <a:cubicBezTo>
                  <a:pt x="2941" y="1644"/>
                  <a:pt x="2942" y="1640"/>
                  <a:pt x="2942" y="1636"/>
                </a:cubicBezTo>
                <a:cubicBezTo>
                  <a:pt x="2941" y="1627"/>
                  <a:pt x="2936" y="1620"/>
                  <a:pt x="2929" y="1611"/>
                </a:cubicBezTo>
                <a:cubicBezTo>
                  <a:pt x="2925" y="1608"/>
                  <a:pt x="2923" y="1598"/>
                  <a:pt x="2922" y="1588"/>
                </a:cubicBezTo>
                <a:cubicBezTo>
                  <a:pt x="2921" y="1583"/>
                  <a:pt x="2921" y="1578"/>
                  <a:pt x="2921" y="1574"/>
                </a:cubicBezTo>
                <a:cubicBezTo>
                  <a:pt x="2920" y="1570"/>
                  <a:pt x="2920" y="1567"/>
                  <a:pt x="2918" y="1563"/>
                </a:cubicBezTo>
                <a:cubicBezTo>
                  <a:pt x="2918" y="1563"/>
                  <a:pt x="2918" y="1563"/>
                  <a:pt x="2918" y="1563"/>
                </a:cubicBezTo>
                <a:cubicBezTo>
                  <a:pt x="2918" y="1563"/>
                  <a:pt x="2918" y="1563"/>
                  <a:pt x="2918" y="1563"/>
                </a:cubicBezTo>
                <a:cubicBezTo>
                  <a:pt x="2918" y="1563"/>
                  <a:pt x="2918" y="1563"/>
                  <a:pt x="2918" y="1563"/>
                </a:cubicBezTo>
                <a:cubicBezTo>
                  <a:pt x="2918" y="1563"/>
                  <a:pt x="2917" y="1559"/>
                  <a:pt x="2917" y="1556"/>
                </a:cubicBezTo>
                <a:cubicBezTo>
                  <a:pt x="2917" y="1551"/>
                  <a:pt x="2918" y="1545"/>
                  <a:pt x="2919" y="1540"/>
                </a:cubicBezTo>
                <a:cubicBezTo>
                  <a:pt x="2919" y="1538"/>
                  <a:pt x="2920" y="1536"/>
                  <a:pt x="2921" y="1535"/>
                </a:cubicBezTo>
                <a:cubicBezTo>
                  <a:pt x="2921" y="1535"/>
                  <a:pt x="2921" y="1534"/>
                  <a:pt x="2921" y="1534"/>
                </a:cubicBezTo>
                <a:cubicBezTo>
                  <a:pt x="2925" y="1532"/>
                  <a:pt x="2927" y="1530"/>
                  <a:pt x="2930" y="1526"/>
                </a:cubicBezTo>
                <a:cubicBezTo>
                  <a:pt x="2938" y="1516"/>
                  <a:pt x="2948" y="1498"/>
                  <a:pt x="2954" y="1490"/>
                </a:cubicBezTo>
                <a:cubicBezTo>
                  <a:pt x="2959" y="1483"/>
                  <a:pt x="2968" y="1471"/>
                  <a:pt x="2977" y="1459"/>
                </a:cubicBezTo>
                <a:cubicBezTo>
                  <a:pt x="2986" y="1448"/>
                  <a:pt x="2997" y="1438"/>
                  <a:pt x="2999" y="1438"/>
                </a:cubicBezTo>
                <a:cubicBezTo>
                  <a:pt x="3008" y="1436"/>
                  <a:pt x="3016" y="1429"/>
                  <a:pt x="3023" y="1421"/>
                </a:cubicBezTo>
                <a:cubicBezTo>
                  <a:pt x="3031" y="1413"/>
                  <a:pt x="3036" y="1404"/>
                  <a:pt x="3037" y="1396"/>
                </a:cubicBezTo>
                <a:cubicBezTo>
                  <a:pt x="3037" y="1393"/>
                  <a:pt x="3046" y="1377"/>
                  <a:pt x="3054" y="1363"/>
                </a:cubicBezTo>
                <a:cubicBezTo>
                  <a:pt x="3059" y="1355"/>
                  <a:pt x="3063" y="1348"/>
                  <a:pt x="3066" y="1342"/>
                </a:cubicBezTo>
                <a:cubicBezTo>
                  <a:pt x="3070" y="1336"/>
                  <a:pt x="3072" y="1332"/>
                  <a:pt x="3073" y="1327"/>
                </a:cubicBezTo>
                <a:cubicBezTo>
                  <a:pt x="3073" y="1324"/>
                  <a:pt x="3076" y="1315"/>
                  <a:pt x="3078" y="1306"/>
                </a:cubicBezTo>
                <a:cubicBezTo>
                  <a:pt x="3081" y="1297"/>
                  <a:pt x="3084" y="1287"/>
                  <a:pt x="3084" y="1279"/>
                </a:cubicBezTo>
                <a:cubicBezTo>
                  <a:pt x="3084" y="1275"/>
                  <a:pt x="3083" y="1272"/>
                  <a:pt x="3081" y="1269"/>
                </a:cubicBezTo>
                <a:cubicBezTo>
                  <a:pt x="3078" y="1265"/>
                  <a:pt x="3074" y="1264"/>
                  <a:pt x="3071" y="1264"/>
                </a:cubicBezTo>
                <a:cubicBezTo>
                  <a:pt x="3054" y="1265"/>
                  <a:pt x="3023" y="1280"/>
                  <a:pt x="3017" y="1282"/>
                </a:cubicBezTo>
                <a:cubicBezTo>
                  <a:pt x="3011" y="1285"/>
                  <a:pt x="2998" y="1294"/>
                  <a:pt x="2983" y="1294"/>
                </a:cubicBezTo>
                <a:cubicBezTo>
                  <a:pt x="2982" y="1294"/>
                  <a:pt x="2981" y="1294"/>
                  <a:pt x="2980" y="1294"/>
                </a:cubicBezTo>
                <a:cubicBezTo>
                  <a:pt x="2976" y="1293"/>
                  <a:pt x="2975" y="1293"/>
                  <a:pt x="2974" y="1292"/>
                </a:cubicBezTo>
                <a:cubicBezTo>
                  <a:pt x="2974" y="1291"/>
                  <a:pt x="2973" y="1289"/>
                  <a:pt x="2973" y="1287"/>
                </a:cubicBezTo>
                <a:cubicBezTo>
                  <a:pt x="2973" y="1283"/>
                  <a:pt x="2974" y="1279"/>
                  <a:pt x="2974" y="1274"/>
                </a:cubicBezTo>
                <a:cubicBezTo>
                  <a:pt x="2974" y="1273"/>
                  <a:pt x="2974" y="1273"/>
                  <a:pt x="2974" y="1272"/>
                </a:cubicBezTo>
                <a:cubicBezTo>
                  <a:pt x="2974" y="1269"/>
                  <a:pt x="2972" y="1265"/>
                  <a:pt x="2970" y="1261"/>
                </a:cubicBezTo>
                <a:cubicBezTo>
                  <a:pt x="2971" y="1262"/>
                  <a:pt x="2972" y="1262"/>
                  <a:pt x="2972" y="1263"/>
                </a:cubicBezTo>
                <a:cubicBezTo>
                  <a:pt x="2975" y="1264"/>
                  <a:pt x="2978" y="1264"/>
                  <a:pt x="2981" y="1264"/>
                </a:cubicBezTo>
                <a:cubicBezTo>
                  <a:pt x="2988" y="1264"/>
                  <a:pt x="2997" y="1262"/>
                  <a:pt x="3005" y="1259"/>
                </a:cubicBezTo>
                <a:cubicBezTo>
                  <a:pt x="3014" y="1256"/>
                  <a:pt x="3021" y="1254"/>
                  <a:pt x="3024" y="1251"/>
                </a:cubicBezTo>
                <a:cubicBezTo>
                  <a:pt x="3029" y="1248"/>
                  <a:pt x="3069" y="1225"/>
                  <a:pt x="3079" y="1225"/>
                </a:cubicBezTo>
                <a:cubicBezTo>
                  <a:pt x="3088" y="1224"/>
                  <a:pt x="3093" y="1220"/>
                  <a:pt x="3098" y="1216"/>
                </a:cubicBezTo>
                <a:cubicBezTo>
                  <a:pt x="3102" y="1213"/>
                  <a:pt x="3106" y="1210"/>
                  <a:pt x="3113" y="1208"/>
                </a:cubicBezTo>
                <a:cubicBezTo>
                  <a:pt x="3133" y="1203"/>
                  <a:pt x="3146" y="1187"/>
                  <a:pt x="3157" y="1176"/>
                </a:cubicBezTo>
                <a:cubicBezTo>
                  <a:pt x="3170" y="1163"/>
                  <a:pt x="3184" y="1136"/>
                  <a:pt x="3189" y="1126"/>
                </a:cubicBezTo>
                <a:cubicBezTo>
                  <a:pt x="3191" y="1120"/>
                  <a:pt x="3200" y="1114"/>
                  <a:pt x="3201" y="1102"/>
                </a:cubicBezTo>
                <a:cubicBezTo>
                  <a:pt x="3201" y="1099"/>
                  <a:pt x="3200" y="1096"/>
                  <a:pt x="3199" y="1093"/>
                </a:cubicBezTo>
                <a:cubicBezTo>
                  <a:pt x="3195" y="1086"/>
                  <a:pt x="3187" y="1079"/>
                  <a:pt x="3179" y="1073"/>
                </a:cubicBezTo>
                <a:cubicBezTo>
                  <a:pt x="3170" y="1067"/>
                  <a:pt x="3162" y="1062"/>
                  <a:pt x="3155" y="1061"/>
                </a:cubicBezTo>
                <a:cubicBezTo>
                  <a:pt x="3155" y="1061"/>
                  <a:pt x="3155" y="1061"/>
                  <a:pt x="3154" y="1060"/>
                </a:cubicBezTo>
                <a:cubicBezTo>
                  <a:pt x="3153" y="1058"/>
                  <a:pt x="3152" y="1055"/>
                  <a:pt x="3151" y="1051"/>
                </a:cubicBezTo>
                <a:cubicBezTo>
                  <a:pt x="3150" y="1050"/>
                  <a:pt x="3150" y="1048"/>
                  <a:pt x="3148" y="1046"/>
                </a:cubicBezTo>
                <a:cubicBezTo>
                  <a:pt x="3147" y="1044"/>
                  <a:pt x="3144" y="1042"/>
                  <a:pt x="3141" y="1042"/>
                </a:cubicBezTo>
                <a:cubicBezTo>
                  <a:pt x="3137" y="1041"/>
                  <a:pt x="3134" y="1043"/>
                  <a:pt x="3133" y="1045"/>
                </a:cubicBezTo>
                <a:cubicBezTo>
                  <a:pt x="3128" y="1051"/>
                  <a:pt x="3128" y="1055"/>
                  <a:pt x="3121" y="1059"/>
                </a:cubicBezTo>
                <a:cubicBezTo>
                  <a:pt x="3116" y="1063"/>
                  <a:pt x="3110" y="1067"/>
                  <a:pt x="3105" y="1071"/>
                </a:cubicBezTo>
                <a:cubicBezTo>
                  <a:pt x="3101" y="1074"/>
                  <a:pt x="3097" y="1076"/>
                  <a:pt x="3096" y="1076"/>
                </a:cubicBezTo>
                <a:cubicBezTo>
                  <a:pt x="3096" y="1076"/>
                  <a:pt x="3096" y="1075"/>
                  <a:pt x="3096" y="1075"/>
                </a:cubicBezTo>
                <a:cubicBezTo>
                  <a:pt x="3096" y="1070"/>
                  <a:pt x="3095" y="1063"/>
                  <a:pt x="3087" y="1056"/>
                </a:cubicBezTo>
                <a:cubicBezTo>
                  <a:pt x="3081" y="1049"/>
                  <a:pt x="3077" y="1046"/>
                  <a:pt x="3074" y="1043"/>
                </a:cubicBezTo>
                <a:cubicBezTo>
                  <a:pt x="3072" y="1040"/>
                  <a:pt x="3072" y="1039"/>
                  <a:pt x="3072" y="1035"/>
                </a:cubicBezTo>
                <a:cubicBezTo>
                  <a:pt x="3072" y="1030"/>
                  <a:pt x="3069" y="1027"/>
                  <a:pt x="3067" y="1023"/>
                </a:cubicBezTo>
                <a:cubicBezTo>
                  <a:pt x="3059" y="1013"/>
                  <a:pt x="3045" y="999"/>
                  <a:pt x="3044" y="993"/>
                </a:cubicBezTo>
                <a:cubicBezTo>
                  <a:pt x="3044" y="992"/>
                  <a:pt x="3044" y="992"/>
                  <a:pt x="3044" y="992"/>
                </a:cubicBezTo>
                <a:cubicBezTo>
                  <a:pt x="3044" y="988"/>
                  <a:pt x="3046" y="984"/>
                  <a:pt x="3049" y="980"/>
                </a:cubicBezTo>
                <a:cubicBezTo>
                  <a:pt x="3051" y="977"/>
                  <a:pt x="3055" y="975"/>
                  <a:pt x="3055" y="975"/>
                </a:cubicBezTo>
                <a:cubicBezTo>
                  <a:pt x="3056" y="975"/>
                  <a:pt x="3056" y="975"/>
                  <a:pt x="3056" y="976"/>
                </a:cubicBezTo>
                <a:cubicBezTo>
                  <a:pt x="3061" y="987"/>
                  <a:pt x="3066" y="1008"/>
                  <a:pt x="3084" y="1018"/>
                </a:cubicBezTo>
                <a:cubicBezTo>
                  <a:pt x="3091" y="1022"/>
                  <a:pt x="3097" y="1028"/>
                  <a:pt x="3104" y="1032"/>
                </a:cubicBezTo>
                <a:cubicBezTo>
                  <a:pt x="3110" y="1037"/>
                  <a:pt x="3115" y="1041"/>
                  <a:pt x="3120" y="1044"/>
                </a:cubicBezTo>
                <a:cubicBezTo>
                  <a:pt x="3121" y="1044"/>
                  <a:pt x="3123" y="1044"/>
                  <a:pt x="3124" y="1044"/>
                </a:cubicBezTo>
                <a:cubicBezTo>
                  <a:pt x="3131" y="1044"/>
                  <a:pt x="3136" y="1040"/>
                  <a:pt x="3141" y="1037"/>
                </a:cubicBezTo>
                <a:cubicBezTo>
                  <a:pt x="3143" y="1035"/>
                  <a:pt x="3146" y="1034"/>
                  <a:pt x="3148" y="1033"/>
                </a:cubicBezTo>
                <a:cubicBezTo>
                  <a:pt x="3149" y="1032"/>
                  <a:pt x="3149" y="1032"/>
                  <a:pt x="3150" y="1032"/>
                </a:cubicBezTo>
                <a:cubicBezTo>
                  <a:pt x="3152" y="1034"/>
                  <a:pt x="3156" y="1040"/>
                  <a:pt x="3160" y="1046"/>
                </a:cubicBezTo>
                <a:cubicBezTo>
                  <a:pt x="3165" y="1053"/>
                  <a:pt x="3170" y="1060"/>
                  <a:pt x="3178" y="1063"/>
                </a:cubicBezTo>
                <a:cubicBezTo>
                  <a:pt x="3184" y="1066"/>
                  <a:pt x="3195" y="1067"/>
                  <a:pt x="3206" y="1068"/>
                </a:cubicBezTo>
                <a:cubicBezTo>
                  <a:pt x="3217" y="1069"/>
                  <a:pt x="3227" y="1069"/>
                  <a:pt x="3230" y="1069"/>
                </a:cubicBezTo>
                <a:cubicBezTo>
                  <a:pt x="3232" y="1069"/>
                  <a:pt x="3234" y="1069"/>
                  <a:pt x="3238" y="1069"/>
                </a:cubicBezTo>
                <a:cubicBezTo>
                  <a:pt x="3242" y="1069"/>
                  <a:pt x="3249" y="1069"/>
                  <a:pt x="3255" y="1068"/>
                </a:cubicBezTo>
                <a:cubicBezTo>
                  <a:pt x="3260" y="1066"/>
                  <a:pt x="3266" y="1065"/>
                  <a:pt x="3270" y="1059"/>
                </a:cubicBezTo>
                <a:cubicBezTo>
                  <a:pt x="3272" y="1055"/>
                  <a:pt x="3273" y="1054"/>
                  <a:pt x="3274" y="1054"/>
                </a:cubicBezTo>
                <a:cubicBezTo>
                  <a:pt x="3274" y="1054"/>
                  <a:pt x="3275" y="1054"/>
                  <a:pt x="3278" y="1054"/>
                </a:cubicBezTo>
                <a:cubicBezTo>
                  <a:pt x="3279" y="1055"/>
                  <a:pt x="3283" y="1061"/>
                  <a:pt x="3286" y="1066"/>
                </a:cubicBezTo>
                <a:cubicBezTo>
                  <a:pt x="3291" y="1072"/>
                  <a:pt x="3294" y="1078"/>
                  <a:pt x="3301" y="1081"/>
                </a:cubicBezTo>
                <a:cubicBezTo>
                  <a:pt x="3306" y="1083"/>
                  <a:pt x="3311" y="1083"/>
                  <a:pt x="3314" y="1084"/>
                </a:cubicBezTo>
                <a:cubicBezTo>
                  <a:pt x="3317" y="1086"/>
                  <a:pt x="3318" y="1086"/>
                  <a:pt x="3319" y="1093"/>
                </a:cubicBezTo>
                <a:cubicBezTo>
                  <a:pt x="3319" y="1093"/>
                  <a:pt x="3319" y="1094"/>
                  <a:pt x="3319" y="1094"/>
                </a:cubicBezTo>
                <a:cubicBezTo>
                  <a:pt x="3319" y="1095"/>
                  <a:pt x="3319" y="1097"/>
                  <a:pt x="3319" y="1098"/>
                </a:cubicBezTo>
                <a:cubicBezTo>
                  <a:pt x="3319" y="1107"/>
                  <a:pt x="3321" y="1115"/>
                  <a:pt x="3324" y="1122"/>
                </a:cubicBezTo>
                <a:cubicBezTo>
                  <a:pt x="3327" y="1128"/>
                  <a:pt x="3332" y="1134"/>
                  <a:pt x="3339" y="1135"/>
                </a:cubicBezTo>
                <a:cubicBezTo>
                  <a:pt x="3339" y="1135"/>
                  <a:pt x="3340" y="1135"/>
                  <a:pt x="3340" y="1135"/>
                </a:cubicBezTo>
                <a:cubicBezTo>
                  <a:pt x="3349" y="1134"/>
                  <a:pt x="3354" y="1129"/>
                  <a:pt x="3360" y="1124"/>
                </a:cubicBezTo>
                <a:cubicBezTo>
                  <a:pt x="3360" y="1134"/>
                  <a:pt x="3360" y="1148"/>
                  <a:pt x="3359" y="1155"/>
                </a:cubicBezTo>
                <a:cubicBezTo>
                  <a:pt x="3359" y="1155"/>
                  <a:pt x="3359" y="1156"/>
                  <a:pt x="3359" y="1157"/>
                </a:cubicBezTo>
                <a:cubicBezTo>
                  <a:pt x="3359" y="1173"/>
                  <a:pt x="3372" y="1214"/>
                  <a:pt x="3372" y="1215"/>
                </a:cubicBezTo>
                <a:cubicBezTo>
                  <a:pt x="3372" y="1215"/>
                  <a:pt x="3372" y="1215"/>
                  <a:pt x="3372" y="1215"/>
                </a:cubicBezTo>
                <a:cubicBezTo>
                  <a:pt x="3372" y="1215"/>
                  <a:pt x="3389" y="1258"/>
                  <a:pt x="3394" y="1268"/>
                </a:cubicBezTo>
                <a:cubicBezTo>
                  <a:pt x="3397" y="1274"/>
                  <a:pt x="3403" y="1283"/>
                  <a:pt x="3408" y="1293"/>
                </a:cubicBezTo>
                <a:cubicBezTo>
                  <a:pt x="3413" y="1302"/>
                  <a:pt x="3418" y="1313"/>
                  <a:pt x="3418" y="1316"/>
                </a:cubicBezTo>
                <a:cubicBezTo>
                  <a:pt x="3418" y="1323"/>
                  <a:pt x="3418" y="1331"/>
                  <a:pt x="3420" y="1338"/>
                </a:cubicBezTo>
                <a:cubicBezTo>
                  <a:pt x="3421" y="1342"/>
                  <a:pt x="3422" y="1345"/>
                  <a:pt x="3423" y="1348"/>
                </a:cubicBezTo>
                <a:cubicBezTo>
                  <a:pt x="3425" y="1351"/>
                  <a:pt x="3428" y="1354"/>
                  <a:pt x="3433" y="1354"/>
                </a:cubicBezTo>
                <a:cubicBezTo>
                  <a:pt x="3438" y="1354"/>
                  <a:pt x="3441" y="1351"/>
                  <a:pt x="3443" y="1348"/>
                </a:cubicBezTo>
                <a:cubicBezTo>
                  <a:pt x="3449" y="1340"/>
                  <a:pt x="3454" y="1325"/>
                  <a:pt x="3460" y="1315"/>
                </a:cubicBezTo>
                <a:cubicBezTo>
                  <a:pt x="3461" y="1314"/>
                  <a:pt x="3461" y="1313"/>
                  <a:pt x="3462" y="1311"/>
                </a:cubicBezTo>
                <a:cubicBezTo>
                  <a:pt x="3461" y="1314"/>
                  <a:pt x="3460" y="1317"/>
                  <a:pt x="3459" y="1320"/>
                </a:cubicBezTo>
                <a:cubicBezTo>
                  <a:pt x="3458" y="1327"/>
                  <a:pt x="3457" y="1335"/>
                  <a:pt x="3457" y="1343"/>
                </a:cubicBezTo>
                <a:cubicBezTo>
                  <a:pt x="3457" y="1349"/>
                  <a:pt x="3457" y="1354"/>
                  <a:pt x="3459" y="1359"/>
                </a:cubicBezTo>
                <a:cubicBezTo>
                  <a:pt x="3460" y="1364"/>
                  <a:pt x="3463" y="1369"/>
                  <a:pt x="3469" y="1372"/>
                </a:cubicBezTo>
                <a:cubicBezTo>
                  <a:pt x="3471" y="1373"/>
                  <a:pt x="3472" y="1373"/>
                  <a:pt x="3474" y="1373"/>
                </a:cubicBezTo>
                <a:cubicBezTo>
                  <a:pt x="3483" y="1373"/>
                  <a:pt x="3488" y="1367"/>
                  <a:pt x="3491" y="1361"/>
                </a:cubicBezTo>
                <a:cubicBezTo>
                  <a:pt x="3494" y="1355"/>
                  <a:pt x="3495" y="1349"/>
                  <a:pt x="3495" y="1343"/>
                </a:cubicBezTo>
                <a:cubicBezTo>
                  <a:pt x="3495" y="1340"/>
                  <a:pt x="3495" y="1337"/>
                  <a:pt x="3493" y="1334"/>
                </a:cubicBezTo>
                <a:cubicBezTo>
                  <a:pt x="3492" y="1333"/>
                  <a:pt x="3490" y="1325"/>
                  <a:pt x="3488" y="1319"/>
                </a:cubicBezTo>
                <a:cubicBezTo>
                  <a:pt x="3487" y="1315"/>
                  <a:pt x="3486" y="1312"/>
                  <a:pt x="3484" y="1309"/>
                </a:cubicBezTo>
                <a:cubicBezTo>
                  <a:pt x="3482" y="1306"/>
                  <a:pt x="3479" y="1303"/>
                  <a:pt x="3474" y="1303"/>
                </a:cubicBezTo>
                <a:cubicBezTo>
                  <a:pt x="3472" y="1303"/>
                  <a:pt x="3468" y="1303"/>
                  <a:pt x="3468" y="1304"/>
                </a:cubicBezTo>
                <a:cubicBezTo>
                  <a:pt x="3468" y="1304"/>
                  <a:pt x="3468" y="1304"/>
                  <a:pt x="3468" y="1304"/>
                </a:cubicBezTo>
                <a:cubicBezTo>
                  <a:pt x="3464" y="1306"/>
                  <a:pt x="3464" y="1308"/>
                  <a:pt x="3463" y="1310"/>
                </a:cubicBezTo>
                <a:cubicBezTo>
                  <a:pt x="3469" y="1296"/>
                  <a:pt x="3471" y="1279"/>
                  <a:pt x="3474" y="1267"/>
                </a:cubicBezTo>
                <a:cubicBezTo>
                  <a:pt x="3478" y="1252"/>
                  <a:pt x="3478" y="1227"/>
                  <a:pt x="3478" y="1217"/>
                </a:cubicBezTo>
                <a:cubicBezTo>
                  <a:pt x="3478" y="1211"/>
                  <a:pt x="3482" y="1205"/>
                  <a:pt x="3498" y="1196"/>
                </a:cubicBezTo>
                <a:cubicBezTo>
                  <a:pt x="3517" y="1186"/>
                  <a:pt x="3528" y="1162"/>
                  <a:pt x="3540" y="1151"/>
                </a:cubicBezTo>
                <a:cubicBezTo>
                  <a:pt x="3549" y="1144"/>
                  <a:pt x="3552" y="1135"/>
                  <a:pt x="3556" y="1129"/>
                </a:cubicBezTo>
                <a:cubicBezTo>
                  <a:pt x="3561" y="1124"/>
                  <a:pt x="3564" y="1120"/>
                  <a:pt x="3577" y="1120"/>
                </a:cubicBezTo>
                <a:cubicBezTo>
                  <a:pt x="3591" y="1120"/>
                  <a:pt x="3597" y="1120"/>
                  <a:pt x="3602" y="1119"/>
                </a:cubicBezTo>
                <a:cubicBezTo>
                  <a:pt x="3608" y="1117"/>
                  <a:pt x="3611" y="1113"/>
                  <a:pt x="3614" y="1109"/>
                </a:cubicBezTo>
                <a:cubicBezTo>
                  <a:pt x="3615" y="1107"/>
                  <a:pt x="3617" y="1105"/>
                  <a:pt x="3618" y="1104"/>
                </a:cubicBezTo>
                <a:cubicBezTo>
                  <a:pt x="3619" y="1104"/>
                  <a:pt x="3619" y="1104"/>
                  <a:pt x="3619" y="1104"/>
                </a:cubicBezTo>
                <a:cubicBezTo>
                  <a:pt x="3619" y="1105"/>
                  <a:pt x="3620" y="1106"/>
                  <a:pt x="3620" y="1108"/>
                </a:cubicBezTo>
                <a:cubicBezTo>
                  <a:pt x="3623" y="1118"/>
                  <a:pt x="3629" y="1127"/>
                  <a:pt x="3635" y="1135"/>
                </a:cubicBezTo>
                <a:cubicBezTo>
                  <a:pt x="3640" y="1144"/>
                  <a:pt x="3646" y="1151"/>
                  <a:pt x="3648" y="1153"/>
                </a:cubicBezTo>
                <a:cubicBezTo>
                  <a:pt x="3650" y="1157"/>
                  <a:pt x="3656" y="1170"/>
                  <a:pt x="3656" y="1183"/>
                </a:cubicBezTo>
                <a:cubicBezTo>
                  <a:pt x="3656" y="1184"/>
                  <a:pt x="3656" y="1185"/>
                  <a:pt x="3656" y="1186"/>
                </a:cubicBezTo>
                <a:cubicBezTo>
                  <a:pt x="3656" y="1189"/>
                  <a:pt x="3656" y="1192"/>
                  <a:pt x="3656" y="1195"/>
                </a:cubicBezTo>
                <a:cubicBezTo>
                  <a:pt x="3656" y="1203"/>
                  <a:pt x="3656" y="1210"/>
                  <a:pt x="3658" y="1216"/>
                </a:cubicBezTo>
                <a:cubicBezTo>
                  <a:pt x="3658" y="1219"/>
                  <a:pt x="3659" y="1221"/>
                  <a:pt x="3660" y="1224"/>
                </a:cubicBezTo>
                <a:cubicBezTo>
                  <a:pt x="3662" y="1226"/>
                  <a:pt x="3665" y="1229"/>
                  <a:pt x="3669" y="1229"/>
                </a:cubicBezTo>
                <a:cubicBezTo>
                  <a:pt x="3674" y="1228"/>
                  <a:pt x="3676" y="1225"/>
                  <a:pt x="3679" y="1223"/>
                </a:cubicBezTo>
                <a:cubicBezTo>
                  <a:pt x="3684" y="1217"/>
                  <a:pt x="3689" y="1207"/>
                  <a:pt x="3691" y="1203"/>
                </a:cubicBezTo>
                <a:cubicBezTo>
                  <a:pt x="3692" y="1202"/>
                  <a:pt x="3694" y="1201"/>
                  <a:pt x="3696" y="1200"/>
                </a:cubicBezTo>
                <a:cubicBezTo>
                  <a:pt x="3699" y="1198"/>
                  <a:pt x="3703" y="1196"/>
                  <a:pt x="3704" y="1197"/>
                </a:cubicBezTo>
                <a:cubicBezTo>
                  <a:pt x="3704" y="1197"/>
                  <a:pt x="3704" y="1198"/>
                  <a:pt x="3704" y="1199"/>
                </a:cubicBezTo>
                <a:cubicBezTo>
                  <a:pt x="3704" y="1200"/>
                  <a:pt x="3704" y="1200"/>
                  <a:pt x="3704" y="1200"/>
                </a:cubicBezTo>
                <a:cubicBezTo>
                  <a:pt x="3704" y="1204"/>
                  <a:pt x="3704" y="1207"/>
                  <a:pt x="3704" y="1210"/>
                </a:cubicBezTo>
                <a:cubicBezTo>
                  <a:pt x="3704" y="1230"/>
                  <a:pt x="3706" y="1249"/>
                  <a:pt x="3706" y="1260"/>
                </a:cubicBezTo>
                <a:cubicBezTo>
                  <a:pt x="3707" y="1268"/>
                  <a:pt x="3711" y="1278"/>
                  <a:pt x="3716" y="1287"/>
                </a:cubicBezTo>
                <a:cubicBezTo>
                  <a:pt x="3717" y="1290"/>
                  <a:pt x="3719" y="1293"/>
                  <a:pt x="3720" y="1295"/>
                </a:cubicBezTo>
                <a:cubicBezTo>
                  <a:pt x="3720" y="1295"/>
                  <a:pt x="3720" y="1295"/>
                  <a:pt x="3720" y="1295"/>
                </a:cubicBezTo>
                <a:cubicBezTo>
                  <a:pt x="3714" y="1296"/>
                  <a:pt x="3711" y="1300"/>
                  <a:pt x="3709" y="1304"/>
                </a:cubicBezTo>
                <a:cubicBezTo>
                  <a:pt x="3707" y="1308"/>
                  <a:pt x="3707" y="1313"/>
                  <a:pt x="3707" y="1317"/>
                </a:cubicBezTo>
                <a:cubicBezTo>
                  <a:pt x="3707" y="1323"/>
                  <a:pt x="3708" y="1329"/>
                  <a:pt x="3711" y="1334"/>
                </a:cubicBezTo>
                <a:cubicBezTo>
                  <a:pt x="3715" y="1339"/>
                  <a:pt x="3719" y="1340"/>
                  <a:pt x="3722" y="1342"/>
                </a:cubicBezTo>
                <a:cubicBezTo>
                  <a:pt x="3724" y="1344"/>
                  <a:pt x="3727" y="1347"/>
                  <a:pt x="3730" y="1359"/>
                </a:cubicBezTo>
                <a:cubicBezTo>
                  <a:pt x="3736" y="1385"/>
                  <a:pt x="3747" y="1410"/>
                  <a:pt x="3752" y="1420"/>
                </a:cubicBezTo>
                <a:cubicBezTo>
                  <a:pt x="3755" y="1426"/>
                  <a:pt x="3762" y="1432"/>
                  <a:pt x="3768" y="1438"/>
                </a:cubicBezTo>
                <a:cubicBezTo>
                  <a:pt x="3775" y="1443"/>
                  <a:pt x="3781" y="1449"/>
                  <a:pt x="3784" y="1452"/>
                </a:cubicBezTo>
                <a:cubicBezTo>
                  <a:pt x="3787" y="1454"/>
                  <a:pt x="3790" y="1456"/>
                  <a:pt x="3794" y="1456"/>
                </a:cubicBezTo>
                <a:cubicBezTo>
                  <a:pt x="3802" y="1456"/>
                  <a:pt x="3808" y="1449"/>
                  <a:pt x="3808" y="1441"/>
                </a:cubicBezTo>
                <a:cubicBezTo>
                  <a:pt x="3808" y="1438"/>
                  <a:pt x="3808" y="1436"/>
                  <a:pt x="3806" y="1433"/>
                </a:cubicBezTo>
                <a:cubicBezTo>
                  <a:pt x="3801" y="1425"/>
                  <a:pt x="3793" y="1412"/>
                  <a:pt x="3792" y="1405"/>
                </a:cubicBezTo>
                <a:cubicBezTo>
                  <a:pt x="3791" y="1394"/>
                  <a:pt x="3785" y="1379"/>
                  <a:pt x="3775" y="1362"/>
                </a:cubicBezTo>
                <a:cubicBezTo>
                  <a:pt x="3765" y="1344"/>
                  <a:pt x="3757" y="1339"/>
                  <a:pt x="3752" y="1330"/>
                </a:cubicBezTo>
                <a:cubicBezTo>
                  <a:pt x="3748" y="1323"/>
                  <a:pt x="3740" y="1313"/>
                  <a:pt x="3733" y="1306"/>
                </a:cubicBezTo>
                <a:cubicBezTo>
                  <a:pt x="3735" y="1306"/>
                  <a:pt x="3738" y="1304"/>
                  <a:pt x="3738" y="1302"/>
                </a:cubicBezTo>
                <a:cubicBezTo>
                  <a:pt x="3739" y="1301"/>
                  <a:pt x="3739" y="1300"/>
                  <a:pt x="3739" y="1299"/>
                </a:cubicBezTo>
                <a:cubicBezTo>
                  <a:pt x="3739" y="1296"/>
                  <a:pt x="3741" y="1288"/>
                  <a:pt x="3744" y="1280"/>
                </a:cubicBezTo>
                <a:cubicBezTo>
                  <a:pt x="3746" y="1272"/>
                  <a:pt x="3748" y="1263"/>
                  <a:pt x="3749" y="1256"/>
                </a:cubicBezTo>
                <a:cubicBezTo>
                  <a:pt x="3751" y="1258"/>
                  <a:pt x="3755" y="1261"/>
                  <a:pt x="3759" y="1265"/>
                </a:cubicBezTo>
                <a:cubicBezTo>
                  <a:pt x="3766" y="1270"/>
                  <a:pt x="3772" y="1279"/>
                  <a:pt x="3776" y="1286"/>
                </a:cubicBezTo>
                <a:cubicBezTo>
                  <a:pt x="3780" y="1294"/>
                  <a:pt x="3783" y="1299"/>
                  <a:pt x="3783" y="1299"/>
                </a:cubicBezTo>
                <a:cubicBezTo>
                  <a:pt x="3784" y="1301"/>
                  <a:pt x="3784" y="1301"/>
                  <a:pt x="3784" y="1301"/>
                </a:cubicBezTo>
                <a:cubicBezTo>
                  <a:pt x="3784" y="1301"/>
                  <a:pt x="3788" y="1305"/>
                  <a:pt x="3792" y="1310"/>
                </a:cubicBezTo>
                <a:cubicBezTo>
                  <a:pt x="3795" y="1315"/>
                  <a:pt x="3800" y="1321"/>
                  <a:pt x="3800" y="1322"/>
                </a:cubicBezTo>
                <a:cubicBezTo>
                  <a:pt x="3801" y="1327"/>
                  <a:pt x="3806" y="1329"/>
                  <a:pt x="3809" y="1329"/>
                </a:cubicBezTo>
                <a:cubicBezTo>
                  <a:pt x="3815" y="1329"/>
                  <a:pt x="3819" y="1326"/>
                  <a:pt x="3823" y="1323"/>
                </a:cubicBezTo>
                <a:cubicBezTo>
                  <a:pt x="3827" y="1320"/>
                  <a:pt x="3831" y="1317"/>
                  <a:pt x="3833" y="1312"/>
                </a:cubicBezTo>
                <a:cubicBezTo>
                  <a:pt x="3837" y="1304"/>
                  <a:pt x="3837" y="1303"/>
                  <a:pt x="3844" y="1300"/>
                </a:cubicBezTo>
                <a:cubicBezTo>
                  <a:pt x="3848" y="1299"/>
                  <a:pt x="3854" y="1298"/>
                  <a:pt x="3860" y="1296"/>
                </a:cubicBezTo>
                <a:cubicBezTo>
                  <a:pt x="3865" y="1293"/>
                  <a:pt x="3871" y="1287"/>
                  <a:pt x="3873" y="1278"/>
                </a:cubicBezTo>
                <a:cubicBezTo>
                  <a:pt x="3874" y="1269"/>
                  <a:pt x="3880" y="1258"/>
                  <a:pt x="3880" y="1245"/>
                </a:cubicBezTo>
                <a:cubicBezTo>
                  <a:pt x="3880" y="1237"/>
                  <a:pt x="3878" y="1228"/>
                  <a:pt x="3872" y="1219"/>
                </a:cubicBezTo>
                <a:cubicBezTo>
                  <a:pt x="3858" y="1199"/>
                  <a:pt x="3851" y="1185"/>
                  <a:pt x="3840" y="1174"/>
                </a:cubicBezTo>
                <a:cubicBezTo>
                  <a:pt x="3836" y="1171"/>
                  <a:pt x="3831" y="1162"/>
                  <a:pt x="3828" y="1155"/>
                </a:cubicBezTo>
                <a:cubicBezTo>
                  <a:pt x="3826" y="1151"/>
                  <a:pt x="3825" y="1148"/>
                  <a:pt x="3824" y="1146"/>
                </a:cubicBezTo>
                <a:cubicBezTo>
                  <a:pt x="3830" y="1139"/>
                  <a:pt x="3845" y="1123"/>
                  <a:pt x="3851" y="1116"/>
                </a:cubicBezTo>
                <a:cubicBezTo>
                  <a:pt x="3852" y="1115"/>
                  <a:pt x="3853" y="1114"/>
                  <a:pt x="3854" y="1114"/>
                </a:cubicBezTo>
                <a:cubicBezTo>
                  <a:pt x="3855" y="1114"/>
                  <a:pt x="3858" y="1116"/>
                  <a:pt x="3858" y="1120"/>
                </a:cubicBezTo>
                <a:cubicBezTo>
                  <a:pt x="3858" y="1120"/>
                  <a:pt x="3858" y="1120"/>
                  <a:pt x="3858" y="1121"/>
                </a:cubicBezTo>
                <a:cubicBezTo>
                  <a:pt x="3859" y="1123"/>
                  <a:pt x="3857" y="1127"/>
                  <a:pt x="3854" y="1133"/>
                </a:cubicBezTo>
                <a:cubicBezTo>
                  <a:pt x="3851" y="1138"/>
                  <a:pt x="3847" y="1146"/>
                  <a:pt x="3846" y="1157"/>
                </a:cubicBezTo>
                <a:cubicBezTo>
                  <a:pt x="3846" y="1159"/>
                  <a:pt x="3846" y="1160"/>
                  <a:pt x="3846" y="1162"/>
                </a:cubicBezTo>
                <a:cubicBezTo>
                  <a:pt x="3846" y="1177"/>
                  <a:pt x="3855" y="1187"/>
                  <a:pt x="3865" y="1187"/>
                </a:cubicBezTo>
                <a:cubicBezTo>
                  <a:pt x="3869" y="1187"/>
                  <a:pt x="3873" y="1186"/>
                  <a:pt x="3875" y="1182"/>
                </a:cubicBezTo>
                <a:cubicBezTo>
                  <a:pt x="3877" y="1179"/>
                  <a:pt x="3882" y="1173"/>
                  <a:pt x="3885" y="1167"/>
                </a:cubicBezTo>
                <a:cubicBezTo>
                  <a:pt x="3887" y="1164"/>
                  <a:pt x="3889" y="1161"/>
                  <a:pt x="3890" y="1159"/>
                </a:cubicBezTo>
                <a:cubicBezTo>
                  <a:pt x="3891" y="1156"/>
                  <a:pt x="3892" y="1155"/>
                  <a:pt x="3892" y="1151"/>
                </a:cubicBezTo>
                <a:cubicBezTo>
                  <a:pt x="3892" y="1148"/>
                  <a:pt x="3891" y="1145"/>
                  <a:pt x="3889" y="1144"/>
                </a:cubicBezTo>
                <a:cubicBezTo>
                  <a:pt x="3886" y="1141"/>
                  <a:pt x="3884" y="1143"/>
                  <a:pt x="3884" y="1133"/>
                </a:cubicBezTo>
                <a:cubicBezTo>
                  <a:pt x="3884" y="1132"/>
                  <a:pt x="3884" y="1132"/>
                  <a:pt x="3884" y="1132"/>
                </a:cubicBezTo>
                <a:cubicBezTo>
                  <a:pt x="3884" y="1127"/>
                  <a:pt x="3885" y="1123"/>
                  <a:pt x="3888" y="1120"/>
                </a:cubicBezTo>
                <a:cubicBezTo>
                  <a:pt x="3891" y="1118"/>
                  <a:pt x="3894" y="1116"/>
                  <a:pt x="3895" y="1116"/>
                </a:cubicBezTo>
                <a:cubicBezTo>
                  <a:pt x="3898" y="1118"/>
                  <a:pt x="3900" y="1118"/>
                  <a:pt x="3903" y="1118"/>
                </a:cubicBezTo>
                <a:cubicBezTo>
                  <a:pt x="3917" y="1118"/>
                  <a:pt x="3945" y="1110"/>
                  <a:pt x="3961" y="1100"/>
                </a:cubicBezTo>
                <a:cubicBezTo>
                  <a:pt x="3980" y="1087"/>
                  <a:pt x="3991" y="1063"/>
                  <a:pt x="4000" y="1055"/>
                </a:cubicBezTo>
                <a:cubicBezTo>
                  <a:pt x="4005" y="1050"/>
                  <a:pt x="4016" y="1040"/>
                  <a:pt x="4026" y="1029"/>
                </a:cubicBezTo>
                <a:cubicBezTo>
                  <a:pt x="4036" y="1018"/>
                  <a:pt x="4045" y="1007"/>
                  <a:pt x="4046" y="995"/>
                </a:cubicBezTo>
                <a:cubicBezTo>
                  <a:pt x="4046" y="995"/>
                  <a:pt x="4045" y="994"/>
                  <a:pt x="4045" y="993"/>
                </a:cubicBezTo>
                <a:cubicBezTo>
                  <a:pt x="4043" y="979"/>
                  <a:pt x="4047" y="958"/>
                  <a:pt x="4037" y="936"/>
                </a:cubicBezTo>
                <a:cubicBezTo>
                  <a:pt x="4028" y="918"/>
                  <a:pt x="4017" y="905"/>
                  <a:pt x="4012" y="898"/>
                </a:cubicBezTo>
                <a:cubicBezTo>
                  <a:pt x="4014" y="896"/>
                  <a:pt x="4018" y="895"/>
                  <a:pt x="4022" y="893"/>
                </a:cubicBezTo>
                <a:cubicBezTo>
                  <a:pt x="4028" y="890"/>
                  <a:pt x="4036" y="887"/>
                  <a:pt x="4041" y="881"/>
                </a:cubicBezTo>
                <a:cubicBezTo>
                  <a:pt x="4046" y="876"/>
                  <a:pt x="4048" y="871"/>
                  <a:pt x="4048" y="866"/>
                </a:cubicBezTo>
                <a:cubicBezTo>
                  <a:pt x="4048" y="856"/>
                  <a:pt x="4041" y="849"/>
                  <a:pt x="4032" y="848"/>
                </a:cubicBezTo>
                <a:cubicBezTo>
                  <a:pt x="4032" y="848"/>
                  <a:pt x="4031" y="849"/>
                  <a:pt x="4030" y="849"/>
                </a:cubicBezTo>
                <a:cubicBezTo>
                  <a:pt x="4025" y="850"/>
                  <a:pt x="4013" y="853"/>
                  <a:pt x="4008" y="853"/>
                </a:cubicBezTo>
                <a:cubicBezTo>
                  <a:pt x="4007" y="853"/>
                  <a:pt x="4006" y="853"/>
                  <a:pt x="4006" y="853"/>
                </a:cubicBezTo>
                <a:cubicBezTo>
                  <a:pt x="4005" y="853"/>
                  <a:pt x="4000" y="847"/>
                  <a:pt x="3990" y="838"/>
                </a:cubicBezTo>
                <a:cubicBezTo>
                  <a:pt x="3989" y="836"/>
                  <a:pt x="3989" y="836"/>
                  <a:pt x="3989" y="835"/>
                </a:cubicBezTo>
                <a:cubicBezTo>
                  <a:pt x="3989" y="834"/>
                  <a:pt x="3990" y="832"/>
                  <a:pt x="3991" y="831"/>
                </a:cubicBezTo>
                <a:cubicBezTo>
                  <a:pt x="3992" y="830"/>
                  <a:pt x="3992" y="829"/>
                  <a:pt x="3993" y="829"/>
                </a:cubicBezTo>
                <a:cubicBezTo>
                  <a:pt x="3993" y="829"/>
                  <a:pt x="3993" y="829"/>
                  <a:pt x="3993" y="829"/>
                </a:cubicBezTo>
                <a:cubicBezTo>
                  <a:pt x="3994" y="829"/>
                  <a:pt x="3995" y="829"/>
                  <a:pt x="3995" y="829"/>
                </a:cubicBezTo>
                <a:cubicBezTo>
                  <a:pt x="4002" y="829"/>
                  <a:pt x="4007" y="824"/>
                  <a:pt x="4012" y="820"/>
                </a:cubicBezTo>
                <a:cubicBezTo>
                  <a:pt x="4017" y="815"/>
                  <a:pt x="4022" y="811"/>
                  <a:pt x="4026" y="807"/>
                </a:cubicBezTo>
                <a:cubicBezTo>
                  <a:pt x="4024" y="812"/>
                  <a:pt x="4023" y="817"/>
                  <a:pt x="4023" y="822"/>
                </a:cubicBezTo>
                <a:cubicBezTo>
                  <a:pt x="4023" y="825"/>
                  <a:pt x="4024" y="827"/>
                  <a:pt x="4025" y="830"/>
                </a:cubicBezTo>
                <a:cubicBezTo>
                  <a:pt x="4026" y="833"/>
                  <a:pt x="4029" y="835"/>
                  <a:pt x="4033" y="836"/>
                </a:cubicBezTo>
                <a:cubicBezTo>
                  <a:pt x="4033" y="836"/>
                  <a:pt x="4034" y="836"/>
                  <a:pt x="4034" y="836"/>
                </a:cubicBezTo>
                <a:cubicBezTo>
                  <a:pt x="4043" y="836"/>
                  <a:pt x="4050" y="830"/>
                  <a:pt x="4057" y="825"/>
                </a:cubicBezTo>
                <a:cubicBezTo>
                  <a:pt x="4060" y="823"/>
                  <a:pt x="4063" y="820"/>
                  <a:pt x="4066" y="818"/>
                </a:cubicBezTo>
                <a:cubicBezTo>
                  <a:pt x="4066" y="818"/>
                  <a:pt x="4066" y="818"/>
                  <a:pt x="4066" y="818"/>
                </a:cubicBezTo>
                <a:cubicBezTo>
                  <a:pt x="4067" y="822"/>
                  <a:pt x="4069" y="827"/>
                  <a:pt x="4069" y="832"/>
                </a:cubicBezTo>
                <a:cubicBezTo>
                  <a:pt x="4069" y="834"/>
                  <a:pt x="4069" y="835"/>
                  <a:pt x="4068" y="836"/>
                </a:cubicBezTo>
                <a:cubicBezTo>
                  <a:pt x="4066" y="841"/>
                  <a:pt x="4065" y="846"/>
                  <a:pt x="4065" y="851"/>
                </a:cubicBezTo>
                <a:cubicBezTo>
                  <a:pt x="4065" y="854"/>
                  <a:pt x="4066" y="856"/>
                  <a:pt x="4066" y="859"/>
                </a:cubicBezTo>
                <a:cubicBezTo>
                  <a:pt x="4067" y="861"/>
                  <a:pt x="4069" y="865"/>
                  <a:pt x="4074" y="865"/>
                </a:cubicBezTo>
                <a:cubicBezTo>
                  <a:pt x="4075" y="865"/>
                  <a:pt x="4076" y="865"/>
                  <a:pt x="4077" y="865"/>
                </a:cubicBezTo>
                <a:cubicBezTo>
                  <a:pt x="4081" y="863"/>
                  <a:pt x="4084" y="860"/>
                  <a:pt x="4087" y="858"/>
                </a:cubicBezTo>
                <a:cubicBezTo>
                  <a:pt x="4087" y="857"/>
                  <a:pt x="4088" y="856"/>
                  <a:pt x="4089" y="856"/>
                </a:cubicBezTo>
                <a:cubicBezTo>
                  <a:pt x="4092" y="860"/>
                  <a:pt x="4095" y="863"/>
                  <a:pt x="4095" y="869"/>
                </a:cubicBezTo>
                <a:cubicBezTo>
                  <a:pt x="4095" y="870"/>
                  <a:pt x="4094" y="872"/>
                  <a:pt x="4094" y="875"/>
                </a:cubicBezTo>
                <a:cubicBezTo>
                  <a:pt x="4091" y="883"/>
                  <a:pt x="4084" y="888"/>
                  <a:pt x="4083" y="898"/>
                </a:cubicBezTo>
                <a:cubicBezTo>
                  <a:pt x="4083" y="904"/>
                  <a:pt x="4087" y="908"/>
                  <a:pt x="4092" y="912"/>
                </a:cubicBezTo>
                <a:cubicBezTo>
                  <a:pt x="4097" y="916"/>
                  <a:pt x="4102" y="917"/>
                  <a:pt x="4107" y="917"/>
                </a:cubicBezTo>
                <a:cubicBezTo>
                  <a:pt x="4117" y="917"/>
                  <a:pt x="4122" y="910"/>
                  <a:pt x="4128" y="907"/>
                </a:cubicBezTo>
                <a:cubicBezTo>
                  <a:pt x="4139" y="898"/>
                  <a:pt x="4144" y="880"/>
                  <a:pt x="4144" y="865"/>
                </a:cubicBezTo>
                <a:cubicBezTo>
                  <a:pt x="4144" y="860"/>
                  <a:pt x="4144" y="856"/>
                  <a:pt x="4141" y="852"/>
                </a:cubicBezTo>
                <a:cubicBezTo>
                  <a:pt x="4138" y="846"/>
                  <a:pt x="4133" y="839"/>
                  <a:pt x="4129" y="833"/>
                </a:cubicBezTo>
                <a:cubicBezTo>
                  <a:pt x="4126" y="828"/>
                  <a:pt x="4124" y="822"/>
                  <a:pt x="4123" y="820"/>
                </a:cubicBezTo>
                <a:cubicBezTo>
                  <a:pt x="4125" y="819"/>
                  <a:pt x="4130" y="817"/>
                  <a:pt x="4135" y="815"/>
                </a:cubicBezTo>
                <a:cubicBezTo>
                  <a:pt x="4139" y="813"/>
                  <a:pt x="4145" y="809"/>
                  <a:pt x="4145" y="801"/>
                </a:cubicBezTo>
                <a:cubicBezTo>
                  <a:pt x="4145" y="793"/>
                  <a:pt x="4152" y="786"/>
                  <a:pt x="4158" y="783"/>
                </a:cubicBezTo>
                <a:cubicBezTo>
                  <a:pt x="4164" y="780"/>
                  <a:pt x="4167" y="775"/>
                  <a:pt x="4171" y="771"/>
                </a:cubicBezTo>
                <a:cubicBezTo>
                  <a:pt x="4173" y="770"/>
                  <a:pt x="4174" y="768"/>
                  <a:pt x="4175" y="767"/>
                </a:cubicBezTo>
                <a:cubicBezTo>
                  <a:pt x="4177" y="769"/>
                  <a:pt x="4180" y="771"/>
                  <a:pt x="4183" y="772"/>
                </a:cubicBezTo>
                <a:cubicBezTo>
                  <a:pt x="4188" y="774"/>
                  <a:pt x="4193" y="775"/>
                  <a:pt x="4198" y="775"/>
                </a:cubicBezTo>
                <a:cubicBezTo>
                  <a:pt x="4203" y="775"/>
                  <a:pt x="4209" y="774"/>
                  <a:pt x="4212" y="769"/>
                </a:cubicBezTo>
                <a:cubicBezTo>
                  <a:pt x="4217" y="761"/>
                  <a:pt x="4247" y="731"/>
                  <a:pt x="4265" y="714"/>
                </a:cubicBezTo>
                <a:cubicBezTo>
                  <a:pt x="4285" y="697"/>
                  <a:pt x="4293" y="676"/>
                  <a:pt x="4297" y="656"/>
                </a:cubicBezTo>
                <a:cubicBezTo>
                  <a:pt x="4299" y="651"/>
                  <a:pt x="4300" y="646"/>
                  <a:pt x="4302" y="641"/>
                </a:cubicBezTo>
                <a:cubicBezTo>
                  <a:pt x="4302" y="643"/>
                  <a:pt x="4302" y="645"/>
                  <a:pt x="4302" y="646"/>
                </a:cubicBezTo>
                <a:cubicBezTo>
                  <a:pt x="4302" y="649"/>
                  <a:pt x="4302" y="653"/>
                  <a:pt x="4301" y="656"/>
                </a:cubicBezTo>
                <a:cubicBezTo>
                  <a:pt x="4301" y="660"/>
                  <a:pt x="4301" y="665"/>
                  <a:pt x="4301" y="671"/>
                </a:cubicBezTo>
                <a:cubicBezTo>
                  <a:pt x="4301" y="679"/>
                  <a:pt x="4301" y="687"/>
                  <a:pt x="4302" y="694"/>
                </a:cubicBezTo>
                <a:cubicBezTo>
                  <a:pt x="4302" y="698"/>
                  <a:pt x="4302" y="701"/>
                  <a:pt x="4303" y="703"/>
                </a:cubicBezTo>
                <a:cubicBezTo>
                  <a:pt x="4303" y="706"/>
                  <a:pt x="4303" y="708"/>
                  <a:pt x="4305" y="710"/>
                </a:cubicBezTo>
                <a:cubicBezTo>
                  <a:pt x="4306" y="713"/>
                  <a:pt x="4309" y="716"/>
                  <a:pt x="4312" y="719"/>
                </a:cubicBezTo>
                <a:cubicBezTo>
                  <a:pt x="4315" y="722"/>
                  <a:pt x="4319" y="725"/>
                  <a:pt x="4325" y="725"/>
                </a:cubicBezTo>
                <a:cubicBezTo>
                  <a:pt x="4326" y="725"/>
                  <a:pt x="4328" y="724"/>
                  <a:pt x="4330" y="724"/>
                </a:cubicBezTo>
                <a:cubicBezTo>
                  <a:pt x="4336" y="720"/>
                  <a:pt x="4335" y="715"/>
                  <a:pt x="4335" y="712"/>
                </a:cubicBezTo>
                <a:cubicBezTo>
                  <a:pt x="4335" y="706"/>
                  <a:pt x="4334" y="700"/>
                  <a:pt x="4333" y="694"/>
                </a:cubicBezTo>
                <a:cubicBezTo>
                  <a:pt x="4332" y="688"/>
                  <a:pt x="4331" y="683"/>
                  <a:pt x="4331" y="682"/>
                </a:cubicBezTo>
                <a:cubicBezTo>
                  <a:pt x="4331" y="682"/>
                  <a:pt x="4331" y="682"/>
                  <a:pt x="4331" y="681"/>
                </a:cubicBezTo>
                <a:cubicBezTo>
                  <a:pt x="4333" y="677"/>
                  <a:pt x="4338" y="673"/>
                  <a:pt x="4339" y="673"/>
                </a:cubicBezTo>
                <a:cubicBezTo>
                  <a:pt x="4343" y="672"/>
                  <a:pt x="4344" y="669"/>
                  <a:pt x="4345" y="667"/>
                </a:cubicBezTo>
                <a:cubicBezTo>
                  <a:pt x="4345" y="665"/>
                  <a:pt x="4345" y="663"/>
                  <a:pt x="4345" y="661"/>
                </a:cubicBezTo>
                <a:cubicBezTo>
                  <a:pt x="4345" y="652"/>
                  <a:pt x="4342" y="638"/>
                  <a:pt x="4337" y="630"/>
                </a:cubicBezTo>
                <a:cubicBezTo>
                  <a:pt x="4334" y="625"/>
                  <a:pt x="4331" y="622"/>
                  <a:pt x="4329" y="619"/>
                </a:cubicBezTo>
                <a:cubicBezTo>
                  <a:pt x="4329" y="619"/>
                  <a:pt x="4329" y="619"/>
                  <a:pt x="4329" y="619"/>
                </a:cubicBezTo>
                <a:cubicBezTo>
                  <a:pt x="4331" y="618"/>
                  <a:pt x="4332" y="616"/>
                  <a:pt x="4333" y="614"/>
                </a:cubicBezTo>
                <a:cubicBezTo>
                  <a:pt x="4335" y="611"/>
                  <a:pt x="4336" y="608"/>
                  <a:pt x="4336" y="604"/>
                </a:cubicBezTo>
                <a:cubicBezTo>
                  <a:pt x="4336" y="602"/>
                  <a:pt x="4336" y="599"/>
                  <a:pt x="4333" y="597"/>
                </a:cubicBezTo>
                <a:cubicBezTo>
                  <a:pt x="4333" y="596"/>
                  <a:pt x="4333" y="594"/>
                  <a:pt x="4332" y="592"/>
                </a:cubicBezTo>
                <a:cubicBezTo>
                  <a:pt x="4332" y="590"/>
                  <a:pt x="4328" y="585"/>
                  <a:pt x="4323" y="585"/>
                </a:cubicBezTo>
                <a:cubicBezTo>
                  <a:pt x="4321" y="585"/>
                  <a:pt x="4320" y="585"/>
                  <a:pt x="4318" y="586"/>
                </a:cubicBezTo>
                <a:cubicBezTo>
                  <a:pt x="4318" y="586"/>
                  <a:pt x="4312" y="586"/>
                  <a:pt x="4306" y="587"/>
                </a:cubicBezTo>
                <a:cubicBezTo>
                  <a:pt x="4304" y="587"/>
                  <a:pt x="4302" y="588"/>
                  <a:pt x="4300" y="589"/>
                </a:cubicBezTo>
                <a:cubicBezTo>
                  <a:pt x="4296" y="582"/>
                  <a:pt x="4290" y="577"/>
                  <a:pt x="4282" y="577"/>
                </a:cubicBezTo>
                <a:cubicBezTo>
                  <a:pt x="4281" y="577"/>
                  <a:pt x="4280" y="577"/>
                  <a:pt x="4279" y="577"/>
                </a:cubicBezTo>
                <a:cubicBezTo>
                  <a:pt x="4266" y="579"/>
                  <a:pt x="4261" y="585"/>
                  <a:pt x="4254" y="585"/>
                </a:cubicBezTo>
                <a:cubicBezTo>
                  <a:pt x="4254" y="585"/>
                  <a:pt x="4254" y="584"/>
                  <a:pt x="4254" y="583"/>
                </a:cubicBezTo>
                <a:cubicBezTo>
                  <a:pt x="4254" y="581"/>
                  <a:pt x="4254" y="578"/>
                  <a:pt x="4254" y="576"/>
                </a:cubicBezTo>
                <a:cubicBezTo>
                  <a:pt x="4254" y="574"/>
                  <a:pt x="4254" y="573"/>
                  <a:pt x="4253" y="571"/>
                </a:cubicBezTo>
                <a:cubicBezTo>
                  <a:pt x="4253" y="569"/>
                  <a:pt x="4250" y="566"/>
                  <a:pt x="4246" y="566"/>
                </a:cubicBezTo>
                <a:cubicBezTo>
                  <a:pt x="4242" y="566"/>
                  <a:pt x="4241" y="568"/>
                  <a:pt x="4239" y="569"/>
                </a:cubicBezTo>
                <a:cubicBezTo>
                  <a:pt x="4237" y="571"/>
                  <a:pt x="4235" y="573"/>
                  <a:pt x="4233" y="575"/>
                </a:cubicBezTo>
                <a:cubicBezTo>
                  <a:pt x="4232" y="576"/>
                  <a:pt x="4232" y="576"/>
                  <a:pt x="4231" y="576"/>
                </a:cubicBezTo>
                <a:cubicBezTo>
                  <a:pt x="4231" y="576"/>
                  <a:pt x="4232" y="575"/>
                  <a:pt x="4233" y="574"/>
                </a:cubicBezTo>
                <a:cubicBezTo>
                  <a:pt x="4237" y="569"/>
                  <a:pt x="4250" y="561"/>
                  <a:pt x="4261" y="557"/>
                </a:cubicBezTo>
                <a:cubicBezTo>
                  <a:pt x="4272" y="552"/>
                  <a:pt x="4283" y="540"/>
                  <a:pt x="4294" y="529"/>
                </a:cubicBezTo>
                <a:cubicBezTo>
                  <a:pt x="4300" y="524"/>
                  <a:pt x="4305" y="519"/>
                  <a:pt x="4309" y="515"/>
                </a:cubicBezTo>
                <a:cubicBezTo>
                  <a:pt x="4313" y="511"/>
                  <a:pt x="4317" y="509"/>
                  <a:pt x="4317" y="509"/>
                </a:cubicBezTo>
                <a:cubicBezTo>
                  <a:pt x="4319" y="509"/>
                  <a:pt x="4321" y="509"/>
                  <a:pt x="4323" y="509"/>
                </a:cubicBezTo>
                <a:cubicBezTo>
                  <a:pt x="4334" y="509"/>
                  <a:pt x="4352" y="511"/>
                  <a:pt x="4371" y="511"/>
                </a:cubicBezTo>
                <a:cubicBezTo>
                  <a:pt x="4375" y="511"/>
                  <a:pt x="4379" y="511"/>
                  <a:pt x="4383" y="511"/>
                </a:cubicBezTo>
                <a:cubicBezTo>
                  <a:pt x="4404" y="509"/>
                  <a:pt x="4416" y="501"/>
                  <a:pt x="4418" y="502"/>
                </a:cubicBezTo>
                <a:cubicBezTo>
                  <a:pt x="4419" y="502"/>
                  <a:pt x="4419" y="502"/>
                  <a:pt x="4420" y="502"/>
                </a:cubicBezTo>
                <a:cubicBezTo>
                  <a:pt x="4429" y="510"/>
                  <a:pt x="4444" y="517"/>
                  <a:pt x="4457" y="518"/>
                </a:cubicBezTo>
                <a:cubicBezTo>
                  <a:pt x="4458" y="518"/>
                  <a:pt x="4459" y="518"/>
                  <a:pt x="4460" y="517"/>
                </a:cubicBezTo>
                <a:cubicBezTo>
                  <a:pt x="4465" y="517"/>
                  <a:pt x="4468" y="517"/>
                  <a:pt x="4472" y="514"/>
                </a:cubicBezTo>
                <a:cubicBezTo>
                  <a:pt x="4475" y="512"/>
                  <a:pt x="4477" y="509"/>
                  <a:pt x="4485" y="502"/>
                </a:cubicBezTo>
                <a:cubicBezTo>
                  <a:pt x="4501" y="489"/>
                  <a:pt x="4516" y="482"/>
                  <a:pt x="4525" y="469"/>
                </a:cubicBezTo>
                <a:cubicBezTo>
                  <a:pt x="4529" y="464"/>
                  <a:pt x="4540" y="458"/>
                  <a:pt x="4545" y="459"/>
                </a:cubicBezTo>
                <a:cubicBezTo>
                  <a:pt x="4545" y="459"/>
                  <a:pt x="4544" y="459"/>
                  <a:pt x="4545" y="459"/>
                </a:cubicBezTo>
                <a:cubicBezTo>
                  <a:pt x="4545" y="460"/>
                  <a:pt x="4544" y="462"/>
                  <a:pt x="4544" y="464"/>
                </a:cubicBezTo>
                <a:cubicBezTo>
                  <a:pt x="4544" y="465"/>
                  <a:pt x="4544" y="467"/>
                  <a:pt x="4544" y="468"/>
                </a:cubicBezTo>
                <a:cubicBezTo>
                  <a:pt x="4544" y="472"/>
                  <a:pt x="4545" y="475"/>
                  <a:pt x="4546" y="479"/>
                </a:cubicBezTo>
                <a:cubicBezTo>
                  <a:pt x="4548" y="483"/>
                  <a:pt x="4553" y="486"/>
                  <a:pt x="4558" y="486"/>
                </a:cubicBezTo>
                <a:cubicBezTo>
                  <a:pt x="4559" y="486"/>
                  <a:pt x="4560" y="486"/>
                  <a:pt x="4560" y="486"/>
                </a:cubicBezTo>
                <a:cubicBezTo>
                  <a:pt x="4556" y="489"/>
                  <a:pt x="4553" y="491"/>
                  <a:pt x="4551" y="493"/>
                </a:cubicBezTo>
                <a:cubicBezTo>
                  <a:pt x="4547" y="496"/>
                  <a:pt x="4537" y="500"/>
                  <a:pt x="4527" y="504"/>
                </a:cubicBezTo>
                <a:cubicBezTo>
                  <a:pt x="4517" y="509"/>
                  <a:pt x="4506" y="515"/>
                  <a:pt x="4499" y="525"/>
                </a:cubicBezTo>
                <a:cubicBezTo>
                  <a:pt x="4489" y="539"/>
                  <a:pt x="4481" y="547"/>
                  <a:pt x="4481" y="564"/>
                </a:cubicBezTo>
                <a:cubicBezTo>
                  <a:pt x="4481" y="566"/>
                  <a:pt x="4481" y="567"/>
                  <a:pt x="4481" y="568"/>
                </a:cubicBezTo>
                <a:cubicBezTo>
                  <a:pt x="4482" y="586"/>
                  <a:pt x="4495" y="604"/>
                  <a:pt x="4495" y="616"/>
                </a:cubicBezTo>
                <a:cubicBezTo>
                  <a:pt x="4495" y="619"/>
                  <a:pt x="4494" y="621"/>
                  <a:pt x="4493" y="623"/>
                </a:cubicBezTo>
                <a:cubicBezTo>
                  <a:pt x="4483" y="641"/>
                  <a:pt x="4480" y="665"/>
                  <a:pt x="4480" y="665"/>
                </a:cubicBezTo>
                <a:cubicBezTo>
                  <a:pt x="4479" y="668"/>
                  <a:pt x="4481" y="671"/>
                  <a:pt x="4484" y="671"/>
                </a:cubicBezTo>
                <a:cubicBezTo>
                  <a:pt x="4487" y="673"/>
                  <a:pt x="4490" y="671"/>
                  <a:pt x="4491" y="669"/>
                </a:cubicBezTo>
                <a:cubicBezTo>
                  <a:pt x="4491" y="669"/>
                  <a:pt x="4494" y="663"/>
                  <a:pt x="4500" y="656"/>
                </a:cubicBezTo>
                <a:cubicBezTo>
                  <a:pt x="4506" y="648"/>
                  <a:pt x="4514" y="639"/>
                  <a:pt x="4523" y="632"/>
                </a:cubicBezTo>
                <a:cubicBezTo>
                  <a:pt x="4544" y="616"/>
                  <a:pt x="4556" y="594"/>
                  <a:pt x="4562" y="587"/>
                </a:cubicBezTo>
                <a:cubicBezTo>
                  <a:pt x="4563" y="585"/>
                  <a:pt x="4570" y="582"/>
                  <a:pt x="4576" y="579"/>
                </a:cubicBezTo>
                <a:cubicBezTo>
                  <a:pt x="4579" y="578"/>
                  <a:pt x="4582" y="577"/>
                  <a:pt x="4585" y="575"/>
                </a:cubicBezTo>
                <a:cubicBezTo>
                  <a:pt x="4588" y="572"/>
                  <a:pt x="4591" y="569"/>
                  <a:pt x="4591" y="564"/>
                </a:cubicBezTo>
                <a:cubicBezTo>
                  <a:pt x="4591" y="556"/>
                  <a:pt x="4596" y="544"/>
                  <a:pt x="4600" y="532"/>
                </a:cubicBezTo>
                <a:cubicBezTo>
                  <a:pt x="4600" y="530"/>
                  <a:pt x="4601" y="528"/>
                  <a:pt x="4601" y="527"/>
                </a:cubicBezTo>
                <a:cubicBezTo>
                  <a:pt x="4601" y="523"/>
                  <a:pt x="4599" y="520"/>
                  <a:pt x="4598" y="518"/>
                </a:cubicBezTo>
                <a:cubicBezTo>
                  <a:pt x="4598" y="517"/>
                  <a:pt x="4598" y="517"/>
                  <a:pt x="4598" y="517"/>
                </a:cubicBezTo>
                <a:close/>
                <a:moveTo>
                  <a:pt x="2891" y="398"/>
                </a:moveTo>
                <a:cubicBezTo>
                  <a:pt x="2900" y="398"/>
                  <a:pt x="2910" y="397"/>
                  <a:pt x="2921" y="393"/>
                </a:cubicBezTo>
                <a:cubicBezTo>
                  <a:pt x="2919" y="397"/>
                  <a:pt x="2919" y="401"/>
                  <a:pt x="2919" y="405"/>
                </a:cubicBezTo>
                <a:cubicBezTo>
                  <a:pt x="2919" y="406"/>
                  <a:pt x="2919" y="407"/>
                  <a:pt x="2919" y="408"/>
                </a:cubicBezTo>
                <a:cubicBezTo>
                  <a:pt x="2919" y="410"/>
                  <a:pt x="2919" y="411"/>
                  <a:pt x="2919" y="412"/>
                </a:cubicBezTo>
                <a:cubicBezTo>
                  <a:pt x="2915" y="413"/>
                  <a:pt x="2914" y="415"/>
                  <a:pt x="2912" y="414"/>
                </a:cubicBezTo>
                <a:cubicBezTo>
                  <a:pt x="2910" y="414"/>
                  <a:pt x="2908" y="414"/>
                  <a:pt x="2903" y="410"/>
                </a:cubicBezTo>
                <a:cubicBezTo>
                  <a:pt x="2897" y="406"/>
                  <a:pt x="2893" y="404"/>
                  <a:pt x="2888" y="403"/>
                </a:cubicBezTo>
                <a:cubicBezTo>
                  <a:pt x="2885" y="403"/>
                  <a:pt x="2882" y="405"/>
                  <a:pt x="2881" y="407"/>
                </a:cubicBezTo>
                <a:cubicBezTo>
                  <a:pt x="2880" y="408"/>
                  <a:pt x="2879" y="409"/>
                  <a:pt x="2879" y="409"/>
                </a:cubicBezTo>
                <a:cubicBezTo>
                  <a:pt x="2878" y="410"/>
                  <a:pt x="2871" y="414"/>
                  <a:pt x="2868" y="415"/>
                </a:cubicBezTo>
                <a:cubicBezTo>
                  <a:pt x="2868" y="415"/>
                  <a:pt x="2868" y="414"/>
                  <a:pt x="2868" y="414"/>
                </a:cubicBezTo>
                <a:cubicBezTo>
                  <a:pt x="2868" y="412"/>
                  <a:pt x="2868" y="410"/>
                  <a:pt x="2868" y="408"/>
                </a:cubicBezTo>
                <a:cubicBezTo>
                  <a:pt x="2868" y="406"/>
                  <a:pt x="2868" y="406"/>
                  <a:pt x="2868" y="406"/>
                </a:cubicBezTo>
                <a:cubicBezTo>
                  <a:pt x="2868" y="403"/>
                  <a:pt x="2868" y="398"/>
                  <a:pt x="2865" y="394"/>
                </a:cubicBezTo>
                <a:cubicBezTo>
                  <a:pt x="2873" y="396"/>
                  <a:pt x="2881" y="398"/>
                  <a:pt x="2891" y="398"/>
                </a:cubicBezTo>
                <a:close/>
                <a:moveTo>
                  <a:pt x="2805" y="472"/>
                </a:moveTo>
                <a:cubicBezTo>
                  <a:pt x="2806" y="469"/>
                  <a:pt x="2806" y="469"/>
                  <a:pt x="2808" y="469"/>
                </a:cubicBezTo>
                <a:cubicBezTo>
                  <a:pt x="2811" y="469"/>
                  <a:pt x="2816" y="471"/>
                  <a:pt x="2820" y="474"/>
                </a:cubicBezTo>
                <a:cubicBezTo>
                  <a:pt x="2822" y="475"/>
                  <a:pt x="2823" y="477"/>
                  <a:pt x="2824" y="479"/>
                </a:cubicBezTo>
                <a:cubicBezTo>
                  <a:pt x="2825" y="480"/>
                  <a:pt x="2825" y="480"/>
                  <a:pt x="2826" y="481"/>
                </a:cubicBezTo>
                <a:cubicBezTo>
                  <a:pt x="2826" y="481"/>
                  <a:pt x="2825" y="481"/>
                  <a:pt x="2825" y="481"/>
                </a:cubicBezTo>
                <a:cubicBezTo>
                  <a:pt x="2825" y="481"/>
                  <a:pt x="2824" y="482"/>
                  <a:pt x="2822" y="482"/>
                </a:cubicBezTo>
                <a:cubicBezTo>
                  <a:pt x="2819" y="482"/>
                  <a:pt x="2813" y="480"/>
                  <a:pt x="2809" y="478"/>
                </a:cubicBezTo>
                <a:cubicBezTo>
                  <a:pt x="2806" y="476"/>
                  <a:pt x="2804" y="473"/>
                  <a:pt x="2804" y="472"/>
                </a:cubicBezTo>
                <a:cubicBezTo>
                  <a:pt x="2804" y="472"/>
                  <a:pt x="2804" y="472"/>
                  <a:pt x="2804" y="472"/>
                </a:cubicBezTo>
                <a:cubicBezTo>
                  <a:pt x="2799" y="470"/>
                  <a:pt x="2799" y="470"/>
                  <a:pt x="2799" y="470"/>
                </a:cubicBezTo>
                <a:lnTo>
                  <a:pt x="2805" y="472"/>
                </a:lnTo>
                <a:close/>
                <a:moveTo>
                  <a:pt x="2773" y="756"/>
                </a:moveTo>
                <a:cubicBezTo>
                  <a:pt x="2781" y="749"/>
                  <a:pt x="2789" y="735"/>
                  <a:pt x="2796" y="721"/>
                </a:cubicBezTo>
                <a:cubicBezTo>
                  <a:pt x="2801" y="711"/>
                  <a:pt x="2806" y="710"/>
                  <a:pt x="2809" y="710"/>
                </a:cubicBezTo>
                <a:cubicBezTo>
                  <a:pt x="2810" y="710"/>
                  <a:pt x="2810" y="710"/>
                  <a:pt x="2811" y="710"/>
                </a:cubicBezTo>
                <a:cubicBezTo>
                  <a:pt x="2812" y="711"/>
                  <a:pt x="2817" y="717"/>
                  <a:pt x="2820" y="723"/>
                </a:cubicBezTo>
                <a:cubicBezTo>
                  <a:pt x="2824" y="730"/>
                  <a:pt x="2828" y="738"/>
                  <a:pt x="2829" y="741"/>
                </a:cubicBezTo>
                <a:cubicBezTo>
                  <a:pt x="2830" y="745"/>
                  <a:pt x="2835" y="748"/>
                  <a:pt x="2839" y="748"/>
                </a:cubicBezTo>
                <a:cubicBezTo>
                  <a:pt x="2844" y="748"/>
                  <a:pt x="2847" y="745"/>
                  <a:pt x="2850" y="743"/>
                </a:cubicBezTo>
                <a:cubicBezTo>
                  <a:pt x="2853" y="741"/>
                  <a:pt x="2856" y="739"/>
                  <a:pt x="2857" y="739"/>
                </a:cubicBezTo>
                <a:cubicBezTo>
                  <a:pt x="2864" y="734"/>
                  <a:pt x="2871" y="726"/>
                  <a:pt x="2873" y="716"/>
                </a:cubicBezTo>
                <a:cubicBezTo>
                  <a:pt x="2873" y="716"/>
                  <a:pt x="2874" y="714"/>
                  <a:pt x="2877" y="713"/>
                </a:cubicBezTo>
                <a:cubicBezTo>
                  <a:pt x="2879" y="712"/>
                  <a:pt x="2881" y="711"/>
                  <a:pt x="2884" y="711"/>
                </a:cubicBezTo>
                <a:cubicBezTo>
                  <a:pt x="2883" y="712"/>
                  <a:pt x="2882" y="712"/>
                  <a:pt x="2881" y="712"/>
                </a:cubicBezTo>
                <a:cubicBezTo>
                  <a:pt x="2879" y="713"/>
                  <a:pt x="2877" y="714"/>
                  <a:pt x="2876" y="715"/>
                </a:cubicBezTo>
                <a:cubicBezTo>
                  <a:pt x="2874" y="717"/>
                  <a:pt x="2873" y="719"/>
                  <a:pt x="2873" y="722"/>
                </a:cubicBezTo>
                <a:cubicBezTo>
                  <a:pt x="2873" y="727"/>
                  <a:pt x="2876" y="729"/>
                  <a:pt x="2879" y="731"/>
                </a:cubicBezTo>
                <a:cubicBezTo>
                  <a:pt x="2882" y="734"/>
                  <a:pt x="2886" y="736"/>
                  <a:pt x="2891" y="738"/>
                </a:cubicBezTo>
                <a:cubicBezTo>
                  <a:pt x="2903" y="742"/>
                  <a:pt x="2915" y="757"/>
                  <a:pt x="2931" y="767"/>
                </a:cubicBezTo>
                <a:cubicBezTo>
                  <a:pt x="2939" y="772"/>
                  <a:pt x="2942" y="780"/>
                  <a:pt x="2942" y="785"/>
                </a:cubicBezTo>
                <a:cubicBezTo>
                  <a:pt x="2942" y="788"/>
                  <a:pt x="2941" y="788"/>
                  <a:pt x="2941" y="788"/>
                </a:cubicBezTo>
                <a:cubicBezTo>
                  <a:pt x="2941" y="788"/>
                  <a:pt x="2941" y="788"/>
                  <a:pt x="2941" y="788"/>
                </a:cubicBezTo>
                <a:cubicBezTo>
                  <a:pt x="2935" y="790"/>
                  <a:pt x="2915" y="793"/>
                  <a:pt x="2903" y="792"/>
                </a:cubicBezTo>
                <a:cubicBezTo>
                  <a:pt x="2900" y="792"/>
                  <a:pt x="2898" y="792"/>
                  <a:pt x="2896" y="792"/>
                </a:cubicBezTo>
                <a:cubicBezTo>
                  <a:pt x="2889" y="792"/>
                  <a:pt x="2876" y="779"/>
                  <a:pt x="2859" y="776"/>
                </a:cubicBezTo>
                <a:cubicBezTo>
                  <a:pt x="2854" y="775"/>
                  <a:pt x="2849" y="774"/>
                  <a:pt x="2844" y="774"/>
                </a:cubicBezTo>
                <a:cubicBezTo>
                  <a:pt x="2832" y="774"/>
                  <a:pt x="2820" y="777"/>
                  <a:pt x="2813" y="787"/>
                </a:cubicBezTo>
                <a:cubicBezTo>
                  <a:pt x="2813" y="788"/>
                  <a:pt x="2808" y="790"/>
                  <a:pt x="2800" y="790"/>
                </a:cubicBezTo>
                <a:cubicBezTo>
                  <a:pt x="2794" y="790"/>
                  <a:pt x="2788" y="789"/>
                  <a:pt x="2783" y="789"/>
                </a:cubicBezTo>
                <a:cubicBezTo>
                  <a:pt x="2776" y="789"/>
                  <a:pt x="2772" y="793"/>
                  <a:pt x="2768" y="795"/>
                </a:cubicBezTo>
                <a:cubicBezTo>
                  <a:pt x="2768" y="792"/>
                  <a:pt x="2769" y="788"/>
                  <a:pt x="2769" y="785"/>
                </a:cubicBezTo>
                <a:cubicBezTo>
                  <a:pt x="2769" y="780"/>
                  <a:pt x="2769" y="775"/>
                  <a:pt x="2763" y="771"/>
                </a:cubicBezTo>
                <a:cubicBezTo>
                  <a:pt x="2764" y="768"/>
                  <a:pt x="2769" y="758"/>
                  <a:pt x="2773" y="756"/>
                </a:cubicBezTo>
                <a:close/>
                <a:moveTo>
                  <a:pt x="2673" y="431"/>
                </a:moveTo>
                <a:cubicBezTo>
                  <a:pt x="2681" y="422"/>
                  <a:pt x="2684" y="414"/>
                  <a:pt x="2684" y="407"/>
                </a:cubicBezTo>
                <a:cubicBezTo>
                  <a:pt x="2684" y="405"/>
                  <a:pt x="2683" y="402"/>
                  <a:pt x="2683" y="401"/>
                </a:cubicBezTo>
                <a:cubicBezTo>
                  <a:pt x="2684" y="400"/>
                  <a:pt x="2685" y="400"/>
                  <a:pt x="2686" y="400"/>
                </a:cubicBezTo>
                <a:cubicBezTo>
                  <a:pt x="2695" y="400"/>
                  <a:pt x="2703" y="399"/>
                  <a:pt x="2710" y="399"/>
                </a:cubicBezTo>
                <a:cubicBezTo>
                  <a:pt x="2713" y="399"/>
                  <a:pt x="2716" y="399"/>
                  <a:pt x="2719" y="400"/>
                </a:cubicBezTo>
                <a:cubicBezTo>
                  <a:pt x="2716" y="403"/>
                  <a:pt x="2710" y="408"/>
                  <a:pt x="2704" y="412"/>
                </a:cubicBezTo>
                <a:cubicBezTo>
                  <a:pt x="2695" y="418"/>
                  <a:pt x="2685" y="425"/>
                  <a:pt x="2677" y="429"/>
                </a:cubicBezTo>
                <a:cubicBezTo>
                  <a:pt x="2676" y="430"/>
                  <a:pt x="2674" y="431"/>
                  <a:pt x="2673" y="432"/>
                </a:cubicBezTo>
                <a:cubicBezTo>
                  <a:pt x="2673" y="432"/>
                  <a:pt x="2673" y="431"/>
                  <a:pt x="2673" y="431"/>
                </a:cubicBezTo>
                <a:close/>
                <a:moveTo>
                  <a:pt x="2518" y="522"/>
                </a:moveTo>
                <a:cubicBezTo>
                  <a:pt x="2518" y="521"/>
                  <a:pt x="2520" y="517"/>
                  <a:pt x="2523" y="514"/>
                </a:cubicBezTo>
                <a:cubicBezTo>
                  <a:pt x="2524" y="513"/>
                  <a:pt x="2525" y="512"/>
                  <a:pt x="2526" y="511"/>
                </a:cubicBezTo>
                <a:cubicBezTo>
                  <a:pt x="2527" y="517"/>
                  <a:pt x="2530" y="523"/>
                  <a:pt x="2532" y="529"/>
                </a:cubicBezTo>
                <a:cubicBezTo>
                  <a:pt x="2534" y="536"/>
                  <a:pt x="2537" y="542"/>
                  <a:pt x="2536" y="545"/>
                </a:cubicBezTo>
                <a:cubicBezTo>
                  <a:pt x="2536" y="545"/>
                  <a:pt x="2536" y="546"/>
                  <a:pt x="2536" y="546"/>
                </a:cubicBezTo>
                <a:cubicBezTo>
                  <a:pt x="2536" y="548"/>
                  <a:pt x="2535" y="551"/>
                  <a:pt x="2535" y="553"/>
                </a:cubicBezTo>
                <a:cubicBezTo>
                  <a:pt x="2535" y="557"/>
                  <a:pt x="2536" y="560"/>
                  <a:pt x="2538" y="563"/>
                </a:cubicBezTo>
                <a:cubicBezTo>
                  <a:pt x="2540" y="566"/>
                  <a:pt x="2544" y="569"/>
                  <a:pt x="2549" y="569"/>
                </a:cubicBezTo>
                <a:cubicBezTo>
                  <a:pt x="2549" y="569"/>
                  <a:pt x="2550" y="569"/>
                  <a:pt x="2551" y="568"/>
                </a:cubicBezTo>
                <a:cubicBezTo>
                  <a:pt x="2560" y="567"/>
                  <a:pt x="2602" y="556"/>
                  <a:pt x="2602" y="556"/>
                </a:cubicBezTo>
                <a:cubicBezTo>
                  <a:pt x="2604" y="555"/>
                  <a:pt x="2604" y="555"/>
                  <a:pt x="2604" y="555"/>
                </a:cubicBezTo>
                <a:cubicBezTo>
                  <a:pt x="2604" y="555"/>
                  <a:pt x="2618" y="549"/>
                  <a:pt x="2619" y="534"/>
                </a:cubicBezTo>
                <a:cubicBezTo>
                  <a:pt x="2619" y="533"/>
                  <a:pt x="2619" y="532"/>
                  <a:pt x="2618" y="531"/>
                </a:cubicBezTo>
                <a:cubicBezTo>
                  <a:pt x="2618" y="531"/>
                  <a:pt x="2618" y="530"/>
                  <a:pt x="2618" y="530"/>
                </a:cubicBezTo>
                <a:cubicBezTo>
                  <a:pt x="2618" y="527"/>
                  <a:pt x="2621" y="522"/>
                  <a:pt x="2625" y="517"/>
                </a:cubicBezTo>
                <a:cubicBezTo>
                  <a:pt x="2629" y="512"/>
                  <a:pt x="2633" y="508"/>
                  <a:pt x="2635" y="506"/>
                </a:cubicBezTo>
                <a:cubicBezTo>
                  <a:pt x="2638" y="502"/>
                  <a:pt x="2645" y="495"/>
                  <a:pt x="2645" y="485"/>
                </a:cubicBezTo>
                <a:cubicBezTo>
                  <a:pt x="2645" y="479"/>
                  <a:pt x="2641" y="472"/>
                  <a:pt x="2634" y="470"/>
                </a:cubicBezTo>
                <a:cubicBezTo>
                  <a:pt x="2629" y="468"/>
                  <a:pt x="2624" y="467"/>
                  <a:pt x="2622" y="465"/>
                </a:cubicBezTo>
                <a:cubicBezTo>
                  <a:pt x="2621" y="465"/>
                  <a:pt x="2620" y="464"/>
                  <a:pt x="2620" y="464"/>
                </a:cubicBezTo>
                <a:cubicBezTo>
                  <a:pt x="2620" y="464"/>
                  <a:pt x="2620" y="463"/>
                  <a:pt x="2621" y="463"/>
                </a:cubicBezTo>
                <a:cubicBezTo>
                  <a:pt x="2622" y="461"/>
                  <a:pt x="2623" y="459"/>
                  <a:pt x="2626" y="456"/>
                </a:cubicBezTo>
                <a:cubicBezTo>
                  <a:pt x="2633" y="449"/>
                  <a:pt x="2636" y="450"/>
                  <a:pt x="2644" y="449"/>
                </a:cubicBezTo>
                <a:cubicBezTo>
                  <a:pt x="2651" y="448"/>
                  <a:pt x="2659" y="446"/>
                  <a:pt x="2667" y="438"/>
                </a:cubicBezTo>
                <a:cubicBezTo>
                  <a:pt x="2664" y="442"/>
                  <a:pt x="2663" y="447"/>
                  <a:pt x="2663" y="452"/>
                </a:cubicBezTo>
                <a:cubicBezTo>
                  <a:pt x="2663" y="459"/>
                  <a:pt x="2665" y="465"/>
                  <a:pt x="2669" y="469"/>
                </a:cubicBezTo>
                <a:cubicBezTo>
                  <a:pt x="2670" y="472"/>
                  <a:pt x="2672" y="478"/>
                  <a:pt x="2675" y="484"/>
                </a:cubicBezTo>
                <a:cubicBezTo>
                  <a:pt x="2676" y="487"/>
                  <a:pt x="2678" y="490"/>
                  <a:pt x="2680" y="492"/>
                </a:cubicBezTo>
                <a:cubicBezTo>
                  <a:pt x="2682" y="495"/>
                  <a:pt x="2686" y="497"/>
                  <a:pt x="2690" y="497"/>
                </a:cubicBezTo>
                <a:cubicBezTo>
                  <a:pt x="2691" y="497"/>
                  <a:pt x="2692" y="497"/>
                  <a:pt x="2693" y="497"/>
                </a:cubicBezTo>
                <a:cubicBezTo>
                  <a:pt x="2705" y="493"/>
                  <a:pt x="2716" y="485"/>
                  <a:pt x="2724" y="486"/>
                </a:cubicBezTo>
                <a:cubicBezTo>
                  <a:pt x="2725" y="486"/>
                  <a:pt x="2725" y="486"/>
                  <a:pt x="2726" y="486"/>
                </a:cubicBezTo>
                <a:cubicBezTo>
                  <a:pt x="2728" y="486"/>
                  <a:pt x="2731" y="486"/>
                  <a:pt x="2734" y="486"/>
                </a:cubicBezTo>
                <a:cubicBezTo>
                  <a:pt x="2745" y="486"/>
                  <a:pt x="2759" y="485"/>
                  <a:pt x="2763" y="484"/>
                </a:cubicBezTo>
                <a:cubicBezTo>
                  <a:pt x="2764" y="485"/>
                  <a:pt x="2766" y="488"/>
                  <a:pt x="2768" y="490"/>
                </a:cubicBezTo>
                <a:cubicBezTo>
                  <a:pt x="2769" y="492"/>
                  <a:pt x="2770" y="494"/>
                  <a:pt x="2771" y="495"/>
                </a:cubicBezTo>
                <a:cubicBezTo>
                  <a:pt x="2764" y="497"/>
                  <a:pt x="2752" y="496"/>
                  <a:pt x="2734" y="497"/>
                </a:cubicBezTo>
                <a:cubicBezTo>
                  <a:pt x="2724" y="498"/>
                  <a:pt x="2714" y="498"/>
                  <a:pt x="2706" y="499"/>
                </a:cubicBezTo>
                <a:cubicBezTo>
                  <a:pt x="2702" y="499"/>
                  <a:pt x="2698" y="500"/>
                  <a:pt x="2695" y="500"/>
                </a:cubicBezTo>
                <a:cubicBezTo>
                  <a:pt x="2694" y="501"/>
                  <a:pt x="2692" y="501"/>
                  <a:pt x="2691" y="502"/>
                </a:cubicBezTo>
                <a:cubicBezTo>
                  <a:pt x="2689" y="503"/>
                  <a:pt x="2687" y="505"/>
                  <a:pt x="2687" y="509"/>
                </a:cubicBezTo>
                <a:cubicBezTo>
                  <a:pt x="2687" y="512"/>
                  <a:pt x="2689" y="513"/>
                  <a:pt x="2689" y="514"/>
                </a:cubicBezTo>
                <a:cubicBezTo>
                  <a:pt x="2693" y="518"/>
                  <a:pt x="2697" y="520"/>
                  <a:pt x="2701" y="523"/>
                </a:cubicBezTo>
                <a:cubicBezTo>
                  <a:pt x="2703" y="524"/>
                  <a:pt x="2704" y="525"/>
                  <a:pt x="2705" y="525"/>
                </a:cubicBezTo>
                <a:cubicBezTo>
                  <a:pt x="2704" y="526"/>
                  <a:pt x="2703" y="526"/>
                  <a:pt x="2702" y="526"/>
                </a:cubicBezTo>
                <a:cubicBezTo>
                  <a:pt x="2698" y="526"/>
                  <a:pt x="2691" y="522"/>
                  <a:pt x="2681" y="521"/>
                </a:cubicBezTo>
                <a:cubicBezTo>
                  <a:pt x="2680" y="520"/>
                  <a:pt x="2680" y="520"/>
                  <a:pt x="2679" y="520"/>
                </a:cubicBezTo>
                <a:cubicBezTo>
                  <a:pt x="2670" y="521"/>
                  <a:pt x="2665" y="528"/>
                  <a:pt x="2661" y="534"/>
                </a:cubicBezTo>
                <a:cubicBezTo>
                  <a:pt x="2657" y="541"/>
                  <a:pt x="2654" y="548"/>
                  <a:pt x="2653" y="554"/>
                </a:cubicBezTo>
                <a:cubicBezTo>
                  <a:pt x="2652" y="557"/>
                  <a:pt x="2652" y="560"/>
                  <a:pt x="2652" y="563"/>
                </a:cubicBezTo>
                <a:cubicBezTo>
                  <a:pt x="2652" y="566"/>
                  <a:pt x="2652" y="570"/>
                  <a:pt x="2652" y="572"/>
                </a:cubicBezTo>
                <a:cubicBezTo>
                  <a:pt x="2652" y="573"/>
                  <a:pt x="2652" y="574"/>
                  <a:pt x="2652" y="574"/>
                </a:cubicBezTo>
                <a:cubicBezTo>
                  <a:pt x="2651" y="574"/>
                  <a:pt x="2650" y="574"/>
                  <a:pt x="2649" y="573"/>
                </a:cubicBezTo>
                <a:cubicBezTo>
                  <a:pt x="2638" y="569"/>
                  <a:pt x="2629" y="567"/>
                  <a:pt x="2621" y="567"/>
                </a:cubicBezTo>
                <a:cubicBezTo>
                  <a:pt x="2617" y="567"/>
                  <a:pt x="2613" y="568"/>
                  <a:pt x="2609" y="570"/>
                </a:cubicBezTo>
                <a:cubicBezTo>
                  <a:pt x="2606" y="572"/>
                  <a:pt x="2592" y="577"/>
                  <a:pt x="2580" y="581"/>
                </a:cubicBezTo>
                <a:cubicBezTo>
                  <a:pt x="2579" y="582"/>
                  <a:pt x="2578" y="582"/>
                  <a:pt x="2578" y="582"/>
                </a:cubicBezTo>
                <a:cubicBezTo>
                  <a:pt x="2577" y="581"/>
                  <a:pt x="2572" y="574"/>
                  <a:pt x="2562" y="574"/>
                </a:cubicBezTo>
                <a:cubicBezTo>
                  <a:pt x="2561" y="574"/>
                  <a:pt x="2561" y="574"/>
                  <a:pt x="2561" y="574"/>
                </a:cubicBezTo>
                <a:cubicBezTo>
                  <a:pt x="2546" y="574"/>
                  <a:pt x="2546" y="574"/>
                  <a:pt x="2546" y="574"/>
                </a:cubicBezTo>
                <a:cubicBezTo>
                  <a:pt x="2545" y="574"/>
                  <a:pt x="2545" y="574"/>
                  <a:pt x="2545" y="574"/>
                </a:cubicBezTo>
                <a:cubicBezTo>
                  <a:pt x="2538" y="575"/>
                  <a:pt x="2538" y="575"/>
                  <a:pt x="2538" y="575"/>
                </a:cubicBezTo>
                <a:cubicBezTo>
                  <a:pt x="2536" y="573"/>
                  <a:pt x="2533" y="568"/>
                  <a:pt x="2532" y="563"/>
                </a:cubicBezTo>
                <a:cubicBezTo>
                  <a:pt x="2532" y="562"/>
                  <a:pt x="2532" y="562"/>
                  <a:pt x="2532" y="561"/>
                </a:cubicBezTo>
                <a:cubicBezTo>
                  <a:pt x="2532" y="555"/>
                  <a:pt x="2534" y="549"/>
                  <a:pt x="2534" y="543"/>
                </a:cubicBezTo>
                <a:cubicBezTo>
                  <a:pt x="2534" y="540"/>
                  <a:pt x="2533" y="535"/>
                  <a:pt x="2528" y="532"/>
                </a:cubicBezTo>
                <a:cubicBezTo>
                  <a:pt x="2525" y="531"/>
                  <a:pt x="2522" y="531"/>
                  <a:pt x="2520" y="531"/>
                </a:cubicBezTo>
                <a:cubicBezTo>
                  <a:pt x="2516" y="531"/>
                  <a:pt x="2513" y="531"/>
                  <a:pt x="2510" y="532"/>
                </a:cubicBezTo>
                <a:cubicBezTo>
                  <a:pt x="2513" y="530"/>
                  <a:pt x="2517" y="527"/>
                  <a:pt x="2518" y="522"/>
                </a:cubicBezTo>
                <a:close/>
                <a:moveTo>
                  <a:pt x="2636" y="804"/>
                </a:moveTo>
                <a:cubicBezTo>
                  <a:pt x="2635" y="803"/>
                  <a:pt x="2614" y="787"/>
                  <a:pt x="2605" y="782"/>
                </a:cubicBezTo>
                <a:cubicBezTo>
                  <a:pt x="2597" y="778"/>
                  <a:pt x="2583" y="770"/>
                  <a:pt x="2578" y="758"/>
                </a:cubicBezTo>
                <a:cubicBezTo>
                  <a:pt x="2573" y="750"/>
                  <a:pt x="2567" y="745"/>
                  <a:pt x="2562" y="741"/>
                </a:cubicBezTo>
                <a:cubicBezTo>
                  <a:pt x="2557" y="737"/>
                  <a:pt x="2555" y="735"/>
                  <a:pt x="2555" y="732"/>
                </a:cubicBezTo>
                <a:cubicBezTo>
                  <a:pt x="2555" y="732"/>
                  <a:pt x="2555" y="731"/>
                  <a:pt x="2555" y="731"/>
                </a:cubicBezTo>
                <a:cubicBezTo>
                  <a:pt x="2555" y="730"/>
                  <a:pt x="2555" y="730"/>
                  <a:pt x="2555" y="729"/>
                </a:cubicBezTo>
                <a:cubicBezTo>
                  <a:pt x="2555" y="729"/>
                  <a:pt x="2555" y="729"/>
                  <a:pt x="2555" y="729"/>
                </a:cubicBezTo>
                <a:cubicBezTo>
                  <a:pt x="2556" y="729"/>
                  <a:pt x="2556" y="729"/>
                  <a:pt x="2556" y="729"/>
                </a:cubicBezTo>
                <a:cubicBezTo>
                  <a:pt x="2558" y="729"/>
                  <a:pt x="2566" y="734"/>
                  <a:pt x="2571" y="740"/>
                </a:cubicBezTo>
                <a:cubicBezTo>
                  <a:pt x="2581" y="752"/>
                  <a:pt x="2604" y="767"/>
                  <a:pt x="2611" y="776"/>
                </a:cubicBezTo>
                <a:cubicBezTo>
                  <a:pt x="2621" y="787"/>
                  <a:pt x="2632" y="791"/>
                  <a:pt x="2634" y="800"/>
                </a:cubicBezTo>
                <a:cubicBezTo>
                  <a:pt x="2635" y="801"/>
                  <a:pt x="2635" y="803"/>
                  <a:pt x="2636" y="804"/>
                </a:cubicBezTo>
                <a:close/>
                <a:moveTo>
                  <a:pt x="2400" y="645"/>
                </a:moveTo>
                <a:cubicBezTo>
                  <a:pt x="2399" y="645"/>
                  <a:pt x="2399" y="645"/>
                  <a:pt x="2399" y="645"/>
                </a:cubicBezTo>
                <a:cubicBezTo>
                  <a:pt x="2398" y="648"/>
                  <a:pt x="2398" y="648"/>
                  <a:pt x="2395" y="649"/>
                </a:cubicBezTo>
                <a:cubicBezTo>
                  <a:pt x="2395" y="649"/>
                  <a:pt x="2394" y="649"/>
                  <a:pt x="2393" y="649"/>
                </a:cubicBezTo>
                <a:cubicBezTo>
                  <a:pt x="2395" y="648"/>
                  <a:pt x="2397" y="647"/>
                  <a:pt x="2400" y="645"/>
                </a:cubicBezTo>
                <a:close/>
                <a:moveTo>
                  <a:pt x="2831" y="1487"/>
                </a:moveTo>
                <a:cubicBezTo>
                  <a:pt x="2829" y="1490"/>
                  <a:pt x="2827" y="1494"/>
                  <a:pt x="2825" y="1496"/>
                </a:cubicBezTo>
                <a:cubicBezTo>
                  <a:pt x="2824" y="1497"/>
                  <a:pt x="2823" y="1497"/>
                  <a:pt x="2822" y="1498"/>
                </a:cubicBezTo>
                <a:cubicBezTo>
                  <a:pt x="2822" y="1498"/>
                  <a:pt x="2822" y="1498"/>
                  <a:pt x="2822" y="1498"/>
                </a:cubicBezTo>
                <a:cubicBezTo>
                  <a:pt x="2822" y="1497"/>
                  <a:pt x="2821" y="1496"/>
                  <a:pt x="2821" y="1494"/>
                </a:cubicBezTo>
                <a:cubicBezTo>
                  <a:pt x="2820" y="1492"/>
                  <a:pt x="2820" y="1488"/>
                  <a:pt x="2820" y="1485"/>
                </a:cubicBezTo>
                <a:cubicBezTo>
                  <a:pt x="2820" y="1477"/>
                  <a:pt x="2822" y="1467"/>
                  <a:pt x="2823" y="1465"/>
                </a:cubicBezTo>
                <a:cubicBezTo>
                  <a:pt x="2823" y="1465"/>
                  <a:pt x="2823" y="1466"/>
                  <a:pt x="2823" y="1466"/>
                </a:cubicBezTo>
                <a:cubicBezTo>
                  <a:pt x="2825" y="1464"/>
                  <a:pt x="2829" y="1464"/>
                  <a:pt x="2833" y="1464"/>
                </a:cubicBezTo>
                <a:cubicBezTo>
                  <a:pt x="2833" y="1464"/>
                  <a:pt x="2834" y="1464"/>
                  <a:pt x="2834" y="1464"/>
                </a:cubicBezTo>
                <a:cubicBezTo>
                  <a:pt x="2836" y="1464"/>
                  <a:pt x="2837" y="1463"/>
                  <a:pt x="2838" y="1464"/>
                </a:cubicBezTo>
                <a:cubicBezTo>
                  <a:pt x="2838" y="1464"/>
                  <a:pt x="2838" y="1463"/>
                  <a:pt x="2839" y="1464"/>
                </a:cubicBezTo>
                <a:cubicBezTo>
                  <a:pt x="2839" y="1464"/>
                  <a:pt x="2839" y="1464"/>
                  <a:pt x="2839" y="1465"/>
                </a:cubicBezTo>
                <a:cubicBezTo>
                  <a:pt x="2839" y="1470"/>
                  <a:pt x="2836" y="1480"/>
                  <a:pt x="2831" y="1487"/>
                </a:cubicBezTo>
                <a:close/>
                <a:moveTo>
                  <a:pt x="2836" y="953"/>
                </a:moveTo>
                <a:cubicBezTo>
                  <a:pt x="2835" y="954"/>
                  <a:pt x="2835" y="954"/>
                  <a:pt x="2835" y="954"/>
                </a:cubicBezTo>
                <a:cubicBezTo>
                  <a:pt x="2835" y="954"/>
                  <a:pt x="2835" y="955"/>
                  <a:pt x="2832" y="955"/>
                </a:cubicBezTo>
                <a:cubicBezTo>
                  <a:pt x="2829" y="955"/>
                  <a:pt x="2825" y="955"/>
                  <a:pt x="2821" y="956"/>
                </a:cubicBezTo>
                <a:cubicBezTo>
                  <a:pt x="2817" y="951"/>
                  <a:pt x="2813" y="946"/>
                  <a:pt x="2805" y="946"/>
                </a:cubicBezTo>
                <a:cubicBezTo>
                  <a:pt x="2804" y="946"/>
                  <a:pt x="2802" y="946"/>
                  <a:pt x="2801" y="947"/>
                </a:cubicBezTo>
                <a:cubicBezTo>
                  <a:pt x="2794" y="949"/>
                  <a:pt x="2785" y="950"/>
                  <a:pt x="2776" y="953"/>
                </a:cubicBezTo>
                <a:cubicBezTo>
                  <a:pt x="2776" y="953"/>
                  <a:pt x="2776" y="952"/>
                  <a:pt x="2776" y="951"/>
                </a:cubicBezTo>
                <a:cubicBezTo>
                  <a:pt x="2776" y="950"/>
                  <a:pt x="2776" y="948"/>
                  <a:pt x="2775" y="947"/>
                </a:cubicBezTo>
                <a:cubicBezTo>
                  <a:pt x="2772" y="942"/>
                  <a:pt x="2767" y="941"/>
                  <a:pt x="2763" y="940"/>
                </a:cubicBezTo>
                <a:cubicBezTo>
                  <a:pt x="2758" y="939"/>
                  <a:pt x="2753" y="939"/>
                  <a:pt x="2747" y="939"/>
                </a:cubicBezTo>
                <a:cubicBezTo>
                  <a:pt x="2738" y="939"/>
                  <a:pt x="2729" y="940"/>
                  <a:pt x="2723" y="940"/>
                </a:cubicBezTo>
                <a:cubicBezTo>
                  <a:pt x="2711" y="940"/>
                  <a:pt x="2699" y="930"/>
                  <a:pt x="2685" y="926"/>
                </a:cubicBezTo>
                <a:cubicBezTo>
                  <a:pt x="2684" y="926"/>
                  <a:pt x="2682" y="925"/>
                  <a:pt x="2681" y="925"/>
                </a:cubicBezTo>
                <a:cubicBezTo>
                  <a:pt x="2673" y="926"/>
                  <a:pt x="2666" y="930"/>
                  <a:pt x="2659" y="936"/>
                </a:cubicBezTo>
                <a:cubicBezTo>
                  <a:pt x="2653" y="942"/>
                  <a:pt x="2647" y="949"/>
                  <a:pt x="2641" y="956"/>
                </a:cubicBezTo>
                <a:cubicBezTo>
                  <a:pt x="2637" y="960"/>
                  <a:pt x="2635" y="961"/>
                  <a:pt x="2633" y="961"/>
                </a:cubicBezTo>
                <a:cubicBezTo>
                  <a:pt x="2630" y="961"/>
                  <a:pt x="2624" y="958"/>
                  <a:pt x="2616" y="957"/>
                </a:cubicBezTo>
                <a:cubicBezTo>
                  <a:pt x="2614" y="958"/>
                  <a:pt x="2606" y="954"/>
                  <a:pt x="2601" y="950"/>
                </a:cubicBezTo>
                <a:cubicBezTo>
                  <a:pt x="2595" y="945"/>
                  <a:pt x="2590" y="941"/>
                  <a:pt x="2590" y="941"/>
                </a:cubicBezTo>
                <a:cubicBezTo>
                  <a:pt x="2589" y="940"/>
                  <a:pt x="2589" y="940"/>
                  <a:pt x="2589" y="940"/>
                </a:cubicBezTo>
                <a:cubicBezTo>
                  <a:pt x="2589" y="940"/>
                  <a:pt x="2584" y="938"/>
                  <a:pt x="2577" y="935"/>
                </a:cubicBezTo>
                <a:cubicBezTo>
                  <a:pt x="2571" y="933"/>
                  <a:pt x="2564" y="930"/>
                  <a:pt x="2558" y="930"/>
                </a:cubicBezTo>
                <a:cubicBezTo>
                  <a:pt x="2558" y="930"/>
                  <a:pt x="2557" y="929"/>
                  <a:pt x="2554" y="928"/>
                </a:cubicBezTo>
                <a:cubicBezTo>
                  <a:pt x="2551" y="926"/>
                  <a:pt x="2546" y="922"/>
                  <a:pt x="2542" y="919"/>
                </a:cubicBezTo>
                <a:cubicBezTo>
                  <a:pt x="2540" y="917"/>
                  <a:pt x="2538" y="916"/>
                  <a:pt x="2537" y="915"/>
                </a:cubicBezTo>
                <a:cubicBezTo>
                  <a:pt x="2535" y="914"/>
                  <a:pt x="2533" y="912"/>
                  <a:pt x="2530" y="912"/>
                </a:cubicBezTo>
                <a:cubicBezTo>
                  <a:pt x="2530" y="912"/>
                  <a:pt x="2528" y="910"/>
                  <a:pt x="2526" y="909"/>
                </a:cubicBezTo>
                <a:cubicBezTo>
                  <a:pt x="2525" y="908"/>
                  <a:pt x="2524" y="906"/>
                  <a:pt x="2524" y="906"/>
                </a:cubicBezTo>
                <a:cubicBezTo>
                  <a:pt x="2524" y="906"/>
                  <a:pt x="2524" y="905"/>
                  <a:pt x="2525" y="905"/>
                </a:cubicBezTo>
                <a:cubicBezTo>
                  <a:pt x="2526" y="904"/>
                  <a:pt x="2528" y="904"/>
                  <a:pt x="2531" y="904"/>
                </a:cubicBezTo>
                <a:cubicBezTo>
                  <a:pt x="2533" y="904"/>
                  <a:pt x="2536" y="903"/>
                  <a:pt x="2538" y="901"/>
                </a:cubicBezTo>
                <a:cubicBezTo>
                  <a:pt x="2540" y="898"/>
                  <a:pt x="2541" y="895"/>
                  <a:pt x="2541" y="893"/>
                </a:cubicBezTo>
                <a:cubicBezTo>
                  <a:pt x="2540" y="888"/>
                  <a:pt x="2539" y="883"/>
                  <a:pt x="2537" y="874"/>
                </a:cubicBezTo>
                <a:cubicBezTo>
                  <a:pt x="2531" y="854"/>
                  <a:pt x="2518" y="846"/>
                  <a:pt x="2507" y="846"/>
                </a:cubicBezTo>
                <a:cubicBezTo>
                  <a:pt x="2500" y="846"/>
                  <a:pt x="2494" y="849"/>
                  <a:pt x="2490" y="851"/>
                </a:cubicBezTo>
                <a:cubicBezTo>
                  <a:pt x="2490" y="851"/>
                  <a:pt x="2490" y="851"/>
                  <a:pt x="2489" y="851"/>
                </a:cubicBezTo>
                <a:cubicBezTo>
                  <a:pt x="2482" y="852"/>
                  <a:pt x="2463" y="853"/>
                  <a:pt x="2447" y="853"/>
                </a:cubicBezTo>
                <a:cubicBezTo>
                  <a:pt x="2435" y="853"/>
                  <a:pt x="2425" y="853"/>
                  <a:pt x="2423" y="853"/>
                </a:cubicBezTo>
                <a:cubicBezTo>
                  <a:pt x="2419" y="853"/>
                  <a:pt x="2417" y="854"/>
                  <a:pt x="2413" y="855"/>
                </a:cubicBezTo>
                <a:cubicBezTo>
                  <a:pt x="2400" y="860"/>
                  <a:pt x="2380" y="868"/>
                  <a:pt x="2371" y="873"/>
                </a:cubicBezTo>
                <a:cubicBezTo>
                  <a:pt x="2362" y="878"/>
                  <a:pt x="2345" y="884"/>
                  <a:pt x="2338" y="888"/>
                </a:cubicBezTo>
                <a:cubicBezTo>
                  <a:pt x="2338" y="888"/>
                  <a:pt x="2338" y="888"/>
                  <a:pt x="2337" y="888"/>
                </a:cubicBezTo>
                <a:cubicBezTo>
                  <a:pt x="2334" y="888"/>
                  <a:pt x="2324" y="886"/>
                  <a:pt x="2315" y="886"/>
                </a:cubicBezTo>
                <a:cubicBezTo>
                  <a:pt x="2316" y="883"/>
                  <a:pt x="2317" y="881"/>
                  <a:pt x="2318" y="878"/>
                </a:cubicBezTo>
                <a:cubicBezTo>
                  <a:pt x="2319" y="877"/>
                  <a:pt x="2320" y="876"/>
                  <a:pt x="2320" y="875"/>
                </a:cubicBezTo>
                <a:cubicBezTo>
                  <a:pt x="2323" y="876"/>
                  <a:pt x="2325" y="876"/>
                  <a:pt x="2327" y="876"/>
                </a:cubicBezTo>
                <a:cubicBezTo>
                  <a:pt x="2336" y="876"/>
                  <a:pt x="2345" y="873"/>
                  <a:pt x="2352" y="872"/>
                </a:cubicBezTo>
                <a:cubicBezTo>
                  <a:pt x="2360" y="871"/>
                  <a:pt x="2365" y="865"/>
                  <a:pt x="2369" y="861"/>
                </a:cubicBezTo>
                <a:cubicBezTo>
                  <a:pt x="2373" y="856"/>
                  <a:pt x="2377" y="851"/>
                  <a:pt x="2381" y="849"/>
                </a:cubicBezTo>
                <a:cubicBezTo>
                  <a:pt x="2383" y="847"/>
                  <a:pt x="2385" y="846"/>
                  <a:pt x="2387" y="844"/>
                </a:cubicBezTo>
                <a:cubicBezTo>
                  <a:pt x="2388" y="843"/>
                  <a:pt x="2390" y="840"/>
                  <a:pt x="2390" y="837"/>
                </a:cubicBezTo>
                <a:cubicBezTo>
                  <a:pt x="2390" y="834"/>
                  <a:pt x="2388" y="832"/>
                  <a:pt x="2387" y="831"/>
                </a:cubicBezTo>
                <a:cubicBezTo>
                  <a:pt x="2386" y="829"/>
                  <a:pt x="2385" y="828"/>
                  <a:pt x="2384" y="826"/>
                </a:cubicBezTo>
                <a:cubicBezTo>
                  <a:pt x="2384" y="826"/>
                  <a:pt x="2384" y="826"/>
                  <a:pt x="2384" y="826"/>
                </a:cubicBezTo>
                <a:cubicBezTo>
                  <a:pt x="2384" y="825"/>
                  <a:pt x="2386" y="822"/>
                  <a:pt x="2390" y="818"/>
                </a:cubicBezTo>
                <a:cubicBezTo>
                  <a:pt x="2393" y="814"/>
                  <a:pt x="2398" y="809"/>
                  <a:pt x="2402" y="805"/>
                </a:cubicBezTo>
                <a:cubicBezTo>
                  <a:pt x="2404" y="802"/>
                  <a:pt x="2407" y="802"/>
                  <a:pt x="2413" y="801"/>
                </a:cubicBezTo>
                <a:cubicBezTo>
                  <a:pt x="2416" y="801"/>
                  <a:pt x="2419" y="801"/>
                  <a:pt x="2422" y="799"/>
                </a:cubicBezTo>
                <a:cubicBezTo>
                  <a:pt x="2425" y="798"/>
                  <a:pt x="2428" y="794"/>
                  <a:pt x="2429" y="790"/>
                </a:cubicBezTo>
                <a:cubicBezTo>
                  <a:pt x="2431" y="784"/>
                  <a:pt x="2432" y="777"/>
                  <a:pt x="2434" y="772"/>
                </a:cubicBezTo>
                <a:cubicBezTo>
                  <a:pt x="2435" y="769"/>
                  <a:pt x="2436" y="767"/>
                  <a:pt x="2436" y="766"/>
                </a:cubicBezTo>
                <a:cubicBezTo>
                  <a:pt x="2437" y="766"/>
                  <a:pt x="2437" y="766"/>
                  <a:pt x="2437" y="766"/>
                </a:cubicBezTo>
                <a:cubicBezTo>
                  <a:pt x="2445" y="767"/>
                  <a:pt x="2457" y="774"/>
                  <a:pt x="2467" y="774"/>
                </a:cubicBezTo>
                <a:cubicBezTo>
                  <a:pt x="2475" y="773"/>
                  <a:pt x="2481" y="769"/>
                  <a:pt x="2487" y="765"/>
                </a:cubicBezTo>
                <a:cubicBezTo>
                  <a:pt x="2493" y="761"/>
                  <a:pt x="2500" y="756"/>
                  <a:pt x="2500" y="755"/>
                </a:cubicBezTo>
                <a:cubicBezTo>
                  <a:pt x="2500" y="755"/>
                  <a:pt x="2500" y="755"/>
                  <a:pt x="2500" y="755"/>
                </a:cubicBezTo>
                <a:cubicBezTo>
                  <a:pt x="2500" y="755"/>
                  <a:pt x="2500" y="755"/>
                  <a:pt x="2500" y="755"/>
                </a:cubicBezTo>
                <a:cubicBezTo>
                  <a:pt x="2501" y="755"/>
                  <a:pt x="2502" y="755"/>
                  <a:pt x="2503" y="755"/>
                </a:cubicBezTo>
                <a:cubicBezTo>
                  <a:pt x="2506" y="755"/>
                  <a:pt x="2509" y="755"/>
                  <a:pt x="2511" y="757"/>
                </a:cubicBezTo>
                <a:cubicBezTo>
                  <a:pt x="2514" y="758"/>
                  <a:pt x="2515" y="760"/>
                  <a:pt x="2516" y="762"/>
                </a:cubicBezTo>
                <a:cubicBezTo>
                  <a:pt x="2517" y="771"/>
                  <a:pt x="2524" y="778"/>
                  <a:pt x="2530" y="784"/>
                </a:cubicBezTo>
                <a:cubicBezTo>
                  <a:pt x="2536" y="790"/>
                  <a:pt x="2542" y="795"/>
                  <a:pt x="2545" y="796"/>
                </a:cubicBezTo>
                <a:cubicBezTo>
                  <a:pt x="2548" y="798"/>
                  <a:pt x="2556" y="802"/>
                  <a:pt x="2565" y="805"/>
                </a:cubicBezTo>
                <a:cubicBezTo>
                  <a:pt x="2570" y="807"/>
                  <a:pt x="2574" y="809"/>
                  <a:pt x="2577" y="810"/>
                </a:cubicBezTo>
                <a:cubicBezTo>
                  <a:pt x="2580" y="812"/>
                  <a:pt x="2583" y="814"/>
                  <a:pt x="2583" y="814"/>
                </a:cubicBezTo>
                <a:cubicBezTo>
                  <a:pt x="2586" y="816"/>
                  <a:pt x="2593" y="828"/>
                  <a:pt x="2595" y="838"/>
                </a:cubicBezTo>
                <a:cubicBezTo>
                  <a:pt x="2597" y="845"/>
                  <a:pt x="2600" y="851"/>
                  <a:pt x="2607" y="851"/>
                </a:cubicBezTo>
                <a:cubicBezTo>
                  <a:pt x="2614" y="851"/>
                  <a:pt x="2618" y="845"/>
                  <a:pt x="2618" y="839"/>
                </a:cubicBezTo>
                <a:cubicBezTo>
                  <a:pt x="2619" y="838"/>
                  <a:pt x="2619" y="837"/>
                  <a:pt x="2619" y="836"/>
                </a:cubicBezTo>
                <a:cubicBezTo>
                  <a:pt x="2619" y="829"/>
                  <a:pt x="2617" y="822"/>
                  <a:pt x="2617" y="818"/>
                </a:cubicBezTo>
                <a:cubicBezTo>
                  <a:pt x="2617" y="818"/>
                  <a:pt x="2618" y="818"/>
                  <a:pt x="2618" y="818"/>
                </a:cubicBezTo>
                <a:cubicBezTo>
                  <a:pt x="2627" y="818"/>
                  <a:pt x="2635" y="815"/>
                  <a:pt x="2636" y="815"/>
                </a:cubicBezTo>
                <a:cubicBezTo>
                  <a:pt x="2637" y="814"/>
                  <a:pt x="2636" y="812"/>
                  <a:pt x="2640" y="810"/>
                </a:cubicBezTo>
                <a:cubicBezTo>
                  <a:pt x="2640" y="810"/>
                  <a:pt x="2640" y="810"/>
                  <a:pt x="2640" y="810"/>
                </a:cubicBezTo>
                <a:cubicBezTo>
                  <a:pt x="2644" y="820"/>
                  <a:pt x="2651" y="829"/>
                  <a:pt x="2653" y="833"/>
                </a:cubicBezTo>
                <a:cubicBezTo>
                  <a:pt x="2654" y="835"/>
                  <a:pt x="2658" y="844"/>
                  <a:pt x="2661" y="853"/>
                </a:cubicBezTo>
                <a:cubicBezTo>
                  <a:pt x="2665" y="862"/>
                  <a:pt x="2669" y="871"/>
                  <a:pt x="2671" y="875"/>
                </a:cubicBezTo>
                <a:cubicBezTo>
                  <a:pt x="2672" y="879"/>
                  <a:pt x="2677" y="881"/>
                  <a:pt x="2680" y="881"/>
                </a:cubicBezTo>
                <a:cubicBezTo>
                  <a:pt x="2689" y="881"/>
                  <a:pt x="2696" y="874"/>
                  <a:pt x="2701" y="870"/>
                </a:cubicBezTo>
                <a:cubicBezTo>
                  <a:pt x="2703" y="868"/>
                  <a:pt x="2706" y="866"/>
                  <a:pt x="2711" y="863"/>
                </a:cubicBezTo>
                <a:cubicBezTo>
                  <a:pt x="2715" y="860"/>
                  <a:pt x="2719" y="854"/>
                  <a:pt x="2720" y="847"/>
                </a:cubicBezTo>
                <a:cubicBezTo>
                  <a:pt x="2720" y="846"/>
                  <a:pt x="2720" y="846"/>
                  <a:pt x="2720" y="845"/>
                </a:cubicBezTo>
                <a:cubicBezTo>
                  <a:pt x="2720" y="837"/>
                  <a:pt x="2715" y="831"/>
                  <a:pt x="2710" y="827"/>
                </a:cubicBezTo>
                <a:cubicBezTo>
                  <a:pt x="2708" y="825"/>
                  <a:pt x="2705" y="823"/>
                  <a:pt x="2703" y="822"/>
                </a:cubicBezTo>
                <a:cubicBezTo>
                  <a:pt x="2704" y="821"/>
                  <a:pt x="2705" y="821"/>
                  <a:pt x="2707" y="820"/>
                </a:cubicBezTo>
                <a:cubicBezTo>
                  <a:pt x="2710" y="818"/>
                  <a:pt x="2714" y="816"/>
                  <a:pt x="2717" y="814"/>
                </a:cubicBezTo>
                <a:cubicBezTo>
                  <a:pt x="2720" y="810"/>
                  <a:pt x="2726" y="806"/>
                  <a:pt x="2728" y="805"/>
                </a:cubicBezTo>
                <a:cubicBezTo>
                  <a:pt x="2728" y="805"/>
                  <a:pt x="2728" y="805"/>
                  <a:pt x="2728" y="805"/>
                </a:cubicBezTo>
                <a:cubicBezTo>
                  <a:pt x="2729" y="806"/>
                  <a:pt x="2730" y="817"/>
                  <a:pt x="2730" y="827"/>
                </a:cubicBezTo>
                <a:cubicBezTo>
                  <a:pt x="2731" y="832"/>
                  <a:pt x="2731" y="837"/>
                  <a:pt x="2731" y="841"/>
                </a:cubicBezTo>
                <a:cubicBezTo>
                  <a:pt x="2731" y="845"/>
                  <a:pt x="2731" y="848"/>
                  <a:pt x="2732" y="851"/>
                </a:cubicBezTo>
                <a:cubicBezTo>
                  <a:pt x="2734" y="855"/>
                  <a:pt x="2737" y="857"/>
                  <a:pt x="2740" y="859"/>
                </a:cubicBezTo>
                <a:cubicBezTo>
                  <a:pt x="2744" y="862"/>
                  <a:pt x="2749" y="864"/>
                  <a:pt x="2754" y="867"/>
                </a:cubicBezTo>
                <a:cubicBezTo>
                  <a:pt x="2759" y="869"/>
                  <a:pt x="2763" y="873"/>
                  <a:pt x="2763" y="873"/>
                </a:cubicBezTo>
                <a:cubicBezTo>
                  <a:pt x="2769" y="881"/>
                  <a:pt x="2779" y="883"/>
                  <a:pt x="2788" y="883"/>
                </a:cubicBezTo>
                <a:cubicBezTo>
                  <a:pt x="2792" y="883"/>
                  <a:pt x="2795" y="884"/>
                  <a:pt x="2799" y="880"/>
                </a:cubicBezTo>
                <a:cubicBezTo>
                  <a:pt x="2799" y="880"/>
                  <a:pt x="2799" y="880"/>
                  <a:pt x="2800" y="880"/>
                </a:cubicBezTo>
                <a:cubicBezTo>
                  <a:pt x="2804" y="880"/>
                  <a:pt x="2816" y="884"/>
                  <a:pt x="2820" y="885"/>
                </a:cubicBezTo>
                <a:cubicBezTo>
                  <a:pt x="2822" y="886"/>
                  <a:pt x="2823" y="886"/>
                  <a:pt x="2824" y="886"/>
                </a:cubicBezTo>
                <a:cubicBezTo>
                  <a:pt x="2832" y="886"/>
                  <a:pt x="2843" y="882"/>
                  <a:pt x="2851" y="880"/>
                </a:cubicBezTo>
                <a:cubicBezTo>
                  <a:pt x="2855" y="878"/>
                  <a:pt x="2859" y="877"/>
                  <a:pt x="2861" y="876"/>
                </a:cubicBezTo>
                <a:cubicBezTo>
                  <a:pt x="2861" y="877"/>
                  <a:pt x="2861" y="877"/>
                  <a:pt x="2861" y="878"/>
                </a:cubicBezTo>
                <a:cubicBezTo>
                  <a:pt x="2861" y="879"/>
                  <a:pt x="2861" y="880"/>
                  <a:pt x="2861" y="881"/>
                </a:cubicBezTo>
                <a:cubicBezTo>
                  <a:pt x="2860" y="898"/>
                  <a:pt x="2856" y="925"/>
                  <a:pt x="2846" y="936"/>
                </a:cubicBezTo>
                <a:cubicBezTo>
                  <a:pt x="2840" y="944"/>
                  <a:pt x="2837" y="950"/>
                  <a:pt x="2836" y="953"/>
                </a:cubicBezTo>
                <a:close/>
                <a:moveTo>
                  <a:pt x="2953" y="1233"/>
                </a:moveTo>
                <a:cubicBezTo>
                  <a:pt x="2950" y="1230"/>
                  <a:pt x="2948" y="1227"/>
                  <a:pt x="2944" y="1225"/>
                </a:cubicBezTo>
                <a:cubicBezTo>
                  <a:pt x="2944" y="1225"/>
                  <a:pt x="2944" y="1225"/>
                  <a:pt x="2944" y="1225"/>
                </a:cubicBezTo>
                <a:cubicBezTo>
                  <a:pt x="2944" y="1225"/>
                  <a:pt x="2939" y="1220"/>
                  <a:pt x="2935" y="1215"/>
                </a:cubicBezTo>
                <a:cubicBezTo>
                  <a:pt x="2931" y="1209"/>
                  <a:pt x="2926" y="1202"/>
                  <a:pt x="2924" y="1195"/>
                </a:cubicBezTo>
                <a:cubicBezTo>
                  <a:pt x="2918" y="1178"/>
                  <a:pt x="2910" y="1157"/>
                  <a:pt x="2900" y="1143"/>
                </a:cubicBezTo>
                <a:cubicBezTo>
                  <a:pt x="2892" y="1133"/>
                  <a:pt x="2886" y="1104"/>
                  <a:pt x="2877" y="1084"/>
                </a:cubicBezTo>
                <a:cubicBezTo>
                  <a:pt x="2868" y="1065"/>
                  <a:pt x="2860" y="1040"/>
                  <a:pt x="2852" y="1022"/>
                </a:cubicBezTo>
                <a:cubicBezTo>
                  <a:pt x="2851" y="1019"/>
                  <a:pt x="2850" y="1017"/>
                  <a:pt x="2848" y="1015"/>
                </a:cubicBezTo>
                <a:cubicBezTo>
                  <a:pt x="2853" y="1014"/>
                  <a:pt x="2858" y="1012"/>
                  <a:pt x="2861" y="1013"/>
                </a:cubicBezTo>
                <a:cubicBezTo>
                  <a:pt x="2862" y="1013"/>
                  <a:pt x="2862" y="1013"/>
                  <a:pt x="2862" y="1013"/>
                </a:cubicBezTo>
                <a:cubicBezTo>
                  <a:pt x="2866" y="1024"/>
                  <a:pt x="2877" y="1044"/>
                  <a:pt x="2879" y="1057"/>
                </a:cubicBezTo>
                <a:cubicBezTo>
                  <a:pt x="2880" y="1066"/>
                  <a:pt x="2887" y="1071"/>
                  <a:pt x="2890" y="1073"/>
                </a:cubicBezTo>
                <a:cubicBezTo>
                  <a:pt x="2894" y="1076"/>
                  <a:pt x="2894" y="1075"/>
                  <a:pt x="2895" y="1080"/>
                </a:cubicBezTo>
                <a:cubicBezTo>
                  <a:pt x="2896" y="1088"/>
                  <a:pt x="2899" y="1100"/>
                  <a:pt x="2903" y="1110"/>
                </a:cubicBezTo>
                <a:cubicBezTo>
                  <a:pt x="2905" y="1116"/>
                  <a:pt x="2907" y="1121"/>
                  <a:pt x="2909" y="1125"/>
                </a:cubicBezTo>
                <a:cubicBezTo>
                  <a:pt x="2911" y="1129"/>
                  <a:pt x="2912" y="1132"/>
                  <a:pt x="2915" y="1135"/>
                </a:cubicBezTo>
                <a:cubicBezTo>
                  <a:pt x="2916" y="1137"/>
                  <a:pt x="2923" y="1143"/>
                  <a:pt x="2929" y="1150"/>
                </a:cubicBezTo>
                <a:cubicBezTo>
                  <a:pt x="2935" y="1157"/>
                  <a:pt x="2941" y="1165"/>
                  <a:pt x="2942" y="1167"/>
                </a:cubicBezTo>
                <a:cubicBezTo>
                  <a:pt x="2945" y="1175"/>
                  <a:pt x="2949" y="1186"/>
                  <a:pt x="2953" y="1206"/>
                </a:cubicBezTo>
                <a:cubicBezTo>
                  <a:pt x="2955" y="1216"/>
                  <a:pt x="2956" y="1228"/>
                  <a:pt x="2959" y="1239"/>
                </a:cubicBezTo>
                <a:cubicBezTo>
                  <a:pt x="2959" y="1240"/>
                  <a:pt x="2959" y="1242"/>
                  <a:pt x="2960" y="1243"/>
                </a:cubicBezTo>
                <a:cubicBezTo>
                  <a:pt x="2958" y="1239"/>
                  <a:pt x="2955" y="1236"/>
                  <a:pt x="2953" y="1233"/>
                </a:cubicBezTo>
                <a:close/>
                <a:moveTo>
                  <a:pt x="3061" y="753"/>
                </a:moveTo>
                <a:cubicBezTo>
                  <a:pt x="3062" y="756"/>
                  <a:pt x="3066" y="758"/>
                  <a:pt x="3068" y="758"/>
                </a:cubicBezTo>
                <a:cubicBezTo>
                  <a:pt x="3071" y="757"/>
                  <a:pt x="3072" y="757"/>
                  <a:pt x="3073" y="757"/>
                </a:cubicBezTo>
                <a:cubicBezTo>
                  <a:pt x="3073" y="757"/>
                  <a:pt x="3073" y="757"/>
                  <a:pt x="3074" y="757"/>
                </a:cubicBezTo>
                <a:cubicBezTo>
                  <a:pt x="3079" y="761"/>
                  <a:pt x="3081" y="768"/>
                  <a:pt x="3086" y="778"/>
                </a:cubicBezTo>
                <a:cubicBezTo>
                  <a:pt x="3089" y="784"/>
                  <a:pt x="3094" y="786"/>
                  <a:pt x="3098" y="787"/>
                </a:cubicBezTo>
                <a:cubicBezTo>
                  <a:pt x="3101" y="788"/>
                  <a:pt x="3103" y="789"/>
                  <a:pt x="3104" y="790"/>
                </a:cubicBezTo>
                <a:cubicBezTo>
                  <a:pt x="3103" y="791"/>
                  <a:pt x="3102" y="793"/>
                  <a:pt x="3100" y="795"/>
                </a:cubicBezTo>
                <a:cubicBezTo>
                  <a:pt x="3098" y="797"/>
                  <a:pt x="3095" y="800"/>
                  <a:pt x="3094" y="806"/>
                </a:cubicBezTo>
                <a:cubicBezTo>
                  <a:pt x="3094" y="809"/>
                  <a:pt x="3096" y="813"/>
                  <a:pt x="3099" y="815"/>
                </a:cubicBezTo>
                <a:cubicBezTo>
                  <a:pt x="3101" y="817"/>
                  <a:pt x="3105" y="827"/>
                  <a:pt x="3107" y="837"/>
                </a:cubicBezTo>
                <a:cubicBezTo>
                  <a:pt x="3109" y="846"/>
                  <a:pt x="3111" y="855"/>
                  <a:pt x="3111" y="860"/>
                </a:cubicBezTo>
                <a:cubicBezTo>
                  <a:pt x="3110" y="861"/>
                  <a:pt x="3107" y="863"/>
                  <a:pt x="3103" y="863"/>
                </a:cubicBezTo>
                <a:cubicBezTo>
                  <a:pt x="3098" y="865"/>
                  <a:pt x="3092" y="865"/>
                  <a:pt x="3088" y="865"/>
                </a:cubicBezTo>
                <a:cubicBezTo>
                  <a:pt x="3087" y="865"/>
                  <a:pt x="3086" y="865"/>
                  <a:pt x="3085" y="865"/>
                </a:cubicBezTo>
                <a:cubicBezTo>
                  <a:pt x="3079" y="864"/>
                  <a:pt x="3055" y="855"/>
                  <a:pt x="3046" y="852"/>
                </a:cubicBezTo>
                <a:cubicBezTo>
                  <a:pt x="3045" y="851"/>
                  <a:pt x="3041" y="840"/>
                  <a:pt x="3042" y="833"/>
                </a:cubicBezTo>
                <a:cubicBezTo>
                  <a:pt x="3042" y="831"/>
                  <a:pt x="3042" y="829"/>
                  <a:pt x="3042" y="828"/>
                </a:cubicBezTo>
                <a:cubicBezTo>
                  <a:pt x="3043" y="828"/>
                  <a:pt x="3044" y="828"/>
                  <a:pt x="3045" y="828"/>
                </a:cubicBezTo>
                <a:cubicBezTo>
                  <a:pt x="3050" y="828"/>
                  <a:pt x="3055" y="826"/>
                  <a:pt x="3058" y="823"/>
                </a:cubicBezTo>
                <a:cubicBezTo>
                  <a:pt x="3062" y="820"/>
                  <a:pt x="3065" y="816"/>
                  <a:pt x="3070" y="811"/>
                </a:cubicBezTo>
                <a:cubicBezTo>
                  <a:pt x="3073" y="808"/>
                  <a:pt x="3075" y="805"/>
                  <a:pt x="3075" y="801"/>
                </a:cubicBezTo>
                <a:cubicBezTo>
                  <a:pt x="3074" y="796"/>
                  <a:pt x="3072" y="793"/>
                  <a:pt x="3069" y="790"/>
                </a:cubicBezTo>
                <a:cubicBezTo>
                  <a:pt x="3060" y="784"/>
                  <a:pt x="3047" y="782"/>
                  <a:pt x="3042" y="780"/>
                </a:cubicBezTo>
                <a:cubicBezTo>
                  <a:pt x="3042" y="780"/>
                  <a:pt x="3042" y="780"/>
                  <a:pt x="3042" y="780"/>
                </a:cubicBezTo>
                <a:cubicBezTo>
                  <a:pt x="3040" y="779"/>
                  <a:pt x="3034" y="770"/>
                  <a:pt x="3029" y="762"/>
                </a:cubicBezTo>
                <a:cubicBezTo>
                  <a:pt x="3023" y="754"/>
                  <a:pt x="3019" y="745"/>
                  <a:pt x="3016" y="740"/>
                </a:cubicBezTo>
                <a:cubicBezTo>
                  <a:pt x="3015" y="738"/>
                  <a:pt x="3014" y="736"/>
                  <a:pt x="3014" y="734"/>
                </a:cubicBezTo>
                <a:cubicBezTo>
                  <a:pt x="3014" y="728"/>
                  <a:pt x="3018" y="719"/>
                  <a:pt x="3027" y="712"/>
                </a:cubicBezTo>
                <a:cubicBezTo>
                  <a:pt x="3027" y="712"/>
                  <a:pt x="3027" y="712"/>
                  <a:pt x="3027" y="712"/>
                </a:cubicBezTo>
                <a:cubicBezTo>
                  <a:pt x="3027" y="712"/>
                  <a:pt x="3028" y="712"/>
                  <a:pt x="3028" y="712"/>
                </a:cubicBezTo>
                <a:cubicBezTo>
                  <a:pt x="3032" y="712"/>
                  <a:pt x="3041" y="715"/>
                  <a:pt x="3050" y="715"/>
                </a:cubicBezTo>
                <a:cubicBezTo>
                  <a:pt x="3054" y="715"/>
                  <a:pt x="3058" y="715"/>
                  <a:pt x="3061" y="712"/>
                </a:cubicBezTo>
                <a:cubicBezTo>
                  <a:pt x="3070" y="705"/>
                  <a:pt x="3079" y="698"/>
                  <a:pt x="3083" y="695"/>
                </a:cubicBezTo>
                <a:cubicBezTo>
                  <a:pt x="3085" y="695"/>
                  <a:pt x="3090" y="696"/>
                  <a:pt x="3095" y="698"/>
                </a:cubicBezTo>
                <a:cubicBezTo>
                  <a:pt x="3100" y="700"/>
                  <a:pt x="3104" y="703"/>
                  <a:pt x="3104" y="704"/>
                </a:cubicBezTo>
                <a:cubicBezTo>
                  <a:pt x="3106" y="709"/>
                  <a:pt x="3110" y="713"/>
                  <a:pt x="3113" y="717"/>
                </a:cubicBezTo>
                <a:cubicBezTo>
                  <a:pt x="3114" y="719"/>
                  <a:pt x="3115" y="721"/>
                  <a:pt x="3116" y="722"/>
                </a:cubicBezTo>
                <a:cubicBezTo>
                  <a:pt x="3116" y="723"/>
                  <a:pt x="3116" y="723"/>
                  <a:pt x="3116" y="723"/>
                </a:cubicBezTo>
                <a:cubicBezTo>
                  <a:pt x="3114" y="724"/>
                  <a:pt x="3108" y="725"/>
                  <a:pt x="3104" y="725"/>
                </a:cubicBezTo>
                <a:cubicBezTo>
                  <a:pt x="3099" y="725"/>
                  <a:pt x="3095" y="724"/>
                  <a:pt x="3095" y="723"/>
                </a:cubicBezTo>
                <a:cubicBezTo>
                  <a:pt x="3092" y="719"/>
                  <a:pt x="3087" y="717"/>
                  <a:pt x="3083" y="717"/>
                </a:cubicBezTo>
                <a:cubicBezTo>
                  <a:pt x="3072" y="718"/>
                  <a:pt x="3061" y="728"/>
                  <a:pt x="3060" y="743"/>
                </a:cubicBezTo>
                <a:cubicBezTo>
                  <a:pt x="3060" y="744"/>
                  <a:pt x="3060" y="745"/>
                  <a:pt x="3060" y="746"/>
                </a:cubicBezTo>
                <a:cubicBezTo>
                  <a:pt x="3060" y="749"/>
                  <a:pt x="3060" y="751"/>
                  <a:pt x="3061" y="753"/>
                </a:cubicBezTo>
                <a:close/>
                <a:moveTo>
                  <a:pt x="3441" y="353"/>
                </a:moveTo>
                <a:cubicBezTo>
                  <a:pt x="3437" y="354"/>
                  <a:pt x="3434" y="355"/>
                  <a:pt x="3431" y="355"/>
                </a:cubicBezTo>
                <a:cubicBezTo>
                  <a:pt x="3426" y="355"/>
                  <a:pt x="3423" y="353"/>
                  <a:pt x="3423" y="351"/>
                </a:cubicBezTo>
                <a:cubicBezTo>
                  <a:pt x="3421" y="346"/>
                  <a:pt x="3416" y="341"/>
                  <a:pt x="3411" y="340"/>
                </a:cubicBezTo>
                <a:cubicBezTo>
                  <a:pt x="3412" y="340"/>
                  <a:pt x="3413" y="340"/>
                  <a:pt x="3414" y="339"/>
                </a:cubicBezTo>
                <a:cubicBezTo>
                  <a:pt x="3420" y="338"/>
                  <a:pt x="3428" y="335"/>
                  <a:pt x="3433" y="335"/>
                </a:cubicBezTo>
                <a:cubicBezTo>
                  <a:pt x="3435" y="335"/>
                  <a:pt x="3436" y="336"/>
                  <a:pt x="3436" y="336"/>
                </a:cubicBezTo>
                <a:cubicBezTo>
                  <a:pt x="3436" y="336"/>
                  <a:pt x="3436" y="335"/>
                  <a:pt x="3436" y="337"/>
                </a:cubicBezTo>
                <a:cubicBezTo>
                  <a:pt x="3437" y="342"/>
                  <a:pt x="3439" y="346"/>
                  <a:pt x="3440" y="349"/>
                </a:cubicBezTo>
                <a:cubicBezTo>
                  <a:pt x="3441" y="350"/>
                  <a:pt x="3441" y="352"/>
                  <a:pt x="3442" y="352"/>
                </a:cubicBezTo>
                <a:cubicBezTo>
                  <a:pt x="3441" y="353"/>
                  <a:pt x="3441" y="353"/>
                  <a:pt x="3441" y="353"/>
                </a:cubicBezTo>
                <a:close/>
                <a:moveTo>
                  <a:pt x="3513" y="323"/>
                </a:moveTo>
                <a:cubicBezTo>
                  <a:pt x="3513" y="323"/>
                  <a:pt x="3513" y="323"/>
                  <a:pt x="3513" y="323"/>
                </a:cubicBezTo>
                <a:cubicBezTo>
                  <a:pt x="3512" y="324"/>
                  <a:pt x="3511" y="324"/>
                  <a:pt x="3511" y="324"/>
                </a:cubicBezTo>
                <a:cubicBezTo>
                  <a:pt x="3509" y="324"/>
                  <a:pt x="3508" y="324"/>
                  <a:pt x="3507" y="318"/>
                </a:cubicBezTo>
                <a:cubicBezTo>
                  <a:pt x="3506" y="312"/>
                  <a:pt x="3506" y="307"/>
                  <a:pt x="3502" y="302"/>
                </a:cubicBezTo>
                <a:cubicBezTo>
                  <a:pt x="3500" y="300"/>
                  <a:pt x="3498" y="299"/>
                  <a:pt x="3496" y="297"/>
                </a:cubicBezTo>
                <a:cubicBezTo>
                  <a:pt x="3499" y="299"/>
                  <a:pt x="3503" y="301"/>
                  <a:pt x="3505" y="302"/>
                </a:cubicBezTo>
                <a:cubicBezTo>
                  <a:pt x="3507" y="303"/>
                  <a:pt x="3507" y="304"/>
                  <a:pt x="3508" y="305"/>
                </a:cubicBezTo>
                <a:cubicBezTo>
                  <a:pt x="3508" y="305"/>
                  <a:pt x="3508" y="305"/>
                  <a:pt x="3508" y="305"/>
                </a:cubicBezTo>
                <a:cubicBezTo>
                  <a:pt x="3508" y="305"/>
                  <a:pt x="3508" y="305"/>
                  <a:pt x="3508" y="305"/>
                </a:cubicBezTo>
                <a:cubicBezTo>
                  <a:pt x="3512" y="307"/>
                  <a:pt x="3513" y="316"/>
                  <a:pt x="3513" y="320"/>
                </a:cubicBezTo>
                <a:cubicBezTo>
                  <a:pt x="3513" y="322"/>
                  <a:pt x="3513" y="323"/>
                  <a:pt x="3513" y="323"/>
                </a:cubicBezTo>
                <a:close/>
                <a:moveTo>
                  <a:pt x="2502" y="789"/>
                </a:moveTo>
                <a:cubicBezTo>
                  <a:pt x="2495" y="789"/>
                  <a:pt x="2491" y="794"/>
                  <a:pt x="2488" y="798"/>
                </a:cubicBezTo>
                <a:cubicBezTo>
                  <a:pt x="2485" y="803"/>
                  <a:pt x="2484" y="808"/>
                  <a:pt x="2484" y="814"/>
                </a:cubicBezTo>
                <a:cubicBezTo>
                  <a:pt x="2484" y="818"/>
                  <a:pt x="2485" y="823"/>
                  <a:pt x="2488" y="827"/>
                </a:cubicBezTo>
                <a:cubicBezTo>
                  <a:pt x="2492" y="831"/>
                  <a:pt x="2496" y="833"/>
                  <a:pt x="2501" y="833"/>
                </a:cubicBezTo>
                <a:cubicBezTo>
                  <a:pt x="2508" y="833"/>
                  <a:pt x="2514" y="828"/>
                  <a:pt x="2517" y="822"/>
                </a:cubicBezTo>
                <a:cubicBezTo>
                  <a:pt x="2512" y="819"/>
                  <a:pt x="2512" y="819"/>
                  <a:pt x="2512" y="819"/>
                </a:cubicBezTo>
                <a:cubicBezTo>
                  <a:pt x="2517" y="822"/>
                  <a:pt x="2517" y="822"/>
                  <a:pt x="2517" y="822"/>
                </a:cubicBezTo>
                <a:cubicBezTo>
                  <a:pt x="2519" y="819"/>
                  <a:pt x="2520" y="816"/>
                  <a:pt x="2520" y="812"/>
                </a:cubicBezTo>
                <a:cubicBezTo>
                  <a:pt x="2520" y="806"/>
                  <a:pt x="2518" y="801"/>
                  <a:pt x="2515" y="797"/>
                </a:cubicBezTo>
                <a:cubicBezTo>
                  <a:pt x="2511" y="793"/>
                  <a:pt x="2508" y="790"/>
                  <a:pt x="2502" y="789"/>
                </a:cubicBezTo>
                <a:close/>
                <a:moveTo>
                  <a:pt x="2028" y="279"/>
                </a:moveTo>
                <a:cubicBezTo>
                  <a:pt x="2029" y="279"/>
                  <a:pt x="2030" y="279"/>
                  <a:pt x="2031" y="279"/>
                </a:cubicBezTo>
                <a:cubicBezTo>
                  <a:pt x="2037" y="279"/>
                  <a:pt x="2045" y="280"/>
                  <a:pt x="2051" y="280"/>
                </a:cubicBezTo>
                <a:cubicBezTo>
                  <a:pt x="2055" y="280"/>
                  <a:pt x="2058" y="280"/>
                  <a:pt x="2062" y="278"/>
                </a:cubicBezTo>
                <a:cubicBezTo>
                  <a:pt x="2065" y="275"/>
                  <a:pt x="2067" y="271"/>
                  <a:pt x="2067" y="266"/>
                </a:cubicBezTo>
                <a:cubicBezTo>
                  <a:pt x="2067" y="266"/>
                  <a:pt x="2067" y="266"/>
                  <a:pt x="2067" y="265"/>
                </a:cubicBezTo>
                <a:cubicBezTo>
                  <a:pt x="2061" y="266"/>
                  <a:pt x="2061" y="266"/>
                  <a:pt x="2061" y="266"/>
                </a:cubicBezTo>
                <a:cubicBezTo>
                  <a:pt x="2067" y="265"/>
                  <a:pt x="2067" y="265"/>
                  <a:pt x="2067" y="265"/>
                </a:cubicBezTo>
                <a:cubicBezTo>
                  <a:pt x="2067" y="262"/>
                  <a:pt x="2067" y="259"/>
                  <a:pt x="2067" y="256"/>
                </a:cubicBezTo>
                <a:cubicBezTo>
                  <a:pt x="2067" y="245"/>
                  <a:pt x="2068" y="234"/>
                  <a:pt x="2071" y="230"/>
                </a:cubicBezTo>
                <a:cubicBezTo>
                  <a:pt x="2072" y="227"/>
                  <a:pt x="2074" y="225"/>
                  <a:pt x="2076" y="222"/>
                </a:cubicBezTo>
                <a:cubicBezTo>
                  <a:pt x="2078" y="220"/>
                  <a:pt x="2081" y="218"/>
                  <a:pt x="2081" y="212"/>
                </a:cubicBezTo>
                <a:cubicBezTo>
                  <a:pt x="2082" y="209"/>
                  <a:pt x="2079" y="206"/>
                  <a:pt x="2077" y="205"/>
                </a:cubicBezTo>
                <a:cubicBezTo>
                  <a:pt x="2074" y="204"/>
                  <a:pt x="2072" y="204"/>
                  <a:pt x="2070" y="204"/>
                </a:cubicBezTo>
                <a:cubicBezTo>
                  <a:pt x="2069" y="204"/>
                  <a:pt x="2068" y="204"/>
                  <a:pt x="2068" y="204"/>
                </a:cubicBezTo>
                <a:cubicBezTo>
                  <a:pt x="2066" y="204"/>
                  <a:pt x="2067" y="204"/>
                  <a:pt x="2066" y="204"/>
                </a:cubicBezTo>
                <a:cubicBezTo>
                  <a:pt x="2066" y="203"/>
                  <a:pt x="2065" y="202"/>
                  <a:pt x="2063" y="198"/>
                </a:cubicBezTo>
                <a:cubicBezTo>
                  <a:pt x="2063" y="196"/>
                  <a:pt x="2062" y="194"/>
                  <a:pt x="2062" y="193"/>
                </a:cubicBezTo>
                <a:cubicBezTo>
                  <a:pt x="2062" y="186"/>
                  <a:pt x="2067" y="179"/>
                  <a:pt x="2072" y="175"/>
                </a:cubicBezTo>
                <a:cubicBezTo>
                  <a:pt x="2075" y="172"/>
                  <a:pt x="2084" y="162"/>
                  <a:pt x="2094" y="152"/>
                </a:cubicBezTo>
                <a:cubicBezTo>
                  <a:pt x="2103" y="142"/>
                  <a:pt x="2115" y="132"/>
                  <a:pt x="2121" y="130"/>
                </a:cubicBezTo>
                <a:cubicBezTo>
                  <a:pt x="2135" y="125"/>
                  <a:pt x="2145" y="112"/>
                  <a:pt x="2146" y="100"/>
                </a:cubicBezTo>
                <a:cubicBezTo>
                  <a:pt x="2146" y="95"/>
                  <a:pt x="2143" y="89"/>
                  <a:pt x="2137" y="87"/>
                </a:cubicBezTo>
                <a:cubicBezTo>
                  <a:pt x="2131" y="84"/>
                  <a:pt x="2120" y="80"/>
                  <a:pt x="2108" y="80"/>
                </a:cubicBezTo>
                <a:cubicBezTo>
                  <a:pt x="2099" y="80"/>
                  <a:pt x="2090" y="83"/>
                  <a:pt x="2082" y="90"/>
                </a:cubicBezTo>
                <a:cubicBezTo>
                  <a:pt x="2076" y="97"/>
                  <a:pt x="2070" y="103"/>
                  <a:pt x="2066" y="107"/>
                </a:cubicBezTo>
                <a:cubicBezTo>
                  <a:pt x="2061" y="111"/>
                  <a:pt x="2057" y="113"/>
                  <a:pt x="2053" y="113"/>
                </a:cubicBezTo>
                <a:cubicBezTo>
                  <a:pt x="2051" y="113"/>
                  <a:pt x="2050" y="113"/>
                  <a:pt x="2048" y="113"/>
                </a:cubicBezTo>
                <a:cubicBezTo>
                  <a:pt x="2042" y="111"/>
                  <a:pt x="2039" y="106"/>
                  <a:pt x="2035" y="98"/>
                </a:cubicBezTo>
                <a:cubicBezTo>
                  <a:pt x="2031" y="90"/>
                  <a:pt x="2028" y="81"/>
                  <a:pt x="2022" y="73"/>
                </a:cubicBezTo>
                <a:cubicBezTo>
                  <a:pt x="2017" y="67"/>
                  <a:pt x="2015" y="55"/>
                  <a:pt x="2014" y="44"/>
                </a:cubicBezTo>
                <a:cubicBezTo>
                  <a:pt x="2013" y="39"/>
                  <a:pt x="2013" y="33"/>
                  <a:pt x="2011" y="29"/>
                </a:cubicBezTo>
                <a:cubicBezTo>
                  <a:pt x="2010" y="25"/>
                  <a:pt x="2005" y="19"/>
                  <a:pt x="1999" y="19"/>
                </a:cubicBezTo>
                <a:cubicBezTo>
                  <a:pt x="1998" y="19"/>
                  <a:pt x="1997" y="20"/>
                  <a:pt x="1996" y="20"/>
                </a:cubicBezTo>
                <a:cubicBezTo>
                  <a:pt x="1988" y="21"/>
                  <a:pt x="1984" y="22"/>
                  <a:pt x="1983" y="22"/>
                </a:cubicBezTo>
                <a:cubicBezTo>
                  <a:pt x="1980" y="22"/>
                  <a:pt x="1972" y="20"/>
                  <a:pt x="1964" y="20"/>
                </a:cubicBezTo>
                <a:cubicBezTo>
                  <a:pt x="1961" y="20"/>
                  <a:pt x="1957" y="21"/>
                  <a:pt x="1953" y="22"/>
                </a:cubicBezTo>
                <a:cubicBezTo>
                  <a:pt x="1948" y="23"/>
                  <a:pt x="1943" y="25"/>
                  <a:pt x="1940" y="27"/>
                </a:cubicBezTo>
                <a:cubicBezTo>
                  <a:pt x="1940" y="26"/>
                  <a:pt x="1940" y="26"/>
                  <a:pt x="1940" y="25"/>
                </a:cubicBezTo>
                <a:cubicBezTo>
                  <a:pt x="1939" y="19"/>
                  <a:pt x="1936" y="18"/>
                  <a:pt x="1934" y="16"/>
                </a:cubicBezTo>
                <a:cubicBezTo>
                  <a:pt x="1931" y="14"/>
                  <a:pt x="1928" y="13"/>
                  <a:pt x="1926" y="13"/>
                </a:cubicBezTo>
                <a:cubicBezTo>
                  <a:pt x="1909" y="11"/>
                  <a:pt x="1882" y="2"/>
                  <a:pt x="1859" y="1"/>
                </a:cubicBezTo>
                <a:cubicBezTo>
                  <a:pt x="1858" y="0"/>
                  <a:pt x="1857" y="0"/>
                  <a:pt x="1855" y="0"/>
                </a:cubicBezTo>
                <a:cubicBezTo>
                  <a:pt x="1839" y="1"/>
                  <a:pt x="1829" y="6"/>
                  <a:pt x="1815" y="6"/>
                </a:cubicBezTo>
                <a:cubicBezTo>
                  <a:pt x="1794" y="7"/>
                  <a:pt x="1767" y="5"/>
                  <a:pt x="1748" y="19"/>
                </a:cubicBezTo>
                <a:cubicBezTo>
                  <a:pt x="1741" y="24"/>
                  <a:pt x="1734" y="26"/>
                  <a:pt x="1727" y="28"/>
                </a:cubicBezTo>
                <a:cubicBezTo>
                  <a:pt x="1724" y="29"/>
                  <a:pt x="1721" y="30"/>
                  <a:pt x="1719" y="30"/>
                </a:cubicBezTo>
                <a:cubicBezTo>
                  <a:pt x="1718" y="31"/>
                  <a:pt x="1717" y="31"/>
                  <a:pt x="1715" y="31"/>
                </a:cubicBezTo>
                <a:cubicBezTo>
                  <a:pt x="1714" y="32"/>
                  <a:pt x="1713" y="32"/>
                  <a:pt x="1711" y="34"/>
                </a:cubicBezTo>
                <a:cubicBezTo>
                  <a:pt x="1707" y="40"/>
                  <a:pt x="1703" y="48"/>
                  <a:pt x="1700" y="55"/>
                </a:cubicBezTo>
                <a:cubicBezTo>
                  <a:pt x="1698" y="58"/>
                  <a:pt x="1697" y="61"/>
                  <a:pt x="1695" y="63"/>
                </a:cubicBezTo>
                <a:cubicBezTo>
                  <a:pt x="1695" y="63"/>
                  <a:pt x="1695" y="63"/>
                  <a:pt x="1695" y="63"/>
                </a:cubicBezTo>
                <a:cubicBezTo>
                  <a:pt x="1694" y="61"/>
                  <a:pt x="1692" y="57"/>
                  <a:pt x="1690" y="54"/>
                </a:cubicBezTo>
                <a:cubicBezTo>
                  <a:pt x="1689" y="52"/>
                  <a:pt x="1688" y="49"/>
                  <a:pt x="1686" y="47"/>
                </a:cubicBezTo>
                <a:cubicBezTo>
                  <a:pt x="1685" y="45"/>
                  <a:pt x="1682" y="43"/>
                  <a:pt x="1678" y="43"/>
                </a:cubicBezTo>
                <a:cubicBezTo>
                  <a:pt x="1675" y="43"/>
                  <a:pt x="1673" y="44"/>
                  <a:pt x="1671" y="46"/>
                </a:cubicBezTo>
                <a:cubicBezTo>
                  <a:pt x="1663" y="52"/>
                  <a:pt x="1664" y="61"/>
                  <a:pt x="1664" y="68"/>
                </a:cubicBezTo>
                <a:cubicBezTo>
                  <a:pt x="1664" y="69"/>
                  <a:pt x="1664" y="69"/>
                  <a:pt x="1664" y="69"/>
                </a:cubicBezTo>
                <a:cubicBezTo>
                  <a:pt x="1664" y="76"/>
                  <a:pt x="1663" y="82"/>
                  <a:pt x="1660" y="86"/>
                </a:cubicBezTo>
                <a:cubicBezTo>
                  <a:pt x="1657" y="90"/>
                  <a:pt x="1649" y="93"/>
                  <a:pt x="1641" y="93"/>
                </a:cubicBezTo>
                <a:cubicBezTo>
                  <a:pt x="1635" y="93"/>
                  <a:pt x="1630" y="91"/>
                  <a:pt x="1629" y="90"/>
                </a:cubicBezTo>
                <a:cubicBezTo>
                  <a:pt x="1622" y="86"/>
                  <a:pt x="1614" y="82"/>
                  <a:pt x="1596" y="83"/>
                </a:cubicBezTo>
                <a:cubicBezTo>
                  <a:pt x="1592" y="83"/>
                  <a:pt x="1588" y="83"/>
                  <a:pt x="1583" y="83"/>
                </a:cubicBezTo>
                <a:cubicBezTo>
                  <a:pt x="1569" y="84"/>
                  <a:pt x="1555" y="87"/>
                  <a:pt x="1545" y="91"/>
                </a:cubicBezTo>
                <a:cubicBezTo>
                  <a:pt x="1539" y="93"/>
                  <a:pt x="1534" y="95"/>
                  <a:pt x="1531" y="98"/>
                </a:cubicBezTo>
                <a:cubicBezTo>
                  <a:pt x="1527" y="101"/>
                  <a:pt x="1523" y="105"/>
                  <a:pt x="1523" y="110"/>
                </a:cubicBezTo>
                <a:cubicBezTo>
                  <a:pt x="1523" y="112"/>
                  <a:pt x="1524" y="114"/>
                  <a:pt x="1525" y="116"/>
                </a:cubicBezTo>
                <a:cubicBezTo>
                  <a:pt x="1525" y="117"/>
                  <a:pt x="1525" y="117"/>
                  <a:pt x="1525" y="117"/>
                </a:cubicBezTo>
                <a:cubicBezTo>
                  <a:pt x="1525" y="118"/>
                  <a:pt x="1525" y="118"/>
                  <a:pt x="1524" y="119"/>
                </a:cubicBezTo>
                <a:cubicBezTo>
                  <a:pt x="1522" y="120"/>
                  <a:pt x="1520" y="121"/>
                  <a:pt x="1518" y="121"/>
                </a:cubicBezTo>
                <a:cubicBezTo>
                  <a:pt x="1518" y="121"/>
                  <a:pt x="1517" y="121"/>
                  <a:pt x="1517" y="121"/>
                </a:cubicBezTo>
                <a:cubicBezTo>
                  <a:pt x="1517" y="121"/>
                  <a:pt x="1517" y="121"/>
                  <a:pt x="1517" y="121"/>
                </a:cubicBezTo>
                <a:cubicBezTo>
                  <a:pt x="1515" y="118"/>
                  <a:pt x="1511" y="118"/>
                  <a:pt x="1509" y="118"/>
                </a:cubicBezTo>
                <a:cubicBezTo>
                  <a:pt x="1503" y="118"/>
                  <a:pt x="1497" y="120"/>
                  <a:pt x="1491" y="124"/>
                </a:cubicBezTo>
                <a:cubicBezTo>
                  <a:pt x="1486" y="128"/>
                  <a:pt x="1481" y="134"/>
                  <a:pt x="1481" y="141"/>
                </a:cubicBezTo>
                <a:cubicBezTo>
                  <a:pt x="1481" y="142"/>
                  <a:pt x="1481" y="143"/>
                  <a:pt x="1481" y="143"/>
                </a:cubicBezTo>
                <a:cubicBezTo>
                  <a:pt x="1481" y="144"/>
                  <a:pt x="1481" y="145"/>
                  <a:pt x="1481" y="146"/>
                </a:cubicBezTo>
                <a:cubicBezTo>
                  <a:pt x="1481" y="150"/>
                  <a:pt x="1480" y="153"/>
                  <a:pt x="1479" y="155"/>
                </a:cubicBezTo>
                <a:cubicBezTo>
                  <a:pt x="1477" y="157"/>
                  <a:pt x="1476" y="158"/>
                  <a:pt x="1475" y="158"/>
                </a:cubicBezTo>
                <a:cubicBezTo>
                  <a:pt x="1474" y="158"/>
                  <a:pt x="1473" y="158"/>
                  <a:pt x="1473" y="158"/>
                </a:cubicBezTo>
                <a:cubicBezTo>
                  <a:pt x="1471" y="157"/>
                  <a:pt x="1469" y="157"/>
                  <a:pt x="1467" y="157"/>
                </a:cubicBezTo>
                <a:cubicBezTo>
                  <a:pt x="1454" y="157"/>
                  <a:pt x="1445" y="168"/>
                  <a:pt x="1444" y="179"/>
                </a:cubicBezTo>
                <a:cubicBezTo>
                  <a:pt x="1444" y="180"/>
                  <a:pt x="1438" y="183"/>
                  <a:pt x="1433" y="185"/>
                </a:cubicBezTo>
                <a:cubicBezTo>
                  <a:pt x="1430" y="186"/>
                  <a:pt x="1427" y="187"/>
                  <a:pt x="1424" y="188"/>
                </a:cubicBezTo>
                <a:cubicBezTo>
                  <a:pt x="1423" y="188"/>
                  <a:pt x="1422" y="188"/>
                  <a:pt x="1421" y="188"/>
                </a:cubicBezTo>
                <a:cubicBezTo>
                  <a:pt x="1421" y="188"/>
                  <a:pt x="1421" y="188"/>
                  <a:pt x="1421" y="188"/>
                </a:cubicBezTo>
                <a:cubicBezTo>
                  <a:pt x="1421" y="188"/>
                  <a:pt x="1421" y="188"/>
                  <a:pt x="1421" y="188"/>
                </a:cubicBezTo>
                <a:cubicBezTo>
                  <a:pt x="1421" y="188"/>
                  <a:pt x="1421" y="188"/>
                  <a:pt x="1421" y="188"/>
                </a:cubicBezTo>
                <a:cubicBezTo>
                  <a:pt x="1420" y="188"/>
                  <a:pt x="1419" y="188"/>
                  <a:pt x="1418" y="188"/>
                </a:cubicBezTo>
                <a:cubicBezTo>
                  <a:pt x="1415" y="188"/>
                  <a:pt x="1409" y="188"/>
                  <a:pt x="1403" y="189"/>
                </a:cubicBezTo>
                <a:cubicBezTo>
                  <a:pt x="1400" y="190"/>
                  <a:pt x="1397" y="191"/>
                  <a:pt x="1394" y="192"/>
                </a:cubicBezTo>
                <a:cubicBezTo>
                  <a:pt x="1392" y="193"/>
                  <a:pt x="1388" y="195"/>
                  <a:pt x="1388" y="201"/>
                </a:cubicBezTo>
                <a:cubicBezTo>
                  <a:pt x="1388" y="205"/>
                  <a:pt x="1391" y="207"/>
                  <a:pt x="1393" y="209"/>
                </a:cubicBezTo>
                <a:cubicBezTo>
                  <a:pt x="1399" y="215"/>
                  <a:pt x="1405" y="216"/>
                  <a:pt x="1410" y="215"/>
                </a:cubicBezTo>
                <a:cubicBezTo>
                  <a:pt x="1411" y="215"/>
                  <a:pt x="1411" y="215"/>
                  <a:pt x="1412" y="215"/>
                </a:cubicBezTo>
                <a:cubicBezTo>
                  <a:pt x="1414" y="215"/>
                  <a:pt x="1416" y="216"/>
                  <a:pt x="1419" y="216"/>
                </a:cubicBezTo>
                <a:cubicBezTo>
                  <a:pt x="1421" y="217"/>
                  <a:pt x="1426" y="221"/>
                  <a:pt x="1430" y="227"/>
                </a:cubicBezTo>
                <a:cubicBezTo>
                  <a:pt x="1434" y="232"/>
                  <a:pt x="1437" y="238"/>
                  <a:pt x="1443" y="242"/>
                </a:cubicBezTo>
                <a:cubicBezTo>
                  <a:pt x="1445" y="243"/>
                  <a:pt x="1448" y="243"/>
                  <a:pt x="1450" y="243"/>
                </a:cubicBezTo>
                <a:cubicBezTo>
                  <a:pt x="1457" y="243"/>
                  <a:pt x="1464" y="240"/>
                  <a:pt x="1467" y="234"/>
                </a:cubicBezTo>
                <a:cubicBezTo>
                  <a:pt x="1468" y="232"/>
                  <a:pt x="1469" y="230"/>
                  <a:pt x="1470" y="228"/>
                </a:cubicBezTo>
                <a:cubicBezTo>
                  <a:pt x="1472" y="230"/>
                  <a:pt x="1474" y="232"/>
                  <a:pt x="1477" y="233"/>
                </a:cubicBezTo>
                <a:cubicBezTo>
                  <a:pt x="1480" y="235"/>
                  <a:pt x="1483" y="235"/>
                  <a:pt x="1486" y="235"/>
                </a:cubicBezTo>
                <a:cubicBezTo>
                  <a:pt x="1496" y="235"/>
                  <a:pt x="1509" y="232"/>
                  <a:pt x="1513" y="232"/>
                </a:cubicBezTo>
                <a:cubicBezTo>
                  <a:pt x="1513" y="232"/>
                  <a:pt x="1513" y="232"/>
                  <a:pt x="1513" y="232"/>
                </a:cubicBezTo>
                <a:cubicBezTo>
                  <a:pt x="1516" y="232"/>
                  <a:pt x="1525" y="234"/>
                  <a:pt x="1535" y="236"/>
                </a:cubicBezTo>
                <a:cubicBezTo>
                  <a:pt x="1545" y="238"/>
                  <a:pt x="1556" y="241"/>
                  <a:pt x="1559" y="243"/>
                </a:cubicBezTo>
                <a:cubicBezTo>
                  <a:pt x="1565" y="247"/>
                  <a:pt x="1572" y="249"/>
                  <a:pt x="1580" y="252"/>
                </a:cubicBezTo>
                <a:cubicBezTo>
                  <a:pt x="1587" y="255"/>
                  <a:pt x="1593" y="258"/>
                  <a:pt x="1594" y="262"/>
                </a:cubicBezTo>
                <a:cubicBezTo>
                  <a:pt x="1597" y="266"/>
                  <a:pt x="1599" y="279"/>
                  <a:pt x="1600" y="292"/>
                </a:cubicBezTo>
                <a:cubicBezTo>
                  <a:pt x="1601" y="298"/>
                  <a:pt x="1601" y="304"/>
                  <a:pt x="1602" y="309"/>
                </a:cubicBezTo>
                <a:cubicBezTo>
                  <a:pt x="1603" y="314"/>
                  <a:pt x="1603" y="317"/>
                  <a:pt x="1605" y="321"/>
                </a:cubicBezTo>
                <a:cubicBezTo>
                  <a:pt x="1607" y="322"/>
                  <a:pt x="1609" y="324"/>
                  <a:pt x="1612" y="324"/>
                </a:cubicBezTo>
                <a:cubicBezTo>
                  <a:pt x="1612" y="324"/>
                  <a:pt x="1613" y="324"/>
                  <a:pt x="1614" y="323"/>
                </a:cubicBezTo>
                <a:cubicBezTo>
                  <a:pt x="1613" y="327"/>
                  <a:pt x="1612" y="331"/>
                  <a:pt x="1612" y="334"/>
                </a:cubicBezTo>
                <a:cubicBezTo>
                  <a:pt x="1612" y="339"/>
                  <a:pt x="1613" y="343"/>
                  <a:pt x="1615" y="347"/>
                </a:cubicBezTo>
                <a:cubicBezTo>
                  <a:pt x="1617" y="350"/>
                  <a:pt x="1619" y="354"/>
                  <a:pt x="1625" y="354"/>
                </a:cubicBezTo>
                <a:cubicBezTo>
                  <a:pt x="1627" y="354"/>
                  <a:pt x="1630" y="354"/>
                  <a:pt x="1633" y="355"/>
                </a:cubicBezTo>
                <a:cubicBezTo>
                  <a:pt x="1632" y="356"/>
                  <a:pt x="1630" y="358"/>
                  <a:pt x="1629" y="360"/>
                </a:cubicBezTo>
                <a:cubicBezTo>
                  <a:pt x="1627" y="364"/>
                  <a:pt x="1624" y="367"/>
                  <a:pt x="1624" y="373"/>
                </a:cubicBezTo>
                <a:cubicBezTo>
                  <a:pt x="1624" y="373"/>
                  <a:pt x="1624" y="373"/>
                  <a:pt x="1624" y="374"/>
                </a:cubicBezTo>
                <a:cubicBezTo>
                  <a:pt x="1625" y="383"/>
                  <a:pt x="1634" y="403"/>
                  <a:pt x="1637" y="409"/>
                </a:cubicBezTo>
                <a:cubicBezTo>
                  <a:pt x="1641" y="414"/>
                  <a:pt x="1646" y="416"/>
                  <a:pt x="1651" y="418"/>
                </a:cubicBezTo>
                <a:cubicBezTo>
                  <a:pt x="1651" y="418"/>
                  <a:pt x="1652" y="419"/>
                  <a:pt x="1652" y="419"/>
                </a:cubicBezTo>
                <a:cubicBezTo>
                  <a:pt x="1652" y="420"/>
                  <a:pt x="1651" y="421"/>
                  <a:pt x="1651" y="423"/>
                </a:cubicBezTo>
                <a:cubicBezTo>
                  <a:pt x="1651" y="424"/>
                  <a:pt x="1652" y="426"/>
                  <a:pt x="1653" y="427"/>
                </a:cubicBezTo>
                <a:cubicBezTo>
                  <a:pt x="1654" y="430"/>
                  <a:pt x="1657" y="436"/>
                  <a:pt x="1659" y="441"/>
                </a:cubicBezTo>
                <a:cubicBezTo>
                  <a:pt x="1663" y="447"/>
                  <a:pt x="1666" y="453"/>
                  <a:pt x="1672" y="456"/>
                </a:cubicBezTo>
                <a:cubicBezTo>
                  <a:pt x="1675" y="457"/>
                  <a:pt x="1682" y="462"/>
                  <a:pt x="1689" y="467"/>
                </a:cubicBezTo>
                <a:cubicBezTo>
                  <a:pt x="1695" y="472"/>
                  <a:pt x="1701" y="479"/>
                  <a:pt x="1701" y="480"/>
                </a:cubicBezTo>
                <a:cubicBezTo>
                  <a:pt x="1703" y="484"/>
                  <a:pt x="1708" y="486"/>
                  <a:pt x="1711" y="486"/>
                </a:cubicBezTo>
                <a:cubicBezTo>
                  <a:pt x="1716" y="486"/>
                  <a:pt x="1720" y="483"/>
                  <a:pt x="1724" y="481"/>
                </a:cubicBezTo>
                <a:cubicBezTo>
                  <a:pt x="1726" y="481"/>
                  <a:pt x="1727" y="480"/>
                  <a:pt x="1727" y="480"/>
                </a:cubicBezTo>
                <a:cubicBezTo>
                  <a:pt x="1728" y="482"/>
                  <a:pt x="1729" y="484"/>
                  <a:pt x="1729" y="486"/>
                </a:cubicBezTo>
                <a:cubicBezTo>
                  <a:pt x="1731" y="490"/>
                  <a:pt x="1734" y="496"/>
                  <a:pt x="1742" y="497"/>
                </a:cubicBezTo>
                <a:cubicBezTo>
                  <a:pt x="1744" y="497"/>
                  <a:pt x="1745" y="496"/>
                  <a:pt x="1746" y="496"/>
                </a:cubicBezTo>
                <a:cubicBezTo>
                  <a:pt x="1746" y="496"/>
                  <a:pt x="1746" y="496"/>
                  <a:pt x="1747" y="496"/>
                </a:cubicBezTo>
                <a:cubicBezTo>
                  <a:pt x="1756" y="496"/>
                  <a:pt x="1762" y="492"/>
                  <a:pt x="1769" y="485"/>
                </a:cubicBezTo>
                <a:cubicBezTo>
                  <a:pt x="1780" y="474"/>
                  <a:pt x="1777" y="461"/>
                  <a:pt x="1778" y="454"/>
                </a:cubicBezTo>
                <a:cubicBezTo>
                  <a:pt x="1778" y="451"/>
                  <a:pt x="1778" y="449"/>
                  <a:pt x="1778" y="447"/>
                </a:cubicBezTo>
                <a:cubicBezTo>
                  <a:pt x="1778" y="447"/>
                  <a:pt x="1779" y="448"/>
                  <a:pt x="1779" y="448"/>
                </a:cubicBezTo>
                <a:cubicBezTo>
                  <a:pt x="1781" y="448"/>
                  <a:pt x="1783" y="449"/>
                  <a:pt x="1786" y="449"/>
                </a:cubicBezTo>
                <a:cubicBezTo>
                  <a:pt x="1790" y="449"/>
                  <a:pt x="1794" y="447"/>
                  <a:pt x="1797" y="444"/>
                </a:cubicBezTo>
                <a:cubicBezTo>
                  <a:pt x="1799" y="441"/>
                  <a:pt x="1800" y="437"/>
                  <a:pt x="1800" y="433"/>
                </a:cubicBezTo>
                <a:cubicBezTo>
                  <a:pt x="1800" y="432"/>
                  <a:pt x="1800" y="431"/>
                  <a:pt x="1800" y="431"/>
                </a:cubicBezTo>
                <a:cubicBezTo>
                  <a:pt x="1799" y="424"/>
                  <a:pt x="1797" y="419"/>
                  <a:pt x="1797" y="416"/>
                </a:cubicBezTo>
                <a:cubicBezTo>
                  <a:pt x="1797" y="415"/>
                  <a:pt x="1798" y="415"/>
                  <a:pt x="1798" y="415"/>
                </a:cubicBezTo>
                <a:cubicBezTo>
                  <a:pt x="1798" y="415"/>
                  <a:pt x="1799" y="414"/>
                  <a:pt x="1801" y="414"/>
                </a:cubicBezTo>
                <a:cubicBezTo>
                  <a:pt x="1810" y="412"/>
                  <a:pt x="1817" y="408"/>
                  <a:pt x="1822" y="405"/>
                </a:cubicBezTo>
                <a:cubicBezTo>
                  <a:pt x="1827" y="401"/>
                  <a:pt x="1830" y="399"/>
                  <a:pt x="1832" y="399"/>
                </a:cubicBezTo>
                <a:cubicBezTo>
                  <a:pt x="1837" y="399"/>
                  <a:pt x="1850" y="401"/>
                  <a:pt x="1860" y="401"/>
                </a:cubicBezTo>
                <a:cubicBezTo>
                  <a:pt x="1863" y="401"/>
                  <a:pt x="1865" y="401"/>
                  <a:pt x="1867" y="401"/>
                </a:cubicBezTo>
                <a:cubicBezTo>
                  <a:pt x="1869" y="400"/>
                  <a:pt x="1872" y="400"/>
                  <a:pt x="1874" y="397"/>
                </a:cubicBezTo>
                <a:cubicBezTo>
                  <a:pt x="1876" y="394"/>
                  <a:pt x="1879" y="388"/>
                  <a:pt x="1883" y="382"/>
                </a:cubicBezTo>
                <a:cubicBezTo>
                  <a:pt x="1885" y="379"/>
                  <a:pt x="1888" y="377"/>
                  <a:pt x="1889" y="375"/>
                </a:cubicBezTo>
                <a:cubicBezTo>
                  <a:pt x="1890" y="374"/>
                  <a:pt x="1891" y="373"/>
                  <a:pt x="1892" y="373"/>
                </a:cubicBezTo>
                <a:cubicBezTo>
                  <a:pt x="1892" y="373"/>
                  <a:pt x="1892" y="373"/>
                  <a:pt x="1892" y="373"/>
                </a:cubicBezTo>
                <a:cubicBezTo>
                  <a:pt x="1892" y="373"/>
                  <a:pt x="1892" y="373"/>
                  <a:pt x="1892" y="373"/>
                </a:cubicBezTo>
                <a:cubicBezTo>
                  <a:pt x="1900" y="372"/>
                  <a:pt x="1920" y="370"/>
                  <a:pt x="1939" y="366"/>
                </a:cubicBezTo>
                <a:cubicBezTo>
                  <a:pt x="1949" y="364"/>
                  <a:pt x="1958" y="359"/>
                  <a:pt x="1966" y="355"/>
                </a:cubicBezTo>
                <a:cubicBezTo>
                  <a:pt x="1973" y="352"/>
                  <a:pt x="1980" y="348"/>
                  <a:pt x="1981" y="348"/>
                </a:cubicBezTo>
                <a:cubicBezTo>
                  <a:pt x="1981" y="348"/>
                  <a:pt x="1981" y="348"/>
                  <a:pt x="1981" y="348"/>
                </a:cubicBezTo>
                <a:cubicBezTo>
                  <a:pt x="1984" y="348"/>
                  <a:pt x="1986" y="349"/>
                  <a:pt x="1989" y="349"/>
                </a:cubicBezTo>
                <a:cubicBezTo>
                  <a:pt x="1992" y="349"/>
                  <a:pt x="1995" y="350"/>
                  <a:pt x="1998" y="349"/>
                </a:cubicBezTo>
                <a:cubicBezTo>
                  <a:pt x="1999" y="349"/>
                  <a:pt x="2001" y="348"/>
                  <a:pt x="2002" y="347"/>
                </a:cubicBezTo>
                <a:cubicBezTo>
                  <a:pt x="2004" y="346"/>
                  <a:pt x="2006" y="344"/>
                  <a:pt x="2006" y="341"/>
                </a:cubicBezTo>
                <a:cubicBezTo>
                  <a:pt x="2006" y="339"/>
                  <a:pt x="2005" y="337"/>
                  <a:pt x="2004" y="336"/>
                </a:cubicBezTo>
                <a:cubicBezTo>
                  <a:pt x="2006" y="336"/>
                  <a:pt x="2007" y="337"/>
                  <a:pt x="2008" y="337"/>
                </a:cubicBezTo>
                <a:cubicBezTo>
                  <a:pt x="2010" y="337"/>
                  <a:pt x="2012" y="336"/>
                  <a:pt x="2014" y="336"/>
                </a:cubicBezTo>
                <a:cubicBezTo>
                  <a:pt x="2026" y="333"/>
                  <a:pt x="2030" y="323"/>
                  <a:pt x="2030" y="316"/>
                </a:cubicBezTo>
                <a:cubicBezTo>
                  <a:pt x="2030" y="312"/>
                  <a:pt x="2029" y="308"/>
                  <a:pt x="2027" y="305"/>
                </a:cubicBezTo>
                <a:cubicBezTo>
                  <a:pt x="2025" y="304"/>
                  <a:pt x="2023" y="294"/>
                  <a:pt x="2020" y="287"/>
                </a:cubicBezTo>
                <a:cubicBezTo>
                  <a:pt x="2019" y="286"/>
                  <a:pt x="2019" y="285"/>
                  <a:pt x="2019" y="284"/>
                </a:cubicBezTo>
                <a:cubicBezTo>
                  <a:pt x="2019" y="283"/>
                  <a:pt x="2019" y="282"/>
                  <a:pt x="2020" y="281"/>
                </a:cubicBezTo>
                <a:cubicBezTo>
                  <a:pt x="2021" y="281"/>
                  <a:pt x="2023" y="279"/>
                  <a:pt x="2028" y="279"/>
                </a:cubicBezTo>
                <a:close/>
                <a:moveTo>
                  <a:pt x="1640" y="304"/>
                </a:moveTo>
                <a:cubicBezTo>
                  <a:pt x="1639" y="304"/>
                  <a:pt x="1637" y="304"/>
                  <a:pt x="1636" y="304"/>
                </a:cubicBezTo>
                <a:cubicBezTo>
                  <a:pt x="1634" y="304"/>
                  <a:pt x="1633" y="304"/>
                  <a:pt x="1631" y="304"/>
                </a:cubicBezTo>
                <a:cubicBezTo>
                  <a:pt x="1632" y="303"/>
                  <a:pt x="1633" y="302"/>
                  <a:pt x="1633" y="302"/>
                </a:cubicBezTo>
                <a:cubicBezTo>
                  <a:pt x="1633" y="301"/>
                  <a:pt x="1634" y="301"/>
                  <a:pt x="1635" y="301"/>
                </a:cubicBezTo>
                <a:cubicBezTo>
                  <a:pt x="1637" y="301"/>
                  <a:pt x="1642" y="304"/>
                  <a:pt x="1645" y="304"/>
                </a:cubicBezTo>
                <a:cubicBezTo>
                  <a:pt x="1642" y="304"/>
                  <a:pt x="1641" y="304"/>
                  <a:pt x="1640" y="304"/>
                </a:cubicBezTo>
                <a:close/>
                <a:moveTo>
                  <a:pt x="1660" y="330"/>
                </a:moveTo>
                <a:cubicBezTo>
                  <a:pt x="1660" y="332"/>
                  <a:pt x="1660" y="335"/>
                  <a:pt x="1659" y="336"/>
                </a:cubicBezTo>
                <a:cubicBezTo>
                  <a:pt x="1658" y="336"/>
                  <a:pt x="1657" y="336"/>
                  <a:pt x="1657" y="335"/>
                </a:cubicBezTo>
                <a:cubicBezTo>
                  <a:pt x="1658" y="333"/>
                  <a:pt x="1658" y="329"/>
                  <a:pt x="1659" y="326"/>
                </a:cubicBezTo>
                <a:cubicBezTo>
                  <a:pt x="1660" y="328"/>
                  <a:pt x="1660" y="330"/>
                  <a:pt x="1660" y="330"/>
                </a:cubicBezTo>
                <a:close/>
                <a:moveTo>
                  <a:pt x="1978" y="315"/>
                </a:moveTo>
                <a:cubicBezTo>
                  <a:pt x="1978" y="313"/>
                  <a:pt x="1979" y="310"/>
                  <a:pt x="1980" y="308"/>
                </a:cubicBezTo>
                <a:cubicBezTo>
                  <a:pt x="1980" y="308"/>
                  <a:pt x="1980" y="307"/>
                  <a:pt x="1981" y="307"/>
                </a:cubicBezTo>
                <a:cubicBezTo>
                  <a:pt x="1982" y="307"/>
                  <a:pt x="1984" y="308"/>
                  <a:pt x="1985" y="308"/>
                </a:cubicBezTo>
                <a:cubicBezTo>
                  <a:pt x="1988" y="310"/>
                  <a:pt x="1989" y="311"/>
                  <a:pt x="1989" y="312"/>
                </a:cubicBezTo>
                <a:cubicBezTo>
                  <a:pt x="1989" y="312"/>
                  <a:pt x="1989" y="312"/>
                  <a:pt x="1989" y="312"/>
                </a:cubicBezTo>
                <a:cubicBezTo>
                  <a:pt x="1989" y="313"/>
                  <a:pt x="1989" y="313"/>
                  <a:pt x="1989" y="314"/>
                </a:cubicBezTo>
                <a:cubicBezTo>
                  <a:pt x="1989" y="316"/>
                  <a:pt x="1989" y="317"/>
                  <a:pt x="1989" y="319"/>
                </a:cubicBezTo>
                <a:cubicBezTo>
                  <a:pt x="1986" y="317"/>
                  <a:pt x="1982" y="315"/>
                  <a:pt x="1978" y="315"/>
                </a:cubicBezTo>
                <a:close/>
                <a:moveTo>
                  <a:pt x="2143" y="431"/>
                </a:moveTo>
                <a:cubicBezTo>
                  <a:pt x="2144" y="430"/>
                  <a:pt x="2149" y="428"/>
                  <a:pt x="2153" y="428"/>
                </a:cubicBezTo>
                <a:cubicBezTo>
                  <a:pt x="2158" y="427"/>
                  <a:pt x="2162" y="427"/>
                  <a:pt x="2162" y="427"/>
                </a:cubicBezTo>
                <a:cubicBezTo>
                  <a:pt x="2164" y="427"/>
                  <a:pt x="2165" y="426"/>
                  <a:pt x="2166" y="425"/>
                </a:cubicBezTo>
                <a:cubicBezTo>
                  <a:pt x="2166" y="425"/>
                  <a:pt x="2169" y="422"/>
                  <a:pt x="2173" y="418"/>
                </a:cubicBezTo>
                <a:cubicBezTo>
                  <a:pt x="2176" y="414"/>
                  <a:pt x="2180" y="409"/>
                  <a:pt x="2180" y="402"/>
                </a:cubicBezTo>
                <a:cubicBezTo>
                  <a:pt x="2180" y="400"/>
                  <a:pt x="2179" y="397"/>
                  <a:pt x="2177" y="395"/>
                </a:cubicBezTo>
                <a:cubicBezTo>
                  <a:pt x="2177" y="395"/>
                  <a:pt x="2177" y="395"/>
                  <a:pt x="2177" y="395"/>
                </a:cubicBezTo>
                <a:cubicBezTo>
                  <a:pt x="2177" y="395"/>
                  <a:pt x="2177" y="395"/>
                  <a:pt x="2177" y="395"/>
                </a:cubicBezTo>
                <a:cubicBezTo>
                  <a:pt x="2169" y="386"/>
                  <a:pt x="2154" y="382"/>
                  <a:pt x="2146" y="381"/>
                </a:cubicBezTo>
                <a:cubicBezTo>
                  <a:pt x="2145" y="381"/>
                  <a:pt x="2144" y="381"/>
                  <a:pt x="2144" y="381"/>
                </a:cubicBezTo>
                <a:cubicBezTo>
                  <a:pt x="2133" y="381"/>
                  <a:pt x="2129" y="387"/>
                  <a:pt x="2116" y="387"/>
                </a:cubicBezTo>
                <a:cubicBezTo>
                  <a:pt x="2104" y="387"/>
                  <a:pt x="2096" y="391"/>
                  <a:pt x="2092" y="391"/>
                </a:cubicBezTo>
                <a:cubicBezTo>
                  <a:pt x="2090" y="390"/>
                  <a:pt x="2090" y="390"/>
                  <a:pt x="2089" y="389"/>
                </a:cubicBezTo>
                <a:cubicBezTo>
                  <a:pt x="2082" y="381"/>
                  <a:pt x="2068" y="379"/>
                  <a:pt x="2058" y="379"/>
                </a:cubicBezTo>
                <a:cubicBezTo>
                  <a:pt x="2056" y="379"/>
                  <a:pt x="2054" y="379"/>
                  <a:pt x="2052" y="379"/>
                </a:cubicBezTo>
                <a:cubicBezTo>
                  <a:pt x="2050" y="380"/>
                  <a:pt x="2047" y="381"/>
                  <a:pt x="2045" y="384"/>
                </a:cubicBezTo>
                <a:cubicBezTo>
                  <a:pt x="2045" y="385"/>
                  <a:pt x="2044" y="386"/>
                  <a:pt x="2042" y="388"/>
                </a:cubicBezTo>
                <a:cubicBezTo>
                  <a:pt x="2041" y="390"/>
                  <a:pt x="2039" y="393"/>
                  <a:pt x="2039" y="397"/>
                </a:cubicBezTo>
                <a:cubicBezTo>
                  <a:pt x="2039" y="401"/>
                  <a:pt x="2040" y="404"/>
                  <a:pt x="2042" y="409"/>
                </a:cubicBezTo>
                <a:cubicBezTo>
                  <a:pt x="2045" y="415"/>
                  <a:pt x="2048" y="420"/>
                  <a:pt x="2051" y="424"/>
                </a:cubicBezTo>
                <a:cubicBezTo>
                  <a:pt x="2054" y="428"/>
                  <a:pt x="2057" y="431"/>
                  <a:pt x="2063" y="432"/>
                </a:cubicBezTo>
                <a:cubicBezTo>
                  <a:pt x="2063" y="432"/>
                  <a:pt x="2064" y="432"/>
                  <a:pt x="2065" y="431"/>
                </a:cubicBezTo>
                <a:cubicBezTo>
                  <a:pt x="2066" y="431"/>
                  <a:pt x="2069" y="431"/>
                  <a:pt x="2072" y="431"/>
                </a:cubicBezTo>
                <a:cubicBezTo>
                  <a:pt x="2076" y="431"/>
                  <a:pt x="2079" y="431"/>
                  <a:pt x="2082" y="432"/>
                </a:cubicBezTo>
                <a:cubicBezTo>
                  <a:pt x="2083" y="432"/>
                  <a:pt x="2084" y="433"/>
                  <a:pt x="2084" y="433"/>
                </a:cubicBezTo>
                <a:cubicBezTo>
                  <a:pt x="2084" y="433"/>
                  <a:pt x="2084" y="433"/>
                  <a:pt x="2084" y="433"/>
                </a:cubicBezTo>
                <a:cubicBezTo>
                  <a:pt x="2086" y="440"/>
                  <a:pt x="2092" y="448"/>
                  <a:pt x="2103" y="448"/>
                </a:cubicBezTo>
                <a:cubicBezTo>
                  <a:pt x="2103" y="448"/>
                  <a:pt x="2103" y="448"/>
                  <a:pt x="2103" y="448"/>
                </a:cubicBezTo>
                <a:cubicBezTo>
                  <a:pt x="2106" y="448"/>
                  <a:pt x="2110" y="447"/>
                  <a:pt x="2113" y="446"/>
                </a:cubicBezTo>
                <a:cubicBezTo>
                  <a:pt x="2120" y="444"/>
                  <a:pt x="2126" y="442"/>
                  <a:pt x="2131" y="440"/>
                </a:cubicBezTo>
                <a:cubicBezTo>
                  <a:pt x="2136" y="438"/>
                  <a:pt x="2140" y="435"/>
                  <a:pt x="2143" y="431"/>
                </a:cubicBezTo>
                <a:close/>
                <a:moveTo>
                  <a:pt x="3068" y="1676"/>
                </a:moveTo>
                <a:cubicBezTo>
                  <a:pt x="3066" y="1668"/>
                  <a:pt x="3063" y="1661"/>
                  <a:pt x="3055" y="1658"/>
                </a:cubicBezTo>
                <a:cubicBezTo>
                  <a:pt x="3053" y="1664"/>
                  <a:pt x="3053" y="1664"/>
                  <a:pt x="3053" y="1664"/>
                </a:cubicBezTo>
                <a:cubicBezTo>
                  <a:pt x="3055" y="1658"/>
                  <a:pt x="3055" y="1658"/>
                  <a:pt x="3055" y="1658"/>
                </a:cubicBezTo>
                <a:cubicBezTo>
                  <a:pt x="3053" y="1657"/>
                  <a:pt x="3051" y="1657"/>
                  <a:pt x="3049" y="1657"/>
                </a:cubicBezTo>
                <a:cubicBezTo>
                  <a:pt x="3045" y="1657"/>
                  <a:pt x="3041" y="1659"/>
                  <a:pt x="3038" y="1662"/>
                </a:cubicBezTo>
                <a:cubicBezTo>
                  <a:pt x="3031" y="1671"/>
                  <a:pt x="3028" y="1684"/>
                  <a:pt x="3021" y="1693"/>
                </a:cubicBezTo>
                <a:cubicBezTo>
                  <a:pt x="3015" y="1700"/>
                  <a:pt x="3010" y="1707"/>
                  <a:pt x="3005" y="1711"/>
                </a:cubicBezTo>
                <a:cubicBezTo>
                  <a:pt x="3003" y="1713"/>
                  <a:pt x="3001" y="1715"/>
                  <a:pt x="2999" y="1716"/>
                </a:cubicBezTo>
                <a:cubicBezTo>
                  <a:pt x="2998" y="1717"/>
                  <a:pt x="2998" y="1717"/>
                  <a:pt x="2997" y="1717"/>
                </a:cubicBezTo>
                <a:cubicBezTo>
                  <a:pt x="2997" y="1717"/>
                  <a:pt x="2996" y="1717"/>
                  <a:pt x="2996" y="1717"/>
                </a:cubicBezTo>
                <a:cubicBezTo>
                  <a:pt x="2991" y="1717"/>
                  <a:pt x="2985" y="1720"/>
                  <a:pt x="2979" y="1724"/>
                </a:cubicBezTo>
                <a:cubicBezTo>
                  <a:pt x="2973" y="1728"/>
                  <a:pt x="2967" y="1736"/>
                  <a:pt x="2967" y="1746"/>
                </a:cubicBezTo>
                <a:cubicBezTo>
                  <a:pt x="2967" y="1749"/>
                  <a:pt x="2968" y="1752"/>
                  <a:pt x="2969" y="1756"/>
                </a:cubicBezTo>
                <a:cubicBezTo>
                  <a:pt x="2973" y="1765"/>
                  <a:pt x="2974" y="1773"/>
                  <a:pt x="2974" y="1781"/>
                </a:cubicBezTo>
                <a:cubicBezTo>
                  <a:pt x="2974" y="1790"/>
                  <a:pt x="2972" y="1797"/>
                  <a:pt x="2969" y="1801"/>
                </a:cubicBezTo>
                <a:cubicBezTo>
                  <a:pt x="2966" y="1804"/>
                  <a:pt x="2965" y="1809"/>
                  <a:pt x="2965" y="1813"/>
                </a:cubicBezTo>
                <a:cubicBezTo>
                  <a:pt x="2966" y="1826"/>
                  <a:pt x="2973" y="1843"/>
                  <a:pt x="2973" y="1853"/>
                </a:cubicBezTo>
                <a:cubicBezTo>
                  <a:pt x="2973" y="1854"/>
                  <a:pt x="2972" y="1855"/>
                  <a:pt x="2972" y="1856"/>
                </a:cubicBezTo>
                <a:cubicBezTo>
                  <a:pt x="2972" y="1858"/>
                  <a:pt x="2972" y="1861"/>
                  <a:pt x="2972" y="1863"/>
                </a:cubicBezTo>
                <a:cubicBezTo>
                  <a:pt x="2972" y="1870"/>
                  <a:pt x="2974" y="1876"/>
                  <a:pt x="2978" y="1881"/>
                </a:cubicBezTo>
                <a:cubicBezTo>
                  <a:pt x="2983" y="1886"/>
                  <a:pt x="2990" y="1888"/>
                  <a:pt x="2998" y="1888"/>
                </a:cubicBezTo>
                <a:cubicBezTo>
                  <a:pt x="2998" y="1888"/>
                  <a:pt x="2998" y="1888"/>
                  <a:pt x="2998" y="1888"/>
                </a:cubicBezTo>
                <a:cubicBezTo>
                  <a:pt x="3007" y="1888"/>
                  <a:pt x="3014" y="1886"/>
                  <a:pt x="3020" y="1881"/>
                </a:cubicBezTo>
                <a:cubicBezTo>
                  <a:pt x="3025" y="1875"/>
                  <a:pt x="3029" y="1868"/>
                  <a:pt x="3032" y="1859"/>
                </a:cubicBezTo>
                <a:cubicBezTo>
                  <a:pt x="3040" y="1840"/>
                  <a:pt x="3041" y="1822"/>
                  <a:pt x="3047" y="1808"/>
                </a:cubicBezTo>
                <a:cubicBezTo>
                  <a:pt x="3051" y="1800"/>
                  <a:pt x="3054" y="1788"/>
                  <a:pt x="3057" y="1777"/>
                </a:cubicBezTo>
                <a:cubicBezTo>
                  <a:pt x="3060" y="1766"/>
                  <a:pt x="3062" y="1756"/>
                  <a:pt x="3063" y="1753"/>
                </a:cubicBezTo>
                <a:cubicBezTo>
                  <a:pt x="3067" y="1744"/>
                  <a:pt x="3073" y="1722"/>
                  <a:pt x="3073" y="1705"/>
                </a:cubicBezTo>
                <a:cubicBezTo>
                  <a:pt x="3073" y="1703"/>
                  <a:pt x="3073" y="1702"/>
                  <a:pt x="3073" y="1701"/>
                </a:cubicBezTo>
                <a:cubicBezTo>
                  <a:pt x="3072" y="1693"/>
                  <a:pt x="3071" y="1684"/>
                  <a:pt x="3068" y="1676"/>
                </a:cubicBezTo>
                <a:close/>
                <a:moveTo>
                  <a:pt x="4007" y="1637"/>
                </a:moveTo>
                <a:cubicBezTo>
                  <a:pt x="4007" y="1637"/>
                  <a:pt x="4008" y="1637"/>
                  <a:pt x="4008" y="1637"/>
                </a:cubicBezTo>
                <a:cubicBezTo>
                  <a:pt x="4014" y="1637"/>
                  <a:pt x="4021" y="1631"/>
                  <a:pt x="4021" y="1623"/>
                </a:cubicBezTo>
                <a:cubicBezTo>
                  <a:pt x="4021" y="1622"/>
                  <a:pt x="4021" y="1622"/>
                  <a:pt x="4021" y="1621"/>
                </a:cubicBezTo>
                <a:cubicBezTo>
                  <a:pt x="4021" y="1616"/>
                  <a:pt x="4019" y="1612"/>
                  <a:pt x="4016" y="1609"/>
                </a:cubicBezTo>
                <a:cubicBezTo>
                  <a:pt x="4013" y="1606"/>
                  <a:pt x="4010" y="1605"/>
                  <a:pt x="4006" y="1605"/>
                </a:cubicBezTo>
                <a:cubicBezTo>
                  <a:pt x="3999" y="1605"/>
                  <a:pt x="3992" y="1609"/>
                  <a:pt x="3991" y="1617"/>
                </a:cubicBezTo>
                <a:cubicBezTo>
                  <a:pt x="3991" y="1617"/>
                  <a:pt x="3991" y="1617"/>
                  <a:pt x="3991" y="1617"/>
                </a:cubicBezTo>
                <a:cubicBezTo>
                  <a:pt x="3991" y="1618"/>
                  <a:pt x="3990" y="1619"/>
                  <a:pt x="3990" y="1621"/>
                </a:cubicBezTo>
                <a:cubicBezTo>
                  <a:pt x="3991" y="1631"/>
                  <a:pt x="3999" y="1637"/>
                  <a:pt x="4007" y="1637"/>
                </a:cubicBezTo>
                <a:close/>
                <a:moveTo>
                  <a:pt x="1369" y="1135"/>
                </a:moveTo>
                <a:cubicBezTo>
                  <a:pt x="1368" y="1129"/>
                  <a:pt x="1365" y="1124"/>
                  <a:pt x="1360" y="1119"/>
                </a:cubicBezTo>
                <a:cubicBezTo>
                  <a:pt x="1355" y="1115"/>
                  <a:pt x="1350" y="1111"/>
                  <a:pt x="1343" y="1111"/>
                </a:cubicBezTo>
                <a:cubicBezTo>
                  <a:pt x="1342" y="1111"/>
                  <a:pt x="1342" y="1112"/>
                  <a:pt x="1341" y="1112"/>
                </a:cubicBezTo>
                <a:cubicBezTo>
                  <a:pt x="1341" y="1112"/>
                  <a:pt x="1341" y="1112"/>
                  <a:pt x="1341" y="1112"/>
                </a:cubicBezTo>
                <a:cubicBezTo>
                  <a:pt x="1339" y="1112"/>
                  <a:pt x="1333" y="1109"/>
                  <a:pt x="1327" y="1106"/>
                </a:cubicBezTo>
                <a:cubicBezTo>
                  <a:pt x="1322" y="1102"/>
                  <a:pt x="1316" y="1097"/>
                  <a:pt x="1312" y="1093"/>
                </a:cubicBezTo>
                <a:cubicBezTo>
                  <a:pt x="1300" y="1081"/>
                  <a:pt x="1281" y="1082"/>
                  <a:pt x="1274" y="1082"/>
                </a:cubicBezTo>
                <a:cubicBezTo>
                  <a:pt x="1269" y="1082"/>
                  <a:pt x="1261" y="1084"/>
                  <a:pt x="1253" y="1087"/>
                </a:cubicBezTo>
                <a:cubicBezTo>
                  <a:pt x="1245" y="1089"/>
                  <a:pt x="1238" y="1092"/>
                  <a:pt x="1238" y="1092"/>
                </a:cubicBezTo>
                <a:cubicBezTo>
                  <a:pt x="1235" y="1092"/>
                  <a:pt x="1234" y="1094"/>
                  <a:pt x="1234" y="1097"/>
                </a:cubicBezTo>
                <a:cubicBezTo>
                  <a:pt x="1233" y="1098"/>
                  <a:pt x="1233" y="1098"/>
                  <a:pt x="1233" y="1099"/>
                </a:cubicBezTo>
                <a:cubicBezTo>
                  <a:pt x="1233" y="1104"/>
                  <a:pt x="1235" y="1108"/>
                  <a:pt x="1239" y="1111"/>
                </a:cubicBezTo>
                <a:cubicBezTo>
                  <a:pt x="1243" y="1113"/>
                  <a:pt x="1246" y="1113"/>
                  <a:pt x="1250" y="1114"/>
                </a:cubicBezTo>
                <a:cubicBezTo>
                  <a:pt x="1254" y="1114"/>
                  <a:pt x="1259" y="1113"/>
                  <a:pt x="1264" y="1113"/>
                </a:cubicBezTo>
                <a:cubicBezTo>
                  <a:pt x="1270" y="1113"/>
                  <a:pt x="1278" y="1112"/>
                  <a:pt x="1286" y="1112"/>
                </a:cubicBezTo>
                <a:cubicBezTo>
                  <a:pt x="1290" y="1112"/>
                  <a:pt x="1294" y="1113"/>
                  <a:pt x="1298" y="1113"/>
                </a:cubicBezTo>
                <a:cubicBezTo>
                  <a:pt x="1299" y="1113"/>
                  <a:pt x="1300" y="1114"/>
                  <a:pt x="1301" y="1114"/>
                </a:cubicBezTo>
                <a:cubicBezTo>
                  <a:pt x="1301" y="1114"/>
                  <a:pt x="1301" y="1114"/>
                  <a:pt x="1301" y="1114"/>
                </a:cubicBezTo>
                <a:cubicBezTo>
                  <a:pt x="1301" y="1114"/>
                  <a:pt x="1301" y="1114"/>
                  <a:pt x="1301" y="1114"/>
                </a:cubicBezTo>
                <a:cubicBezTo>
                  <a:pt x="1301" y="1114"/>
                  <a:pt x="1301" y="1114"/>
                  <a:pt x="1301" y="1114"/>
                </a:cubicBezTo>
                <a:cubicBezTo>
                  <a:pt x="1305" y="1120"/>
                  <a:pt x="1312" y="1124"/>
                  <a:pt x="1318" y="1128"/>
                </a:cubicBezTo>
                <a:cubicBezTo>
                  <a:pt x="1325" y="1133"/>
                  <a:pt x="1331" y="1137"/>
                  <a:pt x="1333" y="1139"/>
                </a:cubicBezTo>
                <a:cubicBezTo>
                  <a:pt x="1339" y="1144"/>
                  <a:pt x="1347" y="1145"/>
                  <a:pt x="1354" y="1145"/>
                </a:cubicBezTo>
                <a:cubicBezTo>
                  <a:pt x="1357" y="1145"/>
                  <a:pt x="1359" y="1145"/>
                  <a:pt x="1362" y="1144"/>
                </a:cubicBezTo>
                <a:cubicBezTo>
                  <a:pt x="1364" y="1143"/>
                  <a:pt x="1368" y="1141"/>
                  <a:pt x="1369" y="1137"/>
                </a:cubicBezTo>
                <a:cubicBezTo>
                  <a:pt x="1363" y="1136"/>
                  <a:pt x="1363" y="1136"/>
                  <a:pt x="1363" y="1136"/>
                </a:cubicBezTo>
                <a:cubicBezTo>
                  <a:pt x="1369" y="1137"/>
                  <a:pt x="1369" y="1137"/>
                  <a:pt x="1369" y="1137"/>
                </a:cubicBezTo>
                <a:cubicBezTo>
                  <a:pt x="1369" y="1136"/>
                  <a:pt x="1369" y="1136"/>
                  <a:pt x="1369" y="1135"/>
                </a:cubicBezTo>
                <a:close/>
                <a:moveTo>
                  <a:pt x="1328" y="1167"/>
                </a:moveTo>
                <a:cubicBezTo>
                  <a:pt x="1328" y="1167"/>
                  <a:pt x="1328" y="1167"/>
                  <a:pt x="1328" y="1167"/>
                </a:cubicBezTo>
                <a:cubicBezTo>
                  <a:pt x="1319" y="1169"/>
                  <a:pt x="1317" y="1178"/>
                  <a:pt x="1317" y="1184"/>
                </a:cubicBezTo>
                <a:cubicBezTo>
                  <a:pt x="1317" y="1188"/>
                  <a:pt x="1318" y="1191"/>
                  <a:pt x="1320" y="1194"/>
                </a:cubicBezTo>
                <a:cubicBezTo>
                  <a:pt x="1322" y="1198"/>
                  <a:pt x="1326" y="1200"/>
                  <a:pt x="1331" y="1200"/>
                </a:cubicBezTo>
                <a:cubicBezTo>
                  <a:pt x="1331" y="1200"/>
                  <a:pt x="1331" y="1200"/>
                  <a:pt x="1331" y="1200"/>
                </a:cubicBezTo>
                <a:cubicBezTo>
                  <a:pt x="1333" y="1200"/>
                  <a:pt x="1334" y="1201"/>
                  <a:pt x="1336" y="1200"/>
                </a:cubicBezTo>
                <a:cubicBezTo>
                  <a:pt x="1343" y="1198"/>
                  <a:pt x="1347" y="1191"/>
                  <a:pt x="1347" y="1185"/>
                </a:cubicBezTo>
                <a:cubicBezTo>
                  <a:pt x="1347" y="1176"/>
                  <a:pt x="1342" y="1167"/>
                  <a:pt x="1331" y="1166"/>
                </a:cubicBezTo>
                <a:cubicBezTo>
                  <a:pt x="1330" y="1166"/>
                  <a:pt x="1329" y="1167"/>
                  <a:pt x="1328" y="1167"/>
                </a:cubicBezTo>
                <a:close/>
                <a:moveTo>
                  <a:pt x="1341" y="1066"/>
                </a:moveTo>
                <a:cubicBezTo>
                  <a:pt x="1341" y="1058"/>
                  <a:pt x="1334" y="1053"/>
                  <a:pt x="1325" y="1053"/>
                </a:cubicBezTo>
                <a:cubicBezTo>
                  <a:pt x="1324" y="1053"/>
                  <a:pt x="1324" y="1053"/>
                  <a:pt x="1323" y="1053"/>
                </a:cubicBezTo>
                <a:cubicBezTo>
                  <a:pt x="1316" y="1053"/>
                  <a:pt x="1311" y="1060"/>
                  <a:pt x="1311" y="1065"/>
                </a:cubicBezTo>
                <a:cubicBezTo>
                  <a:pt x="1311" y="1069"/>
                  <a:pt x="1312" y="1073"/>
                  <a:pt x="1315" y="1075"/>
                </a:cubicBezTo>
                <a:cubicBezTo>
                  <a:pt x="1317" y="1078"/>
                  <a:pt x="1321" y="1080"/>
                  <a:pt x="1325" y="1080"/>
                </a:cubicBezTo>
                <a:cubicBezTo>
                  <a:pt x="1325" y="1080"/>
                  <a:pt x="1325" y="1080"/>
                  <a:pt x="1325" y="1080"/>
                </a:cubicBezTo>
                <a:cubicBezTo>
                  <a:pt x="1327" y="1080"/>
                  <a:pt x="1328" y="1079"/>
                  <a:pt x="1329" y="1079"/>
                </a:cubicBezTo>
                <a:cubicBezTo>
                  <a:pt x="1328" y="1073"/>
                  <a:pt x="1328" y="1073"/>
                  <a:pt x="1328" y="1073"/>
                </a:cubicBezTo>
                <a:cubicBezTo>
                  <a:pt x="1329" y="1079"/>
                  <a:pt x="1329" y="1079"/>
                  <a:pt x="1329" y="1079"/>
                </a:cubicBezTo>
                <a:cubicBezTo>
                  <a:pt x="1336" y="1077"/>
                  <a:pt x="1341" y="1072"/>
                  <a:pt x="1341" y="1066"/>
                </a:cubicBezTo>
                <a:close/>
                <a:moveTo>
                  <a:pt x="3938" y="1610"/>
                </a:moveTo>
                <a:cubicBezTo>
                  <a:pt x="3940" y="1609"/>
                  <a:pt x="3943" y="1606"/>
                  <a:pt x="3943" y="1603"/>
                </a:cubicBezTo>
                <a:cubicBezTo>
                  <a:pt x="3937" y="1602"/>
                  <a:pt x="3937" y="1602"/>
                  <a:pt x="3937" y="1602"/>
                </a:cubicBezTo>
                <a:cubicBezTo>
                  <a:pt x="3943" y="1603"/>
                  <a:pt x="3943" y="1603"/>
                  <a:pt x="3943" y="1603"/>
                </a:cubicBezTo>
                <a:cubicBezTo>
                  <a:pt x="3943" y="1602"/>
                  <a:pt x="3943" y="1601"/>
                  <a:pt x="3943" y="1601"/>
                </a:cubicBezTo>
                <a:cubicBezTo>
                  <a:pt x="3943" y="1594"/>
                  <a:pt x="3938" y="1588"/>
                  <a:pt x="3934" y="1584"/>
                </a:cubicBezTo>
                <a:cubicBezTo>
                  <a:pt x="3929" y="1579"/>
                  <a:pt x="3925" y="1575"/>
                  <a:pt x="3919" y="1575"/>
                </a:cubicBezTo>
                <a:cubicBezTo>
                  <a:pt x="3917" y="1575"/>
                  <a:pt x="3908" y="1573"/>
                  <a:pt x="3901" y="1571"/>
                </a:cubicBezTo>
                <a:cubicBezTo>
                  <a:pt x="3893" y="1569"/>
                  <a:pt x="3886" y="1567"/>
                  <a:pt x="3886" y="1567"/>
                </a:cubicBezTo>
                <a:cubicBezTo>
                  <a:pt x="3884" y="1567"/>
                  <a:pt x="3883" y="1567"/>
                  <a:pt x="3881" y="1567"/>
                </a:cubicBezTo>
                <a:cubicBezTo>
                  <a:pt x="3878" y="1569"/>
                  <a:pt x="3874" y="1570"/>
                  <a:pt x="3870" y="1573"/>
                </a:cubicBezTo>
                <a:cubicBezTo>
                  <a:pt x="3870" y="1573"/>
                  <a:pt x="3869" y="1572"/>
                  <a:pt x="3869" y="1572"/>
                </a:cubicBezTo>
                <a:cubicBezTo>
                  <a:pt x="3861" y="1567"/>
                  <a:pt x="3852" y="1567"/>
                  <a:pt x="3847" y="1566"/>
                </a:cubicBezTo>
                <a:cubicBezTo>
                  <a:pt x="3844" y="1566"/>
                  <a:pt x="3842" y="1566"/>
                  <a:pt x="3841" y="1566"/>
                </a:cubicBezTo>
                <a:cubicBezTo>
                  <a:pt x="3840" y="1565"/>
                  <a:pt x="3840" y="1565"/>
                  <a:pt x="3839" y="1564"/>
                </a:cubicBezTo>
                <a:cubicBezTo>
                  <a:pt x="3836" y="1557"/>
                  <a:pt x="3831" y="1551"/>
                  <a:pt x="3824" y="1551"/>
                </a:cubicBezTo>
                <a:cubicBezTo>
                  <a:pt x="3823" y="1551"/>
                  <a:pt x="3822" y="1551"/>
                  <a:pt x="3821" y="1552"/>
                </a:cubicBezTo>
                <a:cubicBezTo>
                  <a:pt x="3821" y="1538"/>
                  <a:pt x="3824" y="1522"/>
                  <a:pt x="3828" y="1517"/>
                </a:cubicBezTo>
                <a:cubicBezTo>
                  <a:pt x="3828" y="1517"/>
                  <a:pt x="3828" y="1517"/>
                  <a:pt x="3828" y="1517"/>
                </a:cubicBezTo>
                <a:cubicBezTo>
                  <a:pt x="3831" y="1513"/>
                  <a:pt x="3832" y="1508"/>
                  <a:pt x="3832" y="1504"/>
                </a:cubicBezTo>
                <a:cubicBezTo>
                  <a:pt x="3832" y="1500"/>
                  <a:pt x="3831" y="1496"/>
                  <a:pt x="3829" y="1493"/>
                </a:cubicBezTo>
                <a:cubicBezTo>
                  <a:pt x="3827" y="1490"/>
                  <a:pt x="3823" y="1488"/>
                  <a:pt x="3819" y="1488"/>
                </a:cubicBezTo>
                <a:cubicBezTo>
                  <a:pt x="3818" y="1488"/>
                  <a:pt x="3817" y="1488"/>
                  <a:pt x="3816" y="1488"/>
                </a:cubicBezTo>
                <a:cubicBezTo>
                  <a:pt x="3816" y="1488"/>
                  <a:pt x="3816" y="1488"/>
                  <a:pt x="3816" y="1488"/>
                </a:cubicBezTo>
                <a:cubicBezTo>
                  <a:pt x="3816" y="1488"/>
                  <a:pt x="3815" y="1488"/>
                  <a:pt x="3814" y="1487"/>
                </a:cubicBezTo>
                <a:cubicBezTo>
                  <a:pt x="3808" y="1482"/>
                  <a:pt x="3801" y="1469"/>
                  <a:pt x="3789" y="1459"/>
                </a:cubicBezTo>
                <a:cubicBezTo>
                  <a:pt x="3774" y="1447"/>
                  <a:pt x="3763" y="1439"/>
                  <a:pt x="3750" y="1422"/>
                </a:cubicBezTo>
                <a:cubicBezTo>
                  <a:pt x="3735" y="1403"/>
                  <a:pt x="3717" y="1391"/>
                  <a:pt x="3709" y="1383"/>
                </a:cubicBezTo>
                <a:cubicBezTo>
                  <a:pt x="3699" y="1373"/>
                  <a:pt x="3687" y="1368"/>
                  <a:pt x="3678" y="1368"/>
                </a:cubicBezTo>
                <a:cubicBezTo>
                  <a:pt x="3677" y="1368"/>
                  <a:pt x="3676" y="1368"/>
                  <a:pt x="3674" y="1368"/>
                </a:cubicBezTo>
                <a:cubicBezTo>
                  <a:pt x="3670" y="1369"/>
                  <a:pt x="3666" y="1374"/>
                  <a:pt x="3666" y="1378"/>
                </a:cubicBezTo>
                <a:cubicBezTo>
                  <a:pt x="3666" y="1383"/>
                  <a:pt x="3669" y="1386"/>
                  <a:pt x="3671" y="1390"/>
                </a:cubicBezTo>
                <a:cubicBezTo>
                  <a:pt x="3675" y="1396"/>
                  <a:pt x="3681" y="1401"/>
                  <a:pt x="3686" y="1406"/>
                </a:cubicBezTo>
                <a:cubicBezTo>
                  <a:pt x="3690" y="1411"/>
                  <a:pt x="3695" y="1415"/>
                  <a:pt x="3695" y="1415"/>
                </a:cubicBezTo>
                <a:cubicBezTo>
                  <a:pt x="3697" y="1418"/>
                  <a:pt x="3706" y="1427"/>
                  <a:pt x="3714" y="1437"/>
                </a:cubicBezTo>
                <a:cubicBezTo>
                  <a:pt x="3722" y="1446"/>
                  <a:pt x="3729" y="1459"/>
                  <a:pt x="3728" y="1463"/>
                </a:cubicBezTo>
                <a:cubicBezTo>
                  <a:pt x="3729" y="1473"/>
                  <a:pt x="3734" y="1485"/>
                  <a:pt x="3740" y="1497"/>
                </a:cubicBezTo>
                <a:cubicBezTo>
                  <a:pt x="3746" y="1509"/>
                  <a:pt x="3752" y="1519"/>
                  <a:pt x="3757" y="1523"/>
                </a:cubicBezTo>
                <a:cubicBezTo>
                  <a:pt x="3760" y="1527"/>
                  <a:pt x="3769" y="1533"/>
                  <a:pt x="3777" y="1540"/>
                </a:cubicBezTo>
                <a:cubicBezTo>
                  <a:pt x="3785" y="1547"/>
                  <a:pt x="3793" y="1556"/>
                  <a:pt x="3794" y="1559"/>
                </a:cubicBezTo>
                <a:cubicBezTo>
                  <a:pt x="3797" y="1565"/>
                  <a:pt x="3801" y="1570"/>
                  <a:pt x="3808" y="1571"/>
                </a:cubicBezTo>
                <a:cubicBezTo>
                  <a:pt x="3808" y="1583"/>
                  <a:pt x="3816" y="1589"/>
                  <a:pt x="3819" y="1591"/>
                </a:cubicBezTo>
                <a:cubicBezTo>
                  <a:pt x="3825" y="1595"/>
                  <a:pt x="3834" y="1597"/>
                  <a:pt x="3844" y="1597"/>
                </a:cubicBezTo>
                <a:cubicBezTo>
                  <a:pt x="3847" y="1597"/>
                  <a:pt x="3849" y="1597"/>
                  <a:pt x="3851" y="1597"/>
                </a:cubicBezTo>
                <a:cubicBezTo>
                  <a:pt x="3855" y="1596"/>
                  <a:pt x="3859" y="1596"/>
                  <a:pt x="3863" y="1594"/>
                </a:cubicBezTo>
                <a:cubicBezTo>
                  <a:pt x="3865" y="1594"/>
                  <a:pt x="3866" y="1594"/>
                  <a:pt x="3868" y="1593"/>
                </a:cubicBezTo>
                <a:cubicBezTo>
                  <a:pt x="3868" y="1593"/>
                  <a:pt x="3868" y="1593"/>
                  <a:pt x="3868" y="1594"/>
                </a:cubicBezTo>
                <a:cubicBezTo>
                  <a:pt x="3876" y="1602"/>
                  <a:pt x="3884" y="1608"/>
                  <a:pt x="3896" y="1608"/>
                </a:cubicBezTo>
                <a:cubicBezTo>
                  <a:pt x="3898" y="1608"/>
                  <a:pt x="3900" y="1608"/>
                  <a:pt x="3902" y="1608"/>
                </a:cubicBezTo>
                <a:cubicBezTo>
                  <a:pt x="3903" y="1608"/>
                  <a:pt x="3903" y="1608"/>
                  <a:pt x="3904" y="1608"/>
                </a:cubicBezTo>
                <a:cubicBezTo>
                  <a:pt x="3912" y="1608"/>
                  <a:pt x="3923" y="1611"/>
                  <a:pt x="3931" y="1611"/>
                </a:cubicBezTo>
                <a:cubicBezTo>
                  <a:pt x="3933" y="1611"/>
                  <a:pt x="3936" y="1611"/>
                  <a:pt x="3938" y="1610"/>
                </a:cubicBezTo>
                <a:close/>
                <a:moveTo>
                  <a:pt x="4119" y="1427"/>
                </a:moveTo>
                <a:cubicBezTo>
                  <a:pt x="4111" y="1436"/>
                  <a:pt x="4105" y="1453"/>
                  <a:pt x="4104" y="1466"/>
                </a:cubicBezTo>
                <a:cubicBezTo>
                  <a:pt x="4104" y="1469"/>
                  <a:pt x="4105" y="1472"/>
                  <a:pt x="4106" y="1475"/>
                </a:cubicBezTo>
                <a:cubicBezTo>
                  <a:pt x="4107" y="1478"/>
                  <a:pt x="4110" y="1481"/>
                  <a:pt x="4114" y="1482"/>
                </a:cubicBezTo>
                <a:cubicBezTo>
                  <a:pt x="4115" y="1483"/>
                  <a:pt x="4116" y="1483"/>
                  <a:pt x="4117" y="1483"/>
                </a:cubicBezTo>
                <a:cubicBezTo>
                  <a:pt x="4128" y="1482"/>
                  <a:pt x="4131" y="1473"/>
                  <a:pt x="4135" y="1464"/>
                </a:cubicBezTo>
                <a:cubicBezTo>
                  <a:pt x="4138" y="1455"/>
                  <a:pt x="4140" y="1445"/>
                  <a:pt x="4140" y="1436"/>
                </a:cubicBezTo>
                <a:cubicBezTo>
                  <a:pt x="4140" y="1434"/>
                  <a:pt x="4140" y="1431"/>
                  <a:pt x="4139" y="1429"/>
                </a:cubicBezTo>
                <a:cubicBezTo>
                  <a:pt x="4139" y="1426"/>
                  <a:pt x="4138" y="1423"/>
                  <a:pt x="4134" y="1421"/>
                </a:cubicBezTo>
                <a:cubicBezTo>
                  <a:pt x="4134" y="1421"/>
                  <a:pt x="4134" y="1421"/>
                  <a:pt x="4134" y="1421"/>
                </a:cubicBezTo>
                <a:cubicBezTo>
                  <a:pt x="4133" y="1421"/>
                  <a:pt x="4131" y="1420"/>
                  <a:pt x="4130" y="1420"/>
                </a:cubicBezTo>
                <a:cubicBezTo>
                  <a:pt x="4124" y="1420"/>
                  <a:pt x="4121" y="1423"/>
                  <a:pt x="4119" y="1427"/>
                </a:cubicBezTo>
                <a:close/>
                <a:moveTo>
                  <a:pt x="4266" y="830"/>
                </a:moveTo>
                <a:cubicBezTo>
                  <a:pt x="4263" y="839"/>
                  <a:pt x="4260" y="846"/>
                  <a:pt x="4257" y="852"/>
                </a:cubicBezTo>
                <a:cubicBezTo>
                  <a:pt x="4256" y="855"/>
                  <a:pt x="4254" y="857"/>
                  <a:pt x="4253" y="858"/>
                </a:cubicBezTo>
                <a:cubicBezTo>
                  <a:pt x="4253" y="858"/>
                  <a:pt x="4253" y="858"/>
                  <a:pt x="4253" y="858"/>
                </a:cubicBezTo>
                <a:cubicBezTo>
                  <a:pt x="4251" y="859"/>
                  <a:pt x="4249" y="859"/>
                  <a:pt x="4246" y="860"/>
                </a:cubicBezTo>
                <a:cubicBezTo>
                  <a:pt x="4236" y="864"/>
                  <a:pt x="4221" y="872"/>
                  <a:pt x="4214" y="880"/>
                </a:cubicBezTo>
                <a:cubicBezTo>
                  <a:pt x="4214" y="880"/>
                  <a:pt x="4213" y="880"/>
                  <a:pt x="4211" y="880"/>
                </a:cubicBezTo>
                <a:cubicBezTo>
                  <a:pt x="4203" y="880"/>
                  <a:pt x="4189" y="876"/>
                  <a:pt x="4180" y="876"/>
                </a:cubicBezTo>
                <a:cubicBezTo>
                  <a:pt x="4176" y="876"/>
                  <a:pt x="4172" y="876"/>
                  <a:pt x="4169" y="880"/>
                </a:cubicBezTo>
                <a:cubicBezTo>
                  <a:pt x="4165" y="886"/>
                  <a:pt x="4156" y="894"/>
                  <a:pt x="4150" y="900"/>
                </a:cubicBezTo>
                <a:cubicBezTo>
                  <a:pt x="4150" y="900"/>
                  <a:pt x="4146" y="901"/>
                  <a:pt x="4141" y="903"/>
                </a:cubicBezTo>
                <a:cubicBezTo>
                  <a:pt x="4136" y="904"/>
                  <a:pt x="4129" y="909"/>
                  <a:pt x="4130" y="918"/>
                </a:cubicBezTo>
                <a:cubicBezTo>
                  <a:pt x="4130" y="920"/>
                  <a:pt x="4130" y="922"/>
                  <a:pt x="4130" y="924"/>
                </a:cubicBezTo>
                <a:cubicBezTo>
                  <a:pt x="4132" y="932"/>
                  <a:pt x="4135" y="941"/>
                  <a:pt x="4139" y="947"/>
                </a:cubicBezTo>
                <a:cubicBezTo>
                  <a:pt x="4142" y="954"/>
                  <a:pt x="4146" y="959"/>
                  <a:pt x="4154" y="960"/>
                </a:cubicBezTo>
                <a:cubicBezTo>
                  <a:pt x="4159" y="960"/>
                  <a:pt x="4165" y="958"/>
                  <a:pt x="4169" y="953"/>
                </a:cubicBezTo>
                <a:cubicBezTo>
                  <a:pt x="4173" y="949"/>
                  <a:pt x="4176" y="942"/>
                  <a:pt x="4176" y="933"/>
                </a:cubicBezTo>
                <a:cubicBezTo>
                  <a:pt x="4176" y="933"/>
                  <a:pt x="4176" y="933"/>
                  <a:pt x="4176" y="933"/>
                </a:cubicBezTo>
                <a:cubicBezTo>
                  <a:pt x="4176" y="933"/>
                  <a:pt x="4180" y="934"/>
                  <a:pt x="4182" y="935"/>
                </a:cubicBezTo>
                <a:cubicBezTo>
                  <a:pt x="4185" y="936"/>
                  <a:pt x="4189" y="938"/>
                  <a:pt x="4193" y="938"/>
                </a:cubicBezTo>
                <a:cubicBezTo>
                  <a:pt x="4194" y="938"/>
                  <a:pt x="4195" y="938"/>
                  <a:pt x="4195" y="938"/>
                </a:cubicBezTo>
                <a:cubicBezTo>
                  <a:pt x="4204" y="936"/>
                  <a:pt x="4209" y="930"/>
                  <a:pt x="4212" y="922"/>
                </a:cubicBezTo>
                <a:cubicBezTo>
                  <a:pt x="4214" y="924"/>
                  <a:pt x="4216" y="925"/>
                  <a:pt x="4218" y="925"/>
                </a:cubicBezTo>
                <a:cubicBezTo>
                  <a:pt x="4221" y="926"/>
                  <a:pt x="4223" y="926"/>
                  <a:pt x="4226" y="926"/>
                </a:cubicBezTo>
                <a:cubicBezTo>
                  <a:pt x="4232" y="926"/>
                  <a:pt x="4238" y="923"/>
                  <a:pt x="4240" y="919"/>
                </a:cubicBezTo>
                <a:cubicBezTo>
                  <a:pt x="4243" y="916"/>
                  <a:pt x="4244" y="914"/>
                  <a:pt x="4244" y="911"/>
                </a:cubicBezTo>
                <a:cubicBezTo>
                  <a:pt x="4246" y="910"/>
                  <a:pt x="4251" y="907"/>
                  <a:pt x="4256" y="905"/>
                </a:cubicBezTo>
                <a:cubicBezTo>
                  <a:pt x="4263" y="903"/>
                  <a:pt x="4268" y="901"/>
                  <a:pt x="4272" y="898"/>
                </a:cubicBezTo>
                <a:cubicBezTo>
                  <a:pt x="4273" y="897"/>
                  <a:pt x="4279" y="894"/>
                  <a:pt x="4285" y="891"/>
                </a:cubicBezTo>
                <a:cubicBezTo>
                  <a:pt x="4287" y="889"/>
                  <a:pt x="4290" y="888"/>
                  <a:pt x="4293" y="886"/>
                </a:cubicBezTo>
                <a:cubicBezTo>
                  <a:pt x="4295" y="884"/>
                  <a:pt x="4297" y="882"/>
                  <a:pt x="4298" y="878"/>
                </a:cubicBezTo>
                <a:cubicBezTo>
                  <a:pt x="4299" y="874"/>
                  <a:pt x="4299" y="865"/>
                  <a:pt x="4300" y="856"/>
                </a:cubicBezTo>
                <a:cubicBezTo>
                  <a:pt x="4300" y="852"/>
                  <a:pt x="4300" y="848"/>
                  <a:pt x="4301" y="845"/>
                </a:cubicBezTo>
                <a:cubicBezTo>
                  <a:pt x="4301" y="843"/>
                  <a:pt x="4302" y="842"/>
                  <a:pt x="4302" y="842"/>
                </a:cubicBezTo>
                <a:cubicBezTo>
                  <a:pt x="4303" y="841"/>
                  <a:pt x="4305" y="841"/>
                  <a:pt x="4308" y="839"/>
                </a:cubicBezTo>
                <a:cubicBezTo>
                  <a:pt x="4310" y="837"/>
                  <a:pt x="4313" y="833"/>
                  <a:pt x="4313" y="828"/>
                </a:cubicBezTo>
                <a:cubicBezTo>
                  <a:pt x="4313" y="824"/>
                  <a:pt x="4312" y="819"/>
                  <a:pt x="4308" y="812"/>
                </a:cubicBezTo>
                <a:cubicBezTo>
                  <a:pt x="4305" y="805"/>
                  <a:pt x="4303" y="797"/>
                  <a:pt x="4300" y="791"/>
                </a:cubicBezTo>
                <a:cubicBezTo>
                  <a:pt x="4300" y="789"/>
                  <a:pt x="4299" y="788"/>
                  <a:pt x="4298" y="786"/>
                </a:cubicBezTo>
                <a:cubicBezTo>
                  <a:pt x="4303" y="785"/>
                  <a:pt x="4308" y="783"/>
                  <a:pt x="4313" y="783"/>
                </a:cubicBezTo>
                <a:cubicBezTo>
                  <a:pt x="4327" y="782"/>
                  <a:pt x="4340" y="780"/>
                  <a:pt x="4344" y="776"/>
                </a:cubicBezTo>
                <a:cubicBezTo>
                  <a:pt x="4344" y="776"/>
                  <a:pt x="4345" y="776"/>
                  <a:pt x="4345" y="776"/>
                </a:cubicBezTo>
                <a:cubicBezTo>
                  <a:pt x="4348" y="776"/>
                  <a:pt x="4353" y="776"/>
                  <a:pt x="4358" y="775"/>
                </a:cubicBezTo>
                <a:cubicBezTo>
                  <a:pt x="4363" y="773"/>
                  <a:pt x="4370" y="769"/>
                  <a:pt x="4370" y="761"/>
                </a:cubicBezTo>
                <a:cubicBezTo>
                  <a:pt x="4370" y="759"/>
                  <a:pt x="4370" y="758"/>
                  <a:pt x="4370" y="757"/>
                </a:cubicBezTo>
                <a:cubicBezTo>
                  <a:pt x="4367" y="748"/>
                  <a:pt x="4360" y="744"/>
                  <a:pt x="4354" y="741"/>
                </a:cubicBezTo>
                <a:cubicBezTo>
                  <a:pt x="4347" y="739"/>
                  <a:pt x="4340" y="738"/>
                  <a:pt x="4335" y="738"/>
                </a:cubicBezTo>
                <a:cubicBezTo>
                  <a:pt x="4333" y="738"/>
                  <a:pt x="4332" y="738"/>
                  <a:pt x="4330" y="738"/>
                </a:cubicBezTo>
                <a:cubicBezTo>
                  <a:pt x="4329" y="737"/>
                  <a:pt x="4327" y="735"/>
                  <a:pt x="4325" y="732"/>
                </a:cubicBezTo>
                <a:cubicBezTo>
                  <a:pt x="4321" y="729"/>
                  <a:pt x="4317" y="726"/>
                  <a:pt x="4311" y="726"/>
                </a:cubicBezTo>
                <a:cubicBezTo>
                  <a:pt x="4309" y="726"/>
                  <a:pt x="4308" y="726"/>
                  <a:pt x="4307" y="726"/>
                </a:cubicBezTo>
                <a:cubicBezTo>
                  <a:pt x="4300" y="728"/>
                  <a:pt x="4296" y="734"/>
                  <a:pt x="4294" y="739"/>
                </a:cubicBezTo>
                <a:cubicBezTo>
                  <a:pt x="4292" y="743"/>
                  <a:pt x="4292" y="747"/>
                  <a:pt x="4291" y="750"/>
                </a:cubicBezTo>
                <a:cubicBezTo>
                  <a:pt x="4289" y="751"/>
                  <a:pt x="4284" y="754"/>
                  <a:pt x="4280" y="756"/>
                </a:cubicBezTo>
                <a:cubicBezTo>
                  <a:pt x="4275" y="760"/>
                  <a:pt x="4268" y="763"/>
                  <a:pt x="4267" y="772"/>
                </a:cubicBezTo>
                <a:cubicBezTo>
                  <a:pt x="4267" y="775"/>
                  <a:pt x="4269" y="778"/>
                  <a:pt x="4271" y="780"/>
                </a:cubicBezTo>
                <a:cubicBezTo>
                  <a:pt x="4272" y="782"/>
                  <a:pt x="4274" y="783"/>
                  <a:pt x="4275" y="784"/>
                </a:cubicBezTo>
                <a:cubicBezTo>
                  <a:pt x="4271" y="790"/>
                  <a:pt x="4271" y="797"/>
                  <a:pt x="4270" y="805"/>
                </a:cubicBezTo>
                <a:cubicBezTo>
                  <a:pt x="4270" y="814"/>
                  <a:pt x="4269" y="824"/>
                  <a:pt x="4266" y="830"/>
                </a:cubicBezTo>
                <a:close/>
                <a:moveTo>
                  <a:pt x="3920" y="1392"/>
                </a:moveTo>
                <a:cubicBezTo>
                  <a:pt x="3917" y="1395"/>
                  <a:pt x="3916" y="1398"/>
                  <a:pt x="3915" y="1401"/>
                </a:cubicBezTo>
                <a:cubicBezTo>
                  <a:pt x="3914" y="1402"/>
                  <a:pt x="3914" y="1403"/>
                  <a:pt x="3914" y="1404"/>
                </a:cubicBezTo>
                <a:cubicBezTo>
                  <a:pt x="3914" y="1404"/>
                  <a:pt x="3913" y="1404"/>
                  <a:pt x="3913" y="1404"/>
                </a:cubicBezTo>
                <a:cubicBezTo>
                  <a:pt x="3910" y="1407"/>
                  <a:pt x="3907" y="1408"/>
                  <a:pt x="3897" y="1411"/>
                </a:cubicBezTo>
                <a:cubicBezTo>
                  <a:pt x="3886" y="1415"/>
                  <a:pt x="3883" y="1425"/>
                  <a:pt x="3881" y="1432"/>
                </a:cubicBezTo>
                <a:cubicBezTo>
                  <a:pt x="3880" y="1431"/>
                  <a:pt x="3878" y="1430"/>
                  <a:pt x="3877" y="1429"/>
                </a:cubicBezTo>
                <a:cubicBezTo>
                  <a:pt x="3873" y="1427"/>
                  <a:pt x="3870" y="1424"/>
                  <a:pt x="3864" y="1424"/>
                </a:cubicBezTo>
                <a:cubicBezTo>
                  <a:pt x="3862" y="1424"/>
                  <a:pt x="3859" y="1425"/>
                  <a:pt x="3857" y="1427"/>
                </a:cubicBezTo>
                <a:cubicBezTo>
                  <a:pt x="3854" y="1431"/>
                  <a:pt x="3854" y="1436"/>
                  <a:pt x="3854" y="1441"/>
                </a:cubicBezTo>
                <a:cubicBezTo>
                  <a:pt x="3854" y="1453"/>
                  <a:pt x="3857" y="1471"/>
                  <a:pt x="3863" y="1487"/>
                </a:cubicBezTo>
                <a:cubicBezTo>
                  <a:pt x="3868" y="1499"/>
                  <a:pt x="3876" y="1509"/>
                  <a:pt x="3883" y="1515"/>
                </a:cubicBezTo>
                <a:cubicBezTo>
                  <a:pt x="3891" y="1522"/>
                  <a:pt x="3897" y="1526"/>
                  <a:pt x="3903" y="1527"/>
                </a:cubicBezTo>
                <a:cubicBezTo>
                  <a:pt x="3909" y="1526"/>
                  <a:pt x="3920" y="1527"/>
                  <a:pt x="3927" y="1529"/>
                </a:cubicBezTo>
                <a:cubicBezTo>
                  <a:pt x="3931" y="1530"/>
                  <a:pt x="3938" y="1532"/>
                  <a:pt x="3946" y="1532"/>
                </a:cubicBezTo>
                <a:cubicBezTo>
                  <a:pt x="3950" y="1532"/>
                  <a:pt x="3955" y="1531"/>
                  <a:pt x="3959" y="1529"/>
                </a:cubicBezTo>
                <a:cubicBezTo>
                  <a:pt x="3964" y="1528"/>
                  <a:pt x="3968" y="1523"/>
                  <a:pt x="3968" y="1517"/>
                </a:cubicBezTo>
                <a:cubicBezTo>
                  <a:pt x="3968" y="1517"/>
                  <a:pt x="3968" y="1516"/>
                  <a:pt x="3968" y="1516"/>
                </a:cubicBezTo>
                <a:cubicBezTo>
                  <a:pt x="3968" y="1511"/>
                  <a:pt x="3967" y="1506"/>
                  <a:pt x="3967" y="1501"/>
                </a:cubicBezTo>
                <a:cubicBezTo>
                  <a:pt x="3967" y="1491"/>
                  <a:pt x="3969" y="1482"/>
                  <a:pt x="3975" y="1476"/>
                </a:cubicBezTo>
                <a:cubicBezTo>
                  <a:pt x="3979" y="1472"/>
                  <a:pt x="3984" y="1467"/>
                  <a:pt x="3988" y="1462"/>
                </a:cubicBezTo>
                <a:cubicBezTo>
                  <a:pt x="3992" y="1458"/>
                  <a:pt x="3995" y="1451"/>
                  <a:pt x="3995" y="1444"/>
                </a:cubicBezTo>
                <a:cubicBezTo>
                  <a:pt x="3995" y="1440"/>
                  <a:pt x="3995" y="1437"/>
                  <a:pt x="3993" y="1433"/>
                </a:cubicBezTo>
                <a:cubicBezTo>
                  <a:pt x="3988" y="1419"/>
                  <a:pt x="3981" y="1408"/>
                  <a:pt x="3982" y="1404"/>
                </a:cubicBezTo>
                <a:cubicBezTo>
                  <a:pt x="3982" y="1403"/>
                  <a:pt x="3982" y="1403"/>
                  <a:pt x="3983" y="1402"/>
                </a:cubicBezTo>
                <a:cubicBezTo>
                  <a:pt x="3986" y="1398"/>
                  <a:pt x="3990" y="1396"/>
                  <a:pt x="3994" y="1393"/>
                </a:cubicBezTo>
                <a:cubicBezTo>
                  <a:pt x="3997" y="1390"/>
                  <a:pt x="4002" y="1386"/>
                  <a:pt x="4002" y="1380"/>
                </a:cubicBezTo>
                <a:cubicBezTo>
                  <a:pt x="4002" y="1379"/>
                  <a:pt x="4002" y="1377"/>
                  <a:pt x="4000" y="1375"/>
                </a:cubicBezTo>
                <a:cubicBezTo>
                  <a:pt x="3999" y="1373"/>
                  <a:pt x="3996" y="1373"/>
                  <a:pt x="3995" y="1373"/>
                </a:cubicBezTo>
                <a:cubicBezTo>
                  <a:pt x="3991" y="1373"/>
                  <a:pt x="3990" y="1374"/>
                  <a:pt x="3989" y="1374"/>
                </a:cubicBezTo>
                <a:cubicBezTo>
                  <a:pt x="3987" y="1375"/>
                  <a:pt x="3986" y="1375"/>
                  <a:pt x="3985" y="1375"/>
                </a:cubicBezTo>
                <a:cubicBezTo>
                  <a:pt x="3985" y="1375"/>
                  <a:pt x="3985" y="1375"/>
                  <a:pt x="3985" y="1375"/>
                </a:cubicBezTo>
                <a:cubicBezTo>
                  <a:pt x="3985" y="1375"/>
                  <a:pt x="3985" y="1375"/>
                  <a:pt x="3983" y="1373"/>
                </a:cubicBezTo>
                <a:cubicBezTo>
                  <a:pt x="3982" y="1370"/>
                  <a:pt x="3980" y="1364"/>
                  <a:pt x="3980" y="1353"/>
                </a:cubicBezTo>
                <a:cubicBezTo>
                  <a:pt x="3980" y="1351"/>
                  <a:pt x="3979" y="1349"/>
                  <a:pt x="3977" y="1347"/>
                </a:cubicBezTo>
                <a:cubicBezTo>
                  <a:pt x="3975" y="1345"/>
                  <a:pt x="3973" y="1344"/>
                  <a:pt x="3971" y="1344"/>
                </a:cubicBezTo>
                <a:cubicBezTo>
                  <a:pt x="3965" y="1344"/>
                  <a:pt x="3961" y="1347"/>
                  <a:pt x="3957" y="1351"/>
                </a:cubicBezTo>
                <a:cubicBezTo>
                  <a:pt x="3953" y="1355"/>
                  <a:pt x="3949" y="1359"/>
                  <a:pt x="3948" y="1365"/>
                </a:cubicBezTo>
                <a:cubicBezTo>
                  <a:pt x="3948" y="1366"/>
                  <a:pt x="3948" y="1367"/>
                  <a:pt x="3948" y="1367"/>
                </a:cubicBezTo>
                <a:cubicBezTo>
                  <a:pt x="3948" y="1371"/>
                  <a:pt x="3949" y="1374"/>
                  <a:pt x="3950" y="1376"/>
                </a:cubicBezTo>
                <a:cubicBezTo>
                  <a:pt x="3950" y="1377"/>
                  <a:pt x="3950" y="1377"/>
                  <a:pt x="3951" y="1378"/>
                </a:cubicBezTo>
                <a:cubicBezTo>
                  <a:pt x="3949" y="1378"/>
                  <a:pt x="3947" y="1378"/>
                  <a:pt x="3945" y="1378"/>
                </a:cubicBezTo>
                <a:cubicBezTo>
                  <a:pt x="3932" y="1378"/>
                  <a:pt x="3924" y="1385"/>
                  <a:pt x="3920" y="1392"/>
                </a:cubicBezTo>
                <a:close/>
                <a:moveTo>
                  <a:pt x="4009" y="1068"/>
                </a:moveTo>
                <a:cubicBezTo>
                  <a:pt x="4005" y="1076"/>
                  <a:pt x="4003" y="1085"/>
                  <a:pt x="4003" y="1093"/>
                </a:cubicBezTo>
                <a:cubicBezTo>
                  <a:pt x="4003" y="1096"/>
                  <a:pt x="4003" y="1099"/>
                  <a:pt x="4005" y="1102"/>
                </a:cubicBezTo>
                <a:cubicBezTo>
                  <a:pt x="4006" y="1106"/>
                  <a:pt x="4010" y="1108"/>
                  <a:pt x="4014" y="1108"/>
                </a:cubicBezTo>
                <a:cubicBezTo>
                  <a:pt x="4014" y="1108"/>
                  <a:pt x="4014" y="1108"/>
                  <a:pt x="4015" y="1108"/>
                </a:cubicBezTo>
                <a:cubicBezTo>
                  <a:pt x="4015" y="1108"/>
                  <a:pt x="4015" y="1108"/>
                  <a:pt x="4016" y="1108"/>
                </a:cubicBezTo>
                <a:cubicBezTo>
                  <a:pt x="4025" y="1107"/>
                  <a:pt x="4030" y="1099"/>
                  <a:pt x="4034" y="1091"/>
                </a:cubicBezTo>
                <a:cubicBezTo>
                  <a:pt x="4038" y="1083"/>
                  <a:pt x="4041" y="1073"/>
                  <a:pt x="4041" y="1065"/>
                </a:cubicBezTo>
                <a:cubicBezTo>
                  <a:pt x="4041" y="1062"/>
                  <a:pt x="4041" y="1059"/>
                  <a:pt x="4039" y="1056"/>
                </a:cubicBezTo>
                <a:cubicBezTo>
                  <a:pt x="4038" y="1053"/>
                  <a:pt x="4034" y="1051"/>
                  <a:pt x="4030" y="1051"/>
                </a:cubicBezTo>
                <a:cubicBezTo>
                  <a:pt x="4029" y="1051"/>
                  <a:pt x="4029" y="1051"/>
                  <a:pt x="4028" y="1051"/>
                </a:cubicBezTo>
                <a:cubicBezTo>
                  <a:pt x="4028" y="1051"/>
                  <a:pt x="4028" y="1051"/>
                  <a:pt x="4028" y="1051"/>
                </a:cubicBezTo>
                <a:cubicBezTo>
                  <a:pt x="4019" y="1053"/>
                  <a:pt x="4013" y="1061"/>
                  <a:pt x="4009" y="1068"/>
                </a:cubicBezTo>
                <a:close/>
                <a:moveTo>
                  <a:pt x="3994" y="1206"/>
                </a:moveTo>
                <a:cubicBezTo>
                  <a:pt x="3994" y="1209"/>
                  <a:pt x="3995" y="1213"/>
                  <a:pt x="3997" y="1217"/>
                </a:cubicBezTo>
                <a:cubicBezTo>
                  <a:pt x="3997" y="1217"/>
                  <a:pt x="3997" y="1217"/>
                  <a:pt x="3997" y="1217"/>
                </a:cubicBezTo>
                <a:cubicBezTo>
                  <a:pt x="4001" y="1226"/>
                  <a:pt x="4008" y="1233"/>
                  <a:pt x="4014" y="1238"/>
                </a:cubicBezTo>
                <a:cubicBezTo>
                  <a:pt x="4017" y="1241"/>
                  <a:pt x="4019" y="1244"/>
                  <a:pt x="4021" y="1246"/>
                </a:cubicBezTo>
                <a:cubicBezTo>
                  <a:pt x="4021" y="1246"/>
                  <a:pt x="4022" y="1247"/>
                  <a:pt x="4022" y="1247"/>
                </a:cubicBezTo>
                <a:cubicBezTo>
                  <a:pt x="4017" y="1254"/>
                  <a:pt x="4000" y="1267"/>
                  <a:pt x="3997" y="1282"/>
                </a:cubicBezTo>
                <a:cubicBezTo>
                  <a:pt x="3996" y="1283"/>
                  <a:pt x="3996" y="1284"/>
                  <a:pt x="3996" y="1285"/>
                </a:cubicBezTo>
                <a:cubicBezTo>
                  <a:pt x="3996" y="1286"/>
                  <a:pt x="3997" y="1288"/>
                  <a:pt x="3998" y="1289"/>
                </a:cubicBezTo>
                <a:cubicBezTo>
                  <a:pt x="3999" y="1291"/>
                  <a:pt x="4002" y="1292"/>
                  <a:pt x="4003" y="1292"/>
                </a:cubicBezTo>
                <a:cubicBezTo>
                  <a:pt x="4003" y="1292"/>
                  <a:pt x="4004" y="1292"/>
                  <a:pt x="4004" y="1292"/>
                </a:cubicBezTo>
                <a:cubicBezTo>
                  <a:pt x="4009" y="1292"/>
                  <a:pt x="4011" y="1289"/>
                  <a:pt x="4014" y="1287"/>
                </a:cubicBezTo>
                <a:cubicBezTo>
                  <a:pt x="4024" y="1279"/>
                  <a:pt x="4038" y="1264"/>
                  <a:pt x="4043" y="1255"/>
                </a:cubicBezTo>
                <a:cubicBezTo>
                  <a:pt x="4046" y="1251"/>
                  <a:pt x="4049" y="1250"/>
                  <a:pt x="4054" y="1249"/>
                </a:cubicBezTo>
                <a:cubicBezTo>
                  <a:pt x="4057" y="1249"/>
                  <a:pt x="4060" y="1249"/>
                  <a:pt x="4063" y="1248"/>
                </a:cubicBezTo>
                <a:cubicBezTo>
                  <a:pt x="4065" y="1248"/>
                  <a:pt x="4069" y="1246"/>
                  <a:pt x="4071" y="1242"/>
                </a:cubicBezTo>
                <a:cubicBezTo>
                  <a:pt x="4075" y="1235"/>
                  <a:pt x="4075" y="1235"/>
                  <a:pt x="4075" y="1235"/>
                </a:cubicBezTo>
                <a:cubicBezTo>
                  <a:pt x="4076" y="1233"/>
                  <a:pt x="4076" y="1231"/>
                  <a:pt x="4075" y="1230"/>
                </a:cubicBezTo>
                <a:cubicBezTo>
                  <a:pt x="4074" y="1228"/>
                  <a:pt x="4072" y="1227"/>
                  <a:pt x="4071" y="1226"/>
                </a:cubicBezTo>
                <a:cubicBezTo>
                  <a:pt x="4071" y="1226"/>
                  <a:pt x="4058" y="1224"/>
                  <a:pt x="4048" y="1220"/>
                </a:cubicBezTo>
                <a:cubicBezTo>
                  <a:pt x="4046" y="1219"/>
                  <a:pt x="4044" y="1219"/>
                  <a:pt x="4042" y="1219"/>
                </a:cubicBezTo>
                <a:cubicBezTo>
                  <a:pt x="4039" y="1219"/>
                  <a:pt x="4036" y="1219"/>
                  <a:pt x="4034" y="1220"/>
                </a:cubicBezTo>
                <a:cubicBezTo>
                  <a:pt x="4034" y="1219"/>
                  <a:pt x="4034" y="1218"/>
                  <a:pt x="4035" y="1216"/>
                </a:cubicBezTo>
                <a:cubicBezTo>
                  <a:pt x="4037" y="1207"/>
                  <a:pt x="4041" y="1204"/>
                  <a:pt x="4045" y="1201"/>
                </a:cubicBezTo>
                <a:cubicBezTo>
                  <a:pt x="4049" y="1198"/>
                  <a:pt x="4055" y="1193"/>
                  <a:pt x="4055" y="1184"/>
                </a:cubicBezTo>
                <a:cubicBezTo>
                  <a:pt x="4055" y="1182"/>
                  <a:pt x="4055" y="1181"/>
                  <a:pt x="4054" y="1179"/>
                </a:cubicBezTo>
                <a:cubicBezTo>
                  <a:pt x="4053" y="1169"/>
                  <a:pt x="4048" y="1163"/>
                  <a:pt x="4043" y="1159"/>
                </a:cubicBezTo>
                <a:cubicBezTo>
                  <a:pt x="4038" y="1155"/>
                  <a:pt x="4034" y="1153"/>
                  <a:pt x="4030" y="1153"/>
                </a:cubicBezTo>
                <a:cubicBezTo>
                  <a:pt x="4026" y="1153"/>
                  <a:pt x="4021" y="1157"/>
                  <a:pt x="4021" y="1160"/>
                </a:cubicBezTo>
                <a:cubicBezTo>
                  <a:pt x="4019" y="1169"/>
                  <a:pt x="4022" y="1175"/>
                  <a:pt x="4016" y="1179"/>
                </a:cubicBezTo>
                <a:cubicBezTo>
                  <a:pt x="4012" y="1183"/>
                  <a:pt x="4007" y="1186"/>
                  <a:pt x="4003" y="1190"/>
                </a:cubicBezTo>
                <a:cubicBezTo>
                  <a:pt x="3998" y="1193"/>
                  <a:pt x="3994" y="1199"/>
                  <a:pt x="3994" y="1206"/>
                </a:cubicBezTo>
                <a:close/>
              </a:path>
            </a:pathLst>
          </a:custGeom>
          <a:solidFill>
            <a:schemeClr val="bg1">
              <a:alpha val="1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</a:endParaRPr>
          </a:p>
        </p:txBody>
      </p:sp>
      <p:pic>
        <p:nvPicPr>
          <p:cNvPr id="9" name="图形 8"/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10262"/>
          <a:stretch>
            <a:fillRect/>
          </a:stretch>
        </p:blipFill>
        <p:spPr>
          <a:xfrm>
            <a:off x="5784293" y="2336800"/>
            <a:ext cx="5893083" cy="4243512"/>
          </a:xfrm>
          <a:prstGeom prst="rect">
            <a:avLst/>
          </a:prstGeom>
        </p:spPr>
      </p:pic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73101" y="1135065"/>
            <a:ext cx="10845799" cy="1621509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73101" y="3441300"/>
            <a:ext cx="10845799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400" smtClean="0">
                <a:solidFill>
                  <a:schemeClr val="tx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673102" y="3145030"/>
            <a:ext cx="10845799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35DDC9-51DE-47E5-BC66-28F6B6B691E4}" type="datetimeFigureOut">
              <a:rPr lang="zh-CN" altLang="en-US" smtClean="0"/>
              <a:t>2022/9/8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EFC069-0F97-4FDE-86BE-0DA93F996394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35DDC9-51DE-47E5-BC66-28F6B6B691E4}" type="datetimeFigureOut">
              <a:rPr lang="zh-CN" altLang="en-US" smtClean="0"/>
              <a:t>2022/9/8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EFC069-0F97-4FDE-86BE-0DA93F996394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35DDC9-51DE-47E5-BC66-28F6B6B691E4}" type="datetimeFigureOut">
              <a:rPr lang="zh-CN" altLang="en-US" smtClean="0"/>
              <a:t>2022/9/8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EFC069-0F97-4FDE-86BE-0DA93F996394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35DDC9-51DE-47E5-BC66-28F6B6B691E4}" type="datetimeFigureOut">
              <a:rPr lang="zh-CN" altLang="en-US" smtClean="0"/>
              <a:t>2022/9/8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EFC069-0F97-4FDE-86BE-0DA93F996394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35DDC9-51DE-47E5-BC66-28F6B6B691E4}" type="datetimeFigureOut">
              <a:rPr lang="zh-CN" altLang="en-US" smtClean="0"/>
              <a:t>2022/9/8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EFC069-0F97-4FDE-86BE-0DA93F996394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35DDC9-51DE-47E5-BC66-28F6B6B691E4}" type="datetimeFigureOut">
              <a:rPr lang="zh-CN" altLang="en-US" smtClean="0"/>
              <a:t>2022/9/8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EFC069-0F97-4FDE-86BE-0DA93F996394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35DDC9-51DE-47E5-BC66-28F6B6B691E4}" type="datetimeFigureOut">
              <a:rPr lang="zh-CN" altLang="en-US" smtClean="0"/>
              <a:t>2022/9/8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EFC069-0F97-4FDE-86BE-0DA93F996394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7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2.xml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5" Type="http://schemas.openxmlformats.org/officeDocument/2006/relationships/slideLayout" Target="../slideLayouts/slideLayout24.xml"/><Relationship Id="rId4" Type="http://schemas.openxmlformats.org/officeDocument/2006/relationships/slideLayout" Target="../slideLayouts/slideLayout2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B35DDC9-51DE-47E5-BC66-28F6B6B691E4}" type="datetimeFigureOut">
              <a:rPr lang="zh-CN" altLang="en-US" smtClean="0"/>
              <a:t>2022/9/8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5EFC069-0F97-4FDE-86BE-0DA93F996394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5" y="3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5" y="1123952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5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5401732" y="6240465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t>2022/9/8</a:t>
            </a:fld>
            <a:endParaRPr lang="zh-CN" altLang="en-US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669925" y="6240465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599" y="6240465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5" y="3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5" y="1123952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5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5401732" y="6240465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t>2022/9/8</a:t>
            </a:fld>
            <a:endParaRPr lang="zh-CN" altLang="en-US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669925" y="6240465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599" y="6240465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ags" Target="../tags/tag3.xml"/><Relationship Id="rId7" Type="http://schemas.openxmlformats.org/officeDocument/2006/relationships/notesSlide" Target="../notesSlides/notesSlide1.xml"/><Relationship Id="rId2" Type="http://schemas.openxmlformats.org/officeDocument/2006/relationships/tags" Target="../tags/tag2.xml"/><Relationship Id="rId1" Type="http://schemas.openxmlformats.org/officeDocument/2006/relationships/themeOverride" Target="../theme/themeOverride1.xml"/><Relationship Id="rId6" Type="http://schemas.openxmlformats.org/officeDocument/2006/relationships/slideLayout" Target="../slideLayouts/slideLayout14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9" Type="http://schemas.openxmlformats.org/officeDocument/2006/relationships/image" Target="../media/image4.emf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Relationship Id="rId6" Type="http://schemas.microsoft.com/office/2007/relationships/hdphoto" Target="../media/hdphoto2.wdp"/><Relationship Id="rId5" Type="http://schemas.openxmlformats.org/officeDocument/2006/relationships/image" Target="../media/image9.png"/><Relationship Id="rId4" Type="http://schemas.microsoft.com/office/2007/relationships/hdphoto" Target="../media/hdphoto1.wdp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7.xml"/><Relationship Id="rId7" Type="http://schemas.openxmlformats.org/officeDocument/2006/relationships/notesSlide" Target="../notesSlides/notesSlide15.xml"/><Relationship Id="rId2" Type="http://schemas.openxmlformats.org/officeDocument/2006/relationships/tags" Target="../tags/tag6.xml"/><Relationship Id="rId1" Type="http://schemas.openxmlformats.org/officeDocument/2006/relationships/themeOverride" Target="../theme/themeOverride2.xml"/><Relationship Id="rId6" Type="http://schemas.openxmlformats.org/officeDocument/2006/relationships/slideLayout" Target="../slideLayouts/slideLayout20.xml"/><Relationship Id="rId5" Type="http://schemas.openxmlformats.org/officeDocument/2006/relationships/tags" Target="../tags/tag9.xml"/><Relationship Id="rId4" Type="http://schemas.openxmlformats.org/officeDocument/2006/relationships/tags" Target="../tags/tag8.xml"/><Relationship Id="rId9" Type="http://schemas.openxmlformats.org/officeDocument/2006/relationships/image" Target="../media/image4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9525" imgH="9525" progId="TCLayout.ActiveDocument.1">
                  <p:embed/>
                </p:oleObj>
              </mc:Choice>
              <mc:Fallback>
                <p:oleObj name="think-cell Slide" r:id="rId8" imgW="9525" imgH="9525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椭圆 11"/>
          <p:cNvSpPr/>
          <p:nvPr userDrawn="1"/>
        </p:nvSpPr>
        <p:spPr>
          <a:xfrm>
            <a:off x="7738745" y="1475740"/>
            <a:ext cx="236855" cy="236855"/>
          </a:xfrm>
          <a:prstGeom prst="ellipse">
            <a:avLst/>
          </a:prstGeom>
          <a:gradFill>
            <a:gsLst>
              <a:gs pos="51000">
                <a:srgbClr val="A1E2FE"/>
              </a:gs>
              <a:gs pos="0">
                <a:srgbClr val="A1E2FE">
                  <a:lumMod val="72000"/>
                  <a:lumOff val="28000"/>
                </a:srgb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椭圆 12"/>
          <p:cNvSpPr/>
          <p:nvPr userDrawn="1"/>
        </p:nvSpPr>
        <p:spPr>
          <a:xfrm>
            <a:off x="7840345" y="1196340"/>
            <a:ext cx="440055" cy="440055"/>
          </a:xfrm>
          <a:prstGeom prst="ellipse">
            <a:avLst/>
          </a:prstGeom>
          <a:gradFill flip="none">
            <a:gsLst>
              <a:gs pos="51000">
                <a:srgbClr val="226AD0"/>
              </a:gs>
              <a:gs pos="0">
                <a:srgbClr val="0789DF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椭圆 13"/>
          <p:cNvSpPr/>
          <p:nvPr userDrawn="1"/>
        </p:nvSpPr>
        <p:spPr>
          <a:xfrm>
            <a:off x="-719455" y="-828040"/>
            <a:ext cx="1638935" cy="1638935"/>
          </a:xfrm>
          <a:prstGeom prst="ellipse">
            <a:avLst/>
          </a:prstGeom>
          <a:gradFill>
            <a:gsLst>
              <a:gs pos="51000">
                <a:srgbClr val="A1E2FE"/>
              </a:gs>
              <a:gs pos="0">
                <a:srgbClr val="A1E2FE">
                  <a:lumMod val="72000"/>
                  <a:lumOff val="28000"/>
                </a:srgb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305" name="组合 304"/>
          <p:cNvGrpSpPr/>
          <p:nvPr/>
        </p:nvGrpSpPr>
        <p:grpSpPr>
          <a:xfrm>
            <a:off x="1470025" y="2682875"/>
            <a:ext cx="4180840" cy="1322070"/>
            <a:chOff x="2516723" y="-1261078"/>
            <a:chExt cx="4001552" cy="1265306"/>
          </a:xfrm>
        </p:grpSpPr>
        <p:sp>
          <p:nvSpPr>
            <p:cNvPr id="306" name="矩形 305"/>
            <p:cNvSpPr/>
            <p:nvPr/>
          </p:nvSpPr>
          <p:spPr>
            <a:xfrm>
              <a:off x="2516723" y="-1261078"/>
              <a:ext cx="2238897" cy="126530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8000" b="1" i="1" spc="-300" dirty="0">
                  <a:gradFill flip="none" rotWithShape="1">
                    <a:gsLst>
                      <a:gs pos="50000">
                        <a:schemeClr val="bg1"/>
                      </a:gs>
                      <a:gs pos="100000">
                        <a:schemeClr val="accent1"/>
                      </a:gs>
                    </a:gsLst>
                    <a:lin ang="2700000" scaled="1"/>
                    <a:tileRect/>
                  </a:gradFill>
                  <a:latin typeface="+mj-ea"/>
                  <a:ea typeface="+mj-ea"/>
                </a:rPr>
                <a:t>PPT</a:t>
              </a:r>
            </a:p>
          </p:txBody>
        </p:sp>
        <p:sp>
          <p:nvSpPr>
            <p:cNvPr id="308" name="矩形 307"/>
            <p:cNvSpPr/>
            <p:nvPr/>
          </p:nvSpPr>
          <p:spPr>
            <a:xfrm>
              <a:off x="4388258" y="-1261077"/>
              <a:ext cx="1194251" cy="126530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8000" b="1" i="1" spc="-300" dirty="0">
                  <a:gradFill flip="none" rotWithShape="1">
                    <a:gsLst>
                      <a:gs pos="50000">
                        <a:schemeClr val="bg1"/>
                      </a:gs>
                      <a:gs pos="100000">
                        <a:schemeClr val="accent1"/>
                      </a:gs>
                    </a:gsLst>
                    <a:lin ang="2700000" scaled="1"/>
                    <a:tileRect/>
                  </a:gradFill>
                  <a:latin typeface="+mj-ea"/>
                  <a:ea typeface="+mj-ea"/>
                </a:rPr>
                <a:t>模</a:t>
              </a:r>
            </a:p>
          </p:txBody>
        </p:sp>
        <p:sp>
          <p:nvSpPr>
            <p:cNvPr id="309" name="矩形 308"/>
            <p:cNvSpPr/>
            <p:nvPr/>
          </p:nvSpPr>
          <p:spPr>
            <a:xfrm>
              <a:off x="5324024" y="-1261077"/>
              <a:ext cx="1194251" cy="126530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8000" b="1" i="1" spc="-300" dirty="0">
                  <a:gradFill flip="none" rotWithShape="1">
                    <a:gsLst>
                      <a:gs pos="50000">
                        <a:schemeClr val="bg1"/>
                      </a:gs>
                      <a:gs pos="100000">
                        <a:schemeClr val="accent1"/>
                      </a:gs>
                    </a:gsLst>
                    <a:lin ang="2700000" scaled="1"/>
                    <a:tileRect/>
                  </a:gradFill>
                  <a:latin typeface="+mj-ea"/>
                  <a:ea typeface="+mj-ea"/>
                </a:rPr>
                <a:t>板</a:t>
              </a:r>
            </a:p>
          </p:txBody>
        </p:sp>
      </p:grpSp>
      <p:grpSp>
        <p:nvGrpSpPr>
          <p:cNvPr id="22" name="组合 21"/>
          <p:cNvGrpSpPr/>
          <p:nvPr/>
        </p:nvGrpSpPr>
        <p:grpSpPr>
          <a:xfrm>
            <a:off x="1470025" y="1448435"/>
            <a:ext cx="6086475" cy="1322070"/>
            <a:chOff x="2274" y="2521"/>
            <a:chExt cx="9585" cy="2082"/>
          </a:xfrm>
        </p:grpSpPr>
        <p:grpSp>
          <p:nvGrpSpPr>
            <p:cNvPr id="17" name="组合 16"/>
            <p:cNvGrpSpPr/>
            <p:nvPr/>
          </p:nvGrpSpPr>
          <p:grpSpPr>
            <a:xfrm>
              <a:off x="2274" y="2521"/>
              <a:ext cx="3505" cy="2082"/>
              <a:chOff x="4388259" y="-1261078"/>
              <a:chExt cx="2130016" cy="1265305"/>
            </a:xfrm>
          </p:grpSpPr>
          <p:sp>
            <p:nvSpPr>
              <p:cNvPr id="20" name="矩形 19"/>
              <p:cNvSpPr/>
              <p:nvPr/>
            </p:nvSpPr>
            <p:spPr>
              <a:xfrm>
                <a:off x="4388259" y="-1261078"/>
                <a:ext cx="1194251" cy="126530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zh-CN" altLang="en-US" sz="8000" b="1" i="1" spc="-300" dirty="0">
                    <a:gradFill flip="none" rotWithShape="1">
                      <a:gsLst>
                        <a:gs pos="50000">
                          <a:schemeClr val="bg1"/>
                        </a:gs>
                        <a:gs pos="100000">
                          <a:schemeClr val="accent1"/>
                        </a:gs>
                      </a:gsLst>
                      <a:lin ang="2700000" scaled="1"/>
                      <a:tileRect/>
                    </a:gradFill>
                    <a:latin typeface="+mj-ea"/>
                    <a:ea typeface="+mj-ea"/>
                  </a:rPr>
                  <a:t>蓝</a:t>
                </a:r>
              </a:p>
            </p:txBody>
          </p:sp>
          <p:sp>
            <p:nvSpPr>
              <p:cNvPr id="21" name="矩形 20"/>
              <p:cNvSpPr/>
              <p:nvPr/>
            </p:nvSpPr>
            <p:spPr>
              <a:xfrm>
                <a:off x="5324024" y="-1261078"/>
                <a:ext cx="1194251" cy="126530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zh-CN" altLang="en-US" sz="8000" b="1" i="1" spc="-300" dirty="0">
                    <a:gradFill flip="none" rotWithShape="1">
                      <a:gsLst>
                        <a:gs pos="50000">
                          <a:schemeClr val="bg1"/>
                        </a:gs>
                        <a:gs pos="100000">
                          <a:schemeClr val="accent1"/>
                        </a:gs>
                      </a:gsLst>
                      <a:lin ang="2700000" scaled="1"/>
                      <a:tileRect/>
                    </a:gradFill>
                    <a:latin typeface="+mj-ea"/>
                    <a:ea typeface="+mj-ea"/>
                  </a:rPr>
                  <a:t>色</a:t>
                </a:r>
              </a:p>
            </p:txBody>
          </p:sp>
        </p:grpSp>
        <p:grpSp>
          <p:nvGrpSpPr>
            <p:cNvPr id="304" name="组合 303"/>
            <p:cNvGrpSpPr/>
            <p:nvPr/>
          </p:nvGrpSpPr>
          <p:grpSpPr>
            <a:xfrm>
              <a:off x="5275" y="2521"/>
              <a:ext cx="6584" cy="2082"/>
              <a:chOff x="2516723" y="-1261078"/>
              <a:chExt cx="4001552" cy="1265305"/>
            </a:xfrm>
          </p:grpSpPr>
          <p:sp>
            <p:nvSpPr>
              <p:cNvPr id="296" name="矩形 295"/>
              <p:cNvSpPr/>
              <p:nvPr/>
            </p:nvSpPr>
            <p:spPr>
              <a:xfrm>
                <a:off x="2516723" y="-1261078"/>
                <a:ext cx="1194251" cy="126530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zh-CN" altLang="en-US" sz="8000" b="1" i="1" spc="-300" dirty="0">
                    <a:gradFill flip="none" rotWithShape="1">
                      <a:gsLst>
                        <a:gs pos="50000">
                          <a:schemeClr val="bg1"/>
                        </a:gs>
                        <a:gs pos="100000">
                          <a:schemeClr val="accent1"/>
                        </a:gs>
                      </a:gsLst>
                      <a:lin ang="2700000" scaled="1"/>
                      <a:tileRect/>
                    </a:gradFill>
                    <a:latin typeface="+mj-ea"/>
                    <a:ea typeface="+mj-ea"/>
                  </a:rPr>
                  <a:t>工</a:t>
                </a:r>
              </a:p>
            </p:txBody>
          </p:sp>
          <p:sp>
            <p:nvSpPr>
              <p:cNvPr id="297" name="矩形 296"/>
              <p:cNvSpPr/>
              <p:nvPr/>
            </p:nvSpPr>
            <p:spPr>
              <a:xfrm>
                <a:off x="3452492" y="-1261078"/>
                <a:ext cx="1194251" cy="126530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zh-CN" altLang="en-US" sz="8000" b="1" i="1" spc="-300" dirty="0">
                    <a:gradFill flip="none" rotWithShape="1">
                      <a:gsLst>
                        <a:gs pos="50000">
                          <a:schemeClr val="bg1"/>
                        </a:gs>
                        <a:gs pos="100000">
                          <a:schemeClr val="accent1"/>
                        </a:gs>
                      </a:gsLst>
                      <a:lin ang="2700000" scaled="1"/>
                      <a:tileRect/>
                    </a:gradFill>
                    <a:latin typeface="+mj-ea"/>
                    <a:ea typeface="+mj-ea"/>
                  </a:rPr>
                  <a:t>作</a:t>
                </a:r>
              </a:p>
            </p:txBody>
          </p:sp>
          <p:sp>
            <p:nvSpPr>
              <p:cNvPr id="298" name="矩形 297"/>
              <p:cNvSpPr/>
              <p:nvPr/>
            </p:nvSpPr>
            <p:spPr>
              <a:xfrm>
                <a:off x="4388259" y="-1261078"/>
                <a:ext cx="1194251" cy="126530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zh-CN" altLang="en-US" sz="8000" b="1" i="1" spc="-300" dirty="0">
                    <a:gradFill flip="none" rotWithShape="1">
                      <a:gsLst>
                        <a:gs pos="50000">
                          <a:schemeClr val="bg1"/>
                        </a:gs>
                        <a:gs pos="100000">
                          <a:schemeClr val="accent1"/>
                        </a:gs>
                      </a:gsLst>
                      <a:lin ang="2700000" scaled="1"/>
                      <a:tileRect/>
                    </a:gradFill>
                    <a:latin typeface="+mj-ea"/>
                    <a:ea typeface="+mj-ea"/>
                  </a:rPr>
                  <a:t>汇</a:t>
                </a:r>
              </a:p>
            </p:txBody>
          </p:sp>
          <p:sp>
            <p:nvSpPr>
              <p:cNvPr id="303" name="矩形 302"/>
              <p:cNvSpPr/>
              <p:nvPr/>
            </p:nvSpPr>
            <p:spPr>
              <a:xfrm>
                <a:off x="5324024" y="-1261078"/>
                <a:ext cx="1194251" cy="126530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zh-CN" altLang="en-US" sz="8000" b="1" i="1" spc="-300" dirty="0">
                    <a:gradFill flip="none" rotWithShape="1">
                      <a:gsLst>
                        <a:gs pos="50000">
                          <a:schemeClr val="bg1"/>
                        </a:gs>
                        <a:gs pos="100000">
                          <a:schemeClr val="accent1"/>
                        </a:gs>
                      </a:gsLst>
                      <a:lin ang="2700000" scaled="1"/>
                      <a:tileRect/>
                    </a:gradFill>
                    <a:latin typeface="+mj-ea"/>
                    <a:ea typeface="+mj-ea"/>
                  </a:rPr>
                  <a:t>报</a:t>
                </a:r>
              </a:p>
            </p:txBody>
          </p:sp>
        </p:grpSp>
      </p:grpSp>
      <p:sp>
        <p:nvSpPr>
          <p:cNvPr id="37" name="文本占位符 85"/>
          <p:cNvSpPr txBox="1"/>
          <p:nvPr/>
        </p:nvSpPr>
        <p:spPr>
          <a:xfrm>
            <a:off x="1616075" y="4153514"/>
            <a:ext cx="4494530" cy="312420"/>
          </a:xfrm>
          <a:prstGeom prst="rect">
            <a:avLst/>
          </a:prstGeom>
        </p:spPr>
        <p:txBody>
          <a:bodyPr wrap="none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>
              <a:spcBef>
                <a:spcPts val="0"/>
              </a:spcBef>
              <a:buNone/>
            </a:pPr>
            <a:r>
              <a:rPr sz="1600" dirty="0">
                <a:solidFill>
                  <a:schemeClr val="bg1"/>
                </a:solidFill>
                <a:latin typeface="+mj-lt"/>
                <a:cs typeface="+mj-lt"/>
                <a:sym typeface="+mn-lt"/>
              </a:rPr>
              <a:t>Template for student defense of chang 'an university</a:t>
            </a:r>
          </a:p>
        </p:txBody>
      </p:sp>
      <p:cxnSp>
        <p:nvCxnSpPr>
          <p:cNvPr id="23" name="直接连接符 22"/>
          <p:cNvCxnSpPr/>
          <p:nvPr/>
        </p:nvCxnSpPr>
        <p:spPr>
          <a:xfrm>
            <a:off x="1616075" y="4034790"/>
            <a:ext cx="42926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椭圆 23"/>
          <p:cNvSpPr/>
          <p:nvPr userDrawn="1"/>
        </p:nvSpPr>
        <p:spPr>
          <a:xfrm>
            <a:off x="1160145" y="2567940"/>
            <a:ext cx="236855" cy="236855"/>
          </a:xfrm>
          <a:prstGeom prst="ellipse">
            <a:avLst/>
          </a:prstGeom>
          <a:gradFill>
            <a:gsLst>
              <a:gs pos="51000">
                <a:srgbClr val="A1E2FE"/>
              </a:gs>
              <a:gs pos="0">
                <a:srgbClr val="A1E2FE">
                  <a:lumMod val="72000"/>
                  <a:lumOff val="28000"/>
                </a:srgb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7" name="Content Placeholder 2"/>
          <p:cNvSpPr txBox="1"/>
          <p:nvPr/>
        </p:nvSpPr>
        <p:spPr>
          <a:xfrm>
            <a:off x="1616075" y="5487670"/>
            <a:ext cx="4987925" cy="1049655"/>
          </a:xfrm>
          <a:prstGeom prst="rect">
            <a:avLst/>
          </a:prstGeom>
        </p:spPr>
        <p:txBody>
          <a:bodyPr vert="horz" lIns="121920" tIns="60960" rIns="121920" bIns="6096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lnSpc>
                <a:spcPct val="130000"/>
              </a:lnSpc>
              <a:spcBef>
                <a:spcPts val="0"/>
              </a:spcBef>
              <a:buNone/>
            </a:pPr>
            <a:r>
              <a:rPr lang="zh-CN" altLang="en-US" sz="1600" dirty="0">
                <a:solidFill>
                  <a:srgbClr val="0870D3"/>
                </a:solidFill>
                <a:effectLst/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rPr>
              <a:t>汇报：</a:t>
            </a:r>
            <a:r>
              <a:rPr lang="en-US" altLang="zh-CN" sz="1600" dirty="0">
                <a:solidFill>
                  <a:srgbClr val="0870D3"/>
                </a:solidFill>
                <a:effectLst/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rPr>
              <a:t>homeppt</a:t>
            </a:r>
          </a:p>
          <a:p>
            <a:pPr marL="0" indent="0" fontAlgn="auto">
              <a:lnSpc>
                <a:spcPct val="130000"/>
              </a:lnSpc>
              <a:spcBef>
                <a:spcPts val="0"/>
              </a:spcBef>
              <a:buNone/>
            </a:pPr>
            <a:r>
              <a:rPr lang="zh-CN" altLang="en-US" sz="1600" dirty="0">
                <a:solidFill>
                  <a:srgbClr val="0870D3"/>
                </a:solidFill>
                <a:effectLst/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rPr>
              <a:t>时间：</a:t>
            </a:r>
            <a:r>
              <a:rPr lang="en-US" altLang="zh-CN" sz="1600" dirty="0">
                <a:solidFill>
                  <a:srgbClr val="0870D3"/>
                </a:solidFill>
                <a:effectLst/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rPr>
              <a:t>20XX-XX-XX</a:t>
            </a:r>
          </a:p>
        </p:txBody>
      </p:sp>
      <p:grpSp>
        <p:nvGrpSpPr>
          <p:cNvPr id="28" name="a2f6f956-74f0-4e48-b063-fde34c17ff18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/>
          <p:cNvGrpSpPr>
            <a:grpSpLocks noChangeAspect="1"/>
          </p:cNvGrpSpPr>
          <p:nvPr>
            <p:custDataLst>
              <p:tags r:id="rId5"/>
            </p:custDataLst>
          </p:nvPr>
        </p:nvGrpSpPr>
        <p:grpSpPr>
          <a:xfrm>
            <a:off x="6899275" y="2625725"/>
            <a:ext cx="4838065" cy="3284855"/>
            <a:chOff x="2860675" y="1228726"/>
            <a:chExt cx="6484938" cy="4402138"/>
          </a:xfrm>
        </p:grpSpPr>
        <p:sp>
          <p:nvSpPr>
            <p:cNvPr id="29" name="îṩḻíḑê"/>
            <p:cNvSpPr/>
            <p:nvPr/>
          </p:nvSpPr>
          <p:spPr bwMode="auto">
            <a:xfrm>
              <a:off x="6132513" y="1744663"/>
              <a:ext cx="2038350" cy="2060575"/>
            </a:xfrm>
            <a:custGeom>
              <a:avLst/>
              <a:gdLst>
                <a:gd name="T0" fmla="*/ 53 w 139"/>
                <a:gd name="T1" fmla="*/ 9 h 140"/>
                <a:gd name="T2" fmla="*/ 8 w 139"/>
                <a:gd name="T3" fmla="*/ 86 h 140"/>
                <a:gd name="T4" fmla="*/ 85 w 139"/>
                <a:gd name="T5" fmla="*/ 131 h 140"/>
                <a:gd name="T6" fmla="*/ 130 w 139"/>
                <a:gd name="T7" fmla="*/ 54 h 140"/>
                <a:gd name="T8" fmla="*/ 53 w 139"/>
                <a:gd name="T9" fmla="*/ 9 h 140"/>
                <a:gd name="T10" fmla="*/ 78 w 139"/>
                <a:gd name="T11" fmla="*/ 102 h 140"/>
                <a:gd name="T12" fmla="*/ 37 w 139"/>
                <a:gd name="T13" fmla="*/ 79 h 140"/>
                <a:gd name="T14" fmla="*/ 61 w 139"/>
                <a:gd name="T15" fmla="*/ 38 h 140"/>
                <a:gd name="T16" fmla="*/ 101 w 139"/>
                <a:gd name="T17" fmla="*/ 62 h 140"/>
                <a:gd name="T18" fmla="*/ 78 w 139"/>
                <a:gd name="T19" fmla="*/ 102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9" h="140">
                  <a:moveTo>
                    <a:pt x="53" y="9"/>
                  </a:moveTo>
                  <a:cubicBezTo>
                    <a:pt x="20" y="18"/>
                    <a:pt x="0" y="53"/>
                    <a:pt x="8" y="86"/>
                  </a:cubicBezTo>
                  <a:cubicBezTo>
                    <a:pt x="17" y="120"/>
                    <a:pt x="52" y="140"/>
                    <a:pt x="85" y="131"/>
                  </a:cubicBezTo>
                  <a:cubicBezTo>
                    <a:pt x="119" y="122"/>
                    <a:pt x="139" y="88"/>
                    <a:pt x="130" y="54"/>
                  </a:cubicBezTo>
                  <a:cubicBezTo>
                    <a:pt x="121" y="21"/>
                    <a:pt x="87" y="0"/>
                    <a:pt x="53" y="9"/>
                  </a:cubicBezTo>
                  <a:close/>
                  <a:moveTo>
                    <a:pt x="78" y="102"/>
                  </a:moveTo>
                  <a:cubicBezTo>
                    <a:pt x="60" y="107"/>
                    <a:pt x="42" y="96"/>
                    <a:pt x="37" y="79"/>
                  </a:cubicBezTo>
                  <a:cubicBezTo>
                    <a:pt x="33" y="61"/>
                    <a:pt x="43" y="43"/>
                    <a:pt x="61" y="38"/>
                  </a:cubicBezTo>
                  <a:cubicBezTo>
                    <a:pt x="79" y="34"/>
                    <a:pt x="97" y="44"/>
                    <a:pt x="101" y="62"/>
                  </a:cubicBezTo>
                  <a:cubicBezTo>
                    <a:pt x="106" y="80"/>
                    <a:pt x="95" y="98"/>
                    <a:pt x="78" y="102"/>
                  </a:cubicBezTo>
                  <a:close/>
                </a:path>
              </a:pathLst>
            </a:custGeom>
            <a:solidFill>
              <a:srgbClr val="DA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0" name="işḷîḓe"/>
            <p:cNvSpPr/>
            <p:nvPr/>
          </p:nvSpPr>
          <p:spPr bwMode="auto">
            <a:xfrm>
              <a:off x="6616700" y="1582738"/>
              <a:ext cx="557213" cy="558800"/>
            </a:xfrm>
            <a:custGeom>
              <a:avLst/>
              <a:gdLst>
                <a:gd name="T0" fmla="*/ 38 w 38"/>
                <a:gd name="T1" fmla="*/ 31 h 38"/>
                <a:gd name="T2" fmla="*/ 11 w 38"/>
                <a:gd name="T3" fmla="*/ 38 h 38"/>
                <a:gd name="T4" fmla="*/ 4 w 38"/>
                <a:gd name="T5" fmla="*/ 11 h 38"/>
                <a:gd name="T6" fmla="*/ 31 w 38"/>
                <a:gd name="T7" fmla="*/ 4 h 38"/>
                <a:gd name="T8" fmla="*/ 38 w 38"/>
                <a:gd name="T9" fmla="*/ 3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8">
                  <a:moveTo>
                    <a:pt x="38" y="31"/>
                  </a:move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0" y="17"/>
                    <a:pt x="4" y="11"/>
                  </a:cubicBezTo>
                  <a:cubicBezTo>
                    <a:pt x="7" y="5"/>
                    <a:pt x="25" y="0"/>
                    <a:pt x="31" y="4"/>
                  </a:cubicBezTo>
                  <a:cubicBezTo>
                    <a:pt x="37" y="8"/>
                    <a:pt x="38" y="31"/>
                    <a:pt x="38" y="31"/>
                  </a:cubicBezTo>
                  <a:close/>
                </a:path>
              </a:pathLst>
            </a:custGeom>
            <a:solidFill>
              <a:srgbClr val="DA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1" name="ïşḷíḍé"/>
            <p:cNvSpPr/>
            <p:nvPr/>
          </p:nvSpPr>
          <p:spPr bwMode="auto">
            <a:xfrm>
              <a:off x="7100888" y="3436938"/>
              <a:ext cx="542925" cy="544513"/>
            </a:xfrm>
            <a:custGeom>
              <a:avLst/>
              <a:gdLst>
                <a:gd name="T0" fmla="*/ 27 w 37"/>
                <a:gd name="T1" fmla="*/ 0 h 37"/>
                <a:gd name="T2" fmla="*/ 0 w 37"/>
                <a:gd name="T3" fmla="*/ 7 h 37"/>
                <a:gd name="T4" fmla="*/ 7 w 37"/>
                <a:gd name="T5" fmla="*/ 33 h 37"/>
                <a:gd name="T6" fmla="*/ 34 w 37"/>
                <a:gd name="T7" fmla="*/ 26 h 37"/>
                <a:gd name="T8" fmla="*/ 27 w 37"/>
                <a:gd name="T9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37">
                  <a:moveTo>
                    <a:pt x="27" y="0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1" y="30"/>
                    <a:pt x="7" y="33"/>
                  </a:cubicBezTo>
                  <a:cubicBezTo>
                    <a:pt x="13" y="37"/>
                    <a:pt x="32" y="33"/>
                    <a:pt x="34" y="26"/>
                  </a:cubicBezTo>
                  <a:cubicBezTo>
                    <a:pt x="37" y="20"/>
                    <a:pt x="27" y="0"/>
                    <a:pt x="27" y="0"/>
                  </a:cubicBezTo>
                  <a:close/>
                </a:path>
              </a:pathLst>
            </a:custGeom>
            <a:solidFill>
              <a:srgbClr val="DA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2" name="íṩḻïḓè"/>
            <p:cNvSpPr/>
            <p:nvPr/>
          </p:nvSpPr>
          <p:spPr bwMode="auto">
            <a:xfrm>
              <a:off x="6043613" y="2052638"/>
              <a:ext cx="573088" cy="574675"/>
            </a:xfrm>
            <a:custGeom>
              <a:avLst/>
              <a:gdLst>
                <a:gd name="T0" fmla="*/ 39 w 39"/>
                <a:gd name="T1" fmla="*/ 13 h 39"/>
                <a:gd name="T2" fmla="*/ 28 w 39"/>
                <a:gd name="T3" fmla="*/ 39 h 39"/>
                <a:gd name="T4" fmla="*/ 2 w 39"/>
                <a:gd name="T5" fmla="*/ 28 h 39"/>
                <a:gd name="T6" fmla="*/ 13 w 39"/>
                <a:gd name="T7" fmla="*/ 2 h 39"/>
                <a:gd name="T8" fmla="*/ 39 w 39"/>
                <a:gd name="T9" fmla="*/ 13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39">
                  <a:moveTo>
                    <a:pt x="39" y="13"/>
                  </a:moveTo>
                  <a:cubicBezTo>
                    <a:pt x="28" y="39"/>
                    <a:pt x="28" y="39"/>
                    <a:pt x="28" y="39"/>
                  </a:cubicBezTo>
                  <a:cubicBezTo>
                    <a:pt x="28" y="39"/>
                    <a:pt x="5" y="34"/>
                    <a:pt x="2" y="28"/>
                  </a:cubicBezTo>
                  <a:cubicBezTo>
                    <a:pt x="0" y="22"/>
                    <a:pt x="7" y="4"/>
                    <a:pt x="13" y="2"/>
                  </a:cubicBezTo>
                  <a:cubicBezTo>
                    <a:pt x="20" y="0"/>
                    <a:pt x="39" y="13"/>
                    <a:pt x="39" y="13"/>
                  </a:cubicBezTo>
                  <a:close/>
                </a:path>
              </a:pathLst>
            </a:custGeom>
            <a:solidFill>
              <a:srgbClr val="DA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3" name="ïşḻîďê"/>
            <p:cNvSpPr/>
            <p:nvPr/>
          </p:nvSpPr>
          <p:spPr bwMode="auto">
            <a:xfrm>
              <a:off x="5956300" y="2774951"/>
              <a:ext cx="528638" cy="544513"/>
            </a:xfrm>
            <a:custGeom>
              <a:avLst/>
              <a:gdLst>
                <a:gd name="T0" fmla="*/ 33 w 36"/>
                <a:gd name="T1" fmla="*/ 2 h 37"/>
                <a:gd name="T2" fmla="*/ 36 w 36"/>
                <a:gd name="T3" fmla="*/ 31 h 37"/>
                <a:gd name="T4" fmla="*/ 8 w 36"/>
                <a:gd name="T5" fmla="*/ 33 h 37"/>
                <a:gd name="T6" fmla="*/ 5 w 36"/>
                <a:gd name="T7" fmla="*/ 5 h 37"/>
                <a:gd name="T8" fmla="*/ 33 w 36"/>
                <a:gd name="T9" fmla="*/ 2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7">
                  <a:moveTo>
                    <a:pt x="33" y="2"/>
                  </a:moveTo>
                  <a:cubicBezTo>
                    <a:pt x="36" y="31"/>
                    <a:pt x="36" y="31"/>
                    <a:pt x="36" y="31"/>
                  </a:cubicBezTo>
                  <a:cubicBezTo>
                    <a:pt x="36" y="31"/>
                    <a:pt x="13" y="37"/>
                    <a:pt x="8" y="33"/>
                  </a:cubicBezTo>
                  <a:cubicBezTo>
                    <a:pt x="3" y="29"/>
                    <a:pt x="0" y="10"/>
                    <a:pt x="5" y="5"/>
                  </a:cubicBezTo>
                  <a:cubicBezTo>
                    <a:pt x="10" y="0"/>
                    <a:pt x="33" y="2"/>
                    <a:pt x="33" y="2"/>
                  </a:cubicBezTo>
                  <a:close/>
                </a:path>
              </a:pathLst>
            </a:custGeom>
            <a:solidFill>
              <a:srgbClr val="DA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4" name="iṩļïḍè"/>
            <p:cNvSpPr/>
            <p:nvPr/>
          </p:nvSpPr>
          <p:spPr bwMode="auto">
            <a:xfrm>
              <a:off x="7804150" y="2274888"/>
              <a:ext cx="542925" cy="544513"/>
            </a:xfrm>
            <a:custGeom>
              <a:avLst/>
              <a:gdLst>
                <a:gd name="T0" fmla="*/ 6 w 37"/>
                <a:gd name="T1" fmla="*/ 37 h 37"/>
                <a:gd name="T2" fmla="*/ 0 w 37"/>
                <a:gd name="T3" fmla="*/ 10 h 37"/>
                <a:gd name="T4" fmla="*/ 27 w 37"/>
                <a:gd name="T5" fmla="*/ 4 h 37"/>
                <a:gd name="T6" fmla="*/ 33 w 37"/>
                <a:gd name="T7" fmla="*/ 31 h 37"/>
                <a:gd name="T8" fmla="*/ 6 w 37"/>
                <a:gd name="T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37">
                  <a:moveTo>
                    <a:pt x="6" y="37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21" y="0"/>
                    <a:pt x="27" y="4"/>
                  </a:cubicBezTo>
                  <a:cubicBezTo>
                    <a:pt x="33" y="8"/>
                    <a:pt x="37" y="26"/>
                    <a:pt x="33" y="31"/>
                  </a:cubicBezTo>
                  <a:cubicBezTo>
                    <a:pt x="29" y="37"/>
                    <a:pt x="6" y="37"/>
                    <a:pt x="6" y="37"/>
                  </a:cubicBezTo>
                  <a:close/>
                </a:path>
              </a:pathLst>
            </a:custGeom>
            <a:solidFill>
              <a:srgbClr val="DA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5" name="îSlíḓê"/>
            <p:cNvSpPr/>
            <p:nvPr/>
          </p:nvSpPr>
          <p:spPr bwMode="auto">
            <a:xfrm>
              <a:off x="7335838" y="1685926"/>
              <a:ext cx="585788" cy="603250"/>
            </a:xfrm>
            <a:custGeom>
              <a:avLst/>
              <a:gdLst>
                <a:gd name="T0" fmla="*/ 0 w 40"/>
                <a:gd name="T1" fmla="*/ 24 h 41"/>
                <a:gd name="T2" fmla="*/ 23 w 40"/>
                <a:gd name="T3" fmla="*/ 41 h 41"/>
                <a:gd name="T4" fmla="*/ 40 w 40"/>
                <a:gd name="T5" fmla="*/ 19 h 41"/>
                <a:gd name="T6" fmla="*/ 17 w 40"/>
                <a:gd name="T7" fmla="*/ 2 h 41"/>
                <a:gd name="T8" fmla="*/ 0 w 40"/>
                <a:gd name="T9" fmla="*/ 2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41">
                  <a:moveTo>
                    <a:pt x="0" y="24"/>
                  </a:moveTo>
                  <a:cubicBezTo>
                    <a:pt x="23" y="41"/>
                    <a:pt x="23" y="41"/>
                    <a:pt x="23" y="41"/>
                  </a:cubicBezTo>
                  <a:cubicBezTo>
                    <a:pt x="23" y="41"/>
                    <a:pt x="40" y="26"/>
                    <a:pt x="40" y="19"/>
                  </a:cubicBezTo>
                  <a:cubicBezTo>
                    <a:pt x="39" y="12"/>
                    <a:pt x="24" y="0"/>
                    <a:pt x="17" y="2"/>
                  </a:cubicBezTo>
                  <a:cubicBezTo>
                    <a:pt x="10" y="3"/>
                    <a:pt x="0" y="24"/>
                    <a:pt x="0" y="24"/>
                  </a:cubicBezTo>
                  <a:close/>
                </a:path>
              </a:pathLst>
            </a:custGeom>
            <a:solidFill>
              <a:srgbClr val="DA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6" name="íṧḻidé"/>
            <p:cNvSpPr/>
            <p:nvPr/>
          </p:nvSpPr>
          <p:spPr bwMode="auto">
            <a:xfrm>
              <a:off x="6308725" y="3305176"/>
              <a:ext cx="585788" cy="603250"/>
            </a:xfrm>
            <a:custGeom>
              <a:avLst/>
              <a:gdLst>
                <a:gd name="T0" fmla="*/ 40 w 40"/>
                <a:gd name="T1" fmla="*/ 17 h 41"/>
                <a:gd name="T2" fmla="*/ 18 w 40"/>
                <a:gd name="T3" fmla="*/ 0 h 41"/>
                <a:gd name="T4" fmla="*/ 1 w 40"/>
                <a:gd name="T5" fmla="*/ 22 h 41"/>
                <a:gd name="T6" fmla="*/ 23 w 40"/>
                <a:gd name="T7" fmla="*/ 39 h 41"/>
                <a:gd name="T8" fmla="*/ 40 w 40"/>
                <a:gd name="T9" fmla="*/ 17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41">
                  <a:moveTo>
                    <a:pt x="40" y="17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0" y="15"/>
                    <a:pt x="1" y="22"/>
                  </a:cubicBezTo>
                  <a:cubicBezTo>
                    <a:pt x="2" y="29"/>
                    <a:pt x="17" y="41"/>
                    <a:pt x="23" y="39"/>
                  </a:cubicBezTo>
                  <a:cubicBezTo>
                    <a:pt x="30" y="38"/>
                    <a:pt x="40" y="17"/>
                    <a:pt x="40" y="17"/>
                  </a:cubicBezTo>
                  <a:close/>
                </a:path>
              </a:pathLst>
            </a:custGeom>
            <a:solidFill>
              <a:srgbClr val="DA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8" name="íşľiďê"/>
            <p:cNvSpPr/>
            <p:nvPr/>
          </p:nvSpPr>
          <p:spPr bwMode="auto">
            <a:xfrm>
              <a:off x="7702550" y="2981326"/>
              <a:ext cx="571500" cy="558800"/>
            </a:xfrm>
            <a:custGeom>
              <a:avLst/>
              <a:gdLst>
                <a:gd name="T0" fmla="*/ 0 w 39"/>
                <a:gd name="T1" fmla="*/ 26 h 38"/>
                <a:gd name="T2" fmla="*/ 11 w 39"/>
                <a:gd name="T3" fmla="*/ 0 h 38"/>
                <a:gd name="T4" fmla="*/ 37 w 39"/>
                <a:gd name="T5" fmla="*/ 10 h 38"/>
                <a:gd name="T6" fmla="*/ 26 w 39"/>
                <a:gd name="T7" fmla="*/ 37 h 38"/>
                <a:gd name="T8" fmla="*/ 0 w 39"/>
                <a:gd name="T9" fmla="*/ 26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38">
                  <a:moveTo>
                    <a:pt x="0" y="26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34" y="4"/>
                    <a:pt x="37" y="10"/>
                  </a:cubicBezTo>
                  <a:cubicBezTo>
                    <a:pt x="39" y="17"/>
                    <a:pt x="32" y="35"/>
                    <a:pt x="26" y="37"/>
                  </a:cubicBezTo>
                  <a:cubicBezTo>
                    <a:pt x="19" y="38"/>
                    <a:pt x="0" y="26"/>
                    <a:pt x="0" y="26"/>
                  </a:cubicBezTo>
                  <a:close/>
                </a:path>
              </a:pathLst>
            </a:custGeom>
            <a:solidFill>
              <a:srgbClr val="DA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9" name="ïşļîḑé"/>
            <p:cNvSpPr/>
            <p:nvPr/>
          </p:nvSpPr>
          <p:spPr bwMode="auto">
            <a:xfrm>
              <a:off x="8259763" y="3348038"/>
              <a:ext cx="982663" cy="1001713"/>
            </a:xfrm>
            <a:custGeom>
              <a:avLst/>
              <a:gdLst>
                <a:gd name="T0" fmla="*/ 26 w 67"/>
                <a:gd name="T1" fmla="*/ 4 h 68"/>
                <a:gd name="T2" fmla="*/ 4 w 67"/>
                <a:gd name="T3" fmla="*/ 42 h 68"/>
                <a:gd name="T4" fmla="*/ 41 w 67"/>
                <a:gd name="T5" fmla="*/ 63 h 68"/>
                <a:gd name="T6" fmla="*/ 63 w 67"/>
                <a:gd name="T7" fmla="*/ 26 h 68"/>
                <a:gd name="T8" fmla="*/ 26 w 67"/>
                <a:gd name="T9" fmla="*/ 4 h 68"/>
                <a:gd name="T10" fmla="*/ 38 w 67"/>
                <a:gd name="T11" fmla="*/ 49 h 68"/>
                <a:gd name="T12" fmla="*/ 18 w 67"/>
                <a:gd name="T13" fmla="*/ 38 h 68"/>
                <a:gd name="T14" fmla="*/ 29 w 67"/>
                <a:gd name="T15" fmla="*/ 18 h 68"/>
                <a:gd name="T16" fmla="*/ 49 w 67"/>
                <a:gd name="T17" fmla="*/ 30 h 68"/>
                <a:gd name="T18" fmla="*/ 38 w 67"/>
                <a:gd name="T19" fmla="*/ 49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7" h="68">
                  <a:moveTo>
                    <a:pt x="26" y="4"/>
                  </a:moveTo>
                  <a:cubicBezTo>
                    <a:pt x="9" y="9"/>
                    <a:pt x="0" y="25"/>
                    <a:pt x="4" y="42"/>
                  </a:cubicBezTo>
                  <a:cubicBezTo>
                    <a:pt x="8" y="58"/>
                    <a:pt x="25" y="68"/>
                    <a:pt x="41" y="63"/>
                  </a:cubicBezTo>
                  <a:cubicBezTo>
                    <a:pt x="58" y="59"/>
                    <a:pt x="67" y="42"/>
                    <a:pt x="63" y="26"/>
                  </a:cubicBezTo>
                  <a:cubicBezTo>
                    <a:pt x="59" y="10"/>
                    <a:pt x="42" y="0"/>
                    <a:pt x="26" y="4"/>
                  </a:cubicBezTo>
                  <a:close/>
                  <a:moveTo>
                    <a:pt x="38" y="49"/>
                  </a:moveTo>
                  <a:cubicBezTo>
                    <a:pt x="29" y="52"/>
                    <a:pt x="20" y="47"/>
                    <a:pt x="18" y="38"/>
                  </a:cubicBezTo>
                  <a:cubicBezTo>
                    <a:pt x="16" y="29"/>
                    <a:pt x="21" y="21"/>
                    <a:pt x="29" y="18"/>
                  </a:cubicBezTo>
                  <a:cubicBezTo>
                    <a:pt x="38" y="16"/>
                    <a:pt x="47" y="21"/>
                    <a:pt x="49" y="30"/>
                  </a:cubicBezTo>
                  <a:cubicBezTo>
                    <a:pt x="51" y="38"/>
                    <a:pt x="46" y="47"/>
                    <a:pt x="38" y="49"/>
                  </a:cubicBezTo>
                  <a:close/>
                </a:path>
              </a:pathLst>
            </a:custGeom>
            <a:solidFill>
              <a:srgbClr val="C8E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0" name="iṡ1ïḍè"/>
            <p:cNvSpPr/>
            <p:nvPr/>
          </p:nvSpPr>
          <p:spPr bwMode="auto">
            <a:xfrm>
              <a:off x="8494713" y="3275013"/>
              <a:ext cx="263525" cy="265113"/>
            </a:xfrm>
            <a:custGeom>
              <a:avLst/>
              <a:gdLst>
                <a:gd name="T0" fmla="*/ 18 w 18"/>
                <a:gd name="T1" fmla="*/ 15 h 18"/>
                <a:gd name="T2" fmla="*/ 5 w 18"/>
                <a:gd name="T3" fmla="*/ 18 h 18"/>
                <a:gd name="T4" fmla="*/ 2 w 18"/>
                <a:gd name="T5" fmla="*/ 5 h 18"/>
                <a:gd name="T6" fmla="*/ 15 w 18"/>
                <a:gd name="T7" fmla="*/ 2 h 18"/>
                <a:gd name="T8" fmla="*/ 18 w 18"/>
                <a:gd name="T9" fmla="*/ 15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8">
                  <a:moveTo>
                    <a:pt x="18" y="15"/>
                  </a:moveTo>
                  <a:cubicBezTo>
                    <a:pt x="5" y="18"/>
                    <a:pt x="5" y="18"/>
                    <a:pt x="5" y="18"/>
                  </a:cubicBezTo>
                  <a:cubicBezTo>
                    <a:pt x="5" y="18"/>
                    <a:pt x="0" y="8"/>
                    <a:pt x="2" y="5"/>
                  </a:cubicBezTo>
                  <a:cubicBezTo>
                    <a:pt x="3" y="2"/>
                    <a:pt x="12" y="0"/>
                    <a:pt x="15" y="2"/>
                  </a:cubicBezTo>
                  <a:cubicBezTo>
                    <a:pt x="18" y="4"/>
                    <a:pt x="18" y="15"/>
                    <a:pt x="18" y="15"/>
                  </a:cubicBezTo>
                  <a:close/>
                </a:path>
              </a:pathLst>
            </a:custGeom>
            <a:solidFill>
              <a:srgbClr val="C8E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1" name="íSļíďè"/>
            <p:cNvSpPr/>
            <p:nvPr/>
          </p:nvSpPr>
          <p:spPr bwMode="auto">
            <a:xfrm>
              <a:off x="8729663" y="4157663"/>
              <a:ext cx="263525" cy="280988"/>
            </a:xfrm>
            <a:custGeom>
              <a:avLst/>
              <a:gdLst>
                <a:gd name="T0" fmla="*/ 13 w 18"/>
                <a:gd name="T1" fmla="*/ 0 h 19"/>
                <a:gd name="T2" fmla="*/ 0 w 18"/>
                <a:gd name="T3" fmla="*/ 4 h 19"/>
                <a:gd name="T4" fmla="*/ 3 w 18"/>
                <a:gd name="T5" fmla="*/ 17 h 19"/>
                <a:gd name="T6" fmla="*/ 17 w 18"/>
                <a:gd name="T7" fmla="*/ 13 h 19"/>
                <a:gd name="T8" fmla="*/ 13 w 18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9">
                  <a:moveTo>
                    <a:pt x="13" y="0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15"/>
                    <a:pt x="3" y="17"/>
                  </a:cubicBezTo>
                  <a:cubicBezTo>
                    <a:pt x="6" y="19"/>
                    <a:pt x="15" y="16"/>
                    <a:pt x="17" y="13"/>
                  </a:cubicBezTo>
                  <a:cubicBezTo>
                    <a:pt x="18" y="10"/>
                    <a:pt x="13" y="0"/>
                    <a:pt x="13" y="0"/>
                  </a:cubicBezTo>
                  <a:close/>
                </a:path>
              </a:pathLst>
            </a:custGeom>
            <a:solidFill>
              <a:srgbClr val="C8E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2" name="işḷïḍe"/>
            <p:cNvSpPr/>
            <p:nvPr/>
          </p:nvSpPr>
          <p:spPr bwMode="auto">
            <a:xfrm>
              <a:off x="8215313" y="3495676"/>
              <a:ext cx="279400" cy="279400"/>
            </a:xfrm>
            <a:custGeom>
              <a:avLst/>
              <a:gdLst>
                <a:gd name="T0" fmla="*/ 19 w 19"/>
                <a:gd name="T1" fmla="*/ 6 h 19"/>
                <a:gd name="T2" fmla="*/ 13 w 19"/>
                <a:gd name="T3" fmla="*/ 19 h 19"/>
                <a:gd name="T4" fmla="*/ 1 w 19"/>
                <a:gd name="T5" fmla="*/ 14 h 19"/>
                <a:gd name="T6" fmla="*/ 7 w 19"/>
                <a:gd name="T7" fmla="*/ 1 h 19"/>
                <a:gd name="T8" fmla="*/ 19 w 19"/>
                <a:gd name="T9" fmla="*/ 6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9">
                  <a:moveTo>
                    <a:pt x="19" y="6"/>
                  </a:moveTo>
                  <a:cubicBezTo>
                    <a:pt x="13" y="19"/>
                    <a:pt x="13" y="19"/>
                    <a:pt x="13" y="19"/>
                  </a:cubicBezTo>
                  <a:cubicBezTo>
                    <a:pt x="13" y="19"/>
                    <a:pt x="2" y="17"/>
                    <a:pt x="1" y="14"/>
                  </a:cubicBezTo>
                  <a:cubicBezTo>
                    <a:pt x="0" y="11"/>
                    <a:pt x="3" y="2"/>
                    <a:pt x="7" y="1"/>
                  </a:cubicBezTo>
                  <a:cubicBezTo>
                    <a:pt x="10" y="0"/>
                    <a:pt x="19" y="6"/>
                    <a:pt x="19" y="6"/>
                  </a:cubicBezTo>
                  <a:close/>
                </a:path>
              </a:pathLst>
            </a:custGeom>
            <a:solidFill>
              <a:srgbClr val="C8E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3" name="íṧḻíḍê"/>
            <p:cNvSpPr/>
            <p:nvPr/>
          </p:nvSpPr>
          <p:spPr bwMode="auto">
            <a:xfrm>
              <a:off x="8170863" y="3849688"/>
              <a:ext cx="250825" cy="265113"/>
            </a:xfrm>
            <a:custGeom>
              <a:avLst/>
              <a:gdLst>
                <a:gd name="T0" fmla="*/ 16 w 17"/>
                <a:gd name="T1" fmla="*/ 1 h 18"/>
                <a:gd name="T2" fmla="*/ 17 w 17"/>
                <a:gd name="T3" fmla="*/ 15 h 18"/>
                <a:gd name="T4" fmla="*/ 4 w 17"/>
                <a:gd name="T5" fmla="*/ 16 h 18"/>
                <a:gd name="T6" fmla="*/ 3 w 17"/>
                <a:gd name="T7" fmla="*/ 2 h 18"/>
                <a:gd name="T8" fmla="*/ 16 w 17"/>
                <a:gd name="T9" fmla="*/ 1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8">
                  <a:moveTo>
                    <a:pt x="16" y="1"/>
                  </a:move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7" y="18"/>
                    <a:pt x="4" y="16"/>
                  </a:cubicBezTo>
                  <a:cubicBezTo>
                    <a:pt x="1" y="14"/>
                    <a:pt x="0" y="5"/>
                    <a:pt x="3" y="2"/>
                  </a:cubicBezTo>
                  <a:cubicBezTo>
                    <a:pt x="5" y="0"/>
                    <a:pt x="16" y="1"/>
                    <a:pt x="16" y="1"/>
                  </a:cubicBezTo>
                  <a:close/>
                </a:path>
              </a:pathLst>
            </a:custGeom>
            <a:solidFill>
              <a:srgbClr val="C8E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4" name="ísļîďè"/>
            <p:cNvSpPr/>
            <p:nvPr/>
          </p:nvSpPr>
          <p:spPr bwMode="auto">
            <a:xfrm>
              <a:off x="9066213" y="3598863"/>
              <a:ext cx="265113" cy="265113"/>
            </a:xfrm>
            <a:custGeom>
              <a:avLst/>
              <a:gdLst>
                <a:gd name="T0" fmla="*/ 3 w 18"/>
                <a:gd name="T1" fmla="*/ 18 h 18"/>
                <a:gd name="T2" fmla="*/ 0 w 18"/>
                <a:gd name="T3" fmla="*/ 5 h 18"/>
                <a:gd name="T4" fmla="*/ 13 w 18"/>
                <a:gd name="T5" fmla="*/ 2 h 18"/>
                <a:gd name="T6" fmla="*/ 16 w 18"/>
                <a:gd name="T7" fmla="*/ 16 h 18"/>
                <a:gd name="T8" fmla="*/ 3 w 18"/>
                <a:gd name="T9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8">
                  <a:moveTo>
                    <a:pt x="3" y="18"/>
                  </a:move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10" y="0"/>
                    <a:pt x="13" y="2"/>
                  </a:cubicBezTo>
                  <a:cubicBezTo>
                    <a:pt x="16" y="4"/>
                    <a:pt x="18" y="13"/>
                    <a:pt x="16" y="16"/>
                  </a:cubicBezTo>
                  <a:cubicBezTo>
                    <a:pt x="14" y="18"/>
                    <a:pt x="3" y="18"/>
                    <a:pt x="3" y="18"/>
                  </a:cubicBezTo>
                  <a:close/>
                </a:path>
              </a:pathLst>
            </a:custGeom>
            <a:solidFill>
              <a:srgbClr val="C8E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5" name="îsļîḍè"/>
            <p:cNvSpPr/>
            <p:nvPr/>
          </p:nvSpPr>
          <p:spPr bwMode="auto">
            <a:xfrm>
              <a:off x="8847138" y="3319463"/>
              <a:ext cx="277813" cy="293688"/>
            </a:xfrm>
            <a:custGeom>
              <a:avLst/>
              <a:gdLst>
                <a:gd name="T0" fmla="*/ 0 w 19"/>
                <a:gd name="T1" fmla="*/ 11 h 20"/>
                <a:gd name="T2" fmla="*/ 11 w 19"/>
                <a:gd name="T3" fmla="*/ 20 h 20"/>
                <a:gd name="T4" fmla="*/ 19 w 19"/>
                <a:gd name="T5" fmla="*/ 9 h 20"/>
                <a:gd name="T6" fmla="*/ 8 w 19"/>
                <a:gd name="T7" fmla="*/ 1 h 20"/>
                <a:gd name="T8" fmla="*/ 0 w 19"/>
                <a:gd name="T9" fmla="*/ 11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20">
                  <a:moveTo>
                    <a:pt x="0" y="11"/>
                  </a:move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9" y="13"/>
                    <a:pt x="19" y="9"/>
                  </a:cubicBezTo>
                  <a:cubicBezTo>
                    <a:pt x="18" y="6"/>
                    <a:pt x="11" y="0"/>
                    <a:pt x="8" y="1"/>
                  </a:cubicBezTo>
                  <a:cubicBezTo>
                    <a:pt x="5" y="2"/>
                    <a:pt x="0" y="11"/>
                    <a:pt x="0" y="11"/>
                  </a:cubicBezTo>
                  <a:close/>
                </a:path>
              </a:pathLst>
            </a:custGeom>
            <a:solidFill>
              <a:srgbClr val="C8E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6" name="ïṩlîḑe"/>
            <p:cNvSpPr/>
            <p:nvPr/>
          </p:nvSpPr>
          <p:spPr bwMode="auto">
            <a:xfrm>
              <a:off x="8347075" y="4098926"/>
              <a:ext cx="279400" cy="295275"/>
            </a:xfrm>
            <a:custGeom>
              <a:avLst/>
              <a:gdLst>
                <a:gd name="T0" fmla="*/ 19 w 19"/>
                <a:gd name="T1" fmla="*/ 9 h 20"/>
                <a:gd name="T2" fmla="*/ 8 w 19"/>
                <a:gd name="T3" fmla="*/ 0 h 20"/>
                <a:gd name="T4" fmla="*/ 0 w 19"/>
                <a:gd name="T5" fmla="*/ 11 h 20"/>
                <a:gd name="T6" fmla="*/ 11 w 19"/>
                <a:gd name="T7" fmla="*/ 19 h 20"/>
                <a:gd name="T8" fmla="*/ 19 w 19"/>
                <a:gd name="T9" fmla="*/ 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20">
                  <a:moveTo>
                    <a:pt x="19" y="9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0" y="8"/>
                    <a:pt x="0" y="11"/>
                  </a:cubicBezTo>
                  <a:cubicBezTo>
                    <a:pt x="1" y="14"/>
                    <a:pt x="8" y="20"/>
                    <a:pt x="11" y="19"/>
                  </a:cubicBezTo>
                  <a:cubicBezTo>
                    <a:pt x="14" y="18"/>
                    <a:pt x="19" y="9"/>
                    <a:pt x="19" y="9"/>
                  </a:cubicBezTo>
                  <a:close/>
                </a:path>
              </a:pathLst>
            </a:custGeom>
            <a:solidFill>
              <a:srgbClr val="C8E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7" name="ïş1iďê"/>
            <p:cNvSpPr/>
            <p:nvPr/>
          </p:nvSpPr>
          <p:spPr bwMode="auto">
            <a:xfrm>
              <a:off x="9021763" y="3937001"/>
              <a:ext cx="279400" cy="279400"/>
            </a:xfrm>
            <a:custGeom>
              <a:avLst/>
              <a:gdLst>
                <a:gd name="T0" fmla="*/ 0 w 19"/>
                <a:gd name="T1" fmla="*/ 13 h 19"/>
                <a:gd name="T2" fmla="*/ 5 w 19"/>
                <a:gd name="T3" fmla="*/ 0 h 19"/>
                <a:gd name="T4" fmla="*/ 17 w 19"/>
                <a:gd name="T5" fmla="*/ 6 h 19"/>
                <a:gd name="T6" fmla="*/ 12 w 19"/>
                <a:gd name="T7" fmla="*/ 18 h 19"/>
                <a:gd name="T8" fmla="*/ 0 w 19"/>
                <a:gd name="T9" fmla="*/ 13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9">
                  <a:moveTo>
                    <a:pt x="0" y="13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16" y="3"/>
                    <a:pt x="17" y="6"/>
                  </a:cubicBezTo>
                  <a:cubicBezTo>
                    <a:pt x="19" y="9"/>
                    <a:pt x="15" y="17"/>
                    <a:pt x="12" y="18"/>
                  </a:cubicBezTo>
                  <a:cubicBezTo>
                    <a:pt x="9" y="19"/>
                    <a:pt x="0" y="13"/>
                    <a:pt x="0" y="13"/>
                  </a:cubicBezTo>
                  <a:close/>
                </a:path>
              </a:pathLst>
            </a:custGeom>
            <a:solidFill>
              <a:srgbClr val="C8E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8" name="iSļîdê"/>
            <p:cNvSpPr/>
            <p:nvPr/>
          </p:nvSpPr>
          <p:spPr bwMode="auto">
            <a:xfrm>
              <a:off x="3887788" y="1303338"/>
              <a:ext cx="982663" cy="1000125"/>
            </a:xfrm>
            <a:custGeom>
              <a:avLst/>
              <a:gdLst>
                <a:gd name="T0" fmla="*/ 26 w 67"/>
                <a:gd name="T1" fmla="*/ 4 h 68"/>
                <a:gd name="T2" fmla="*/ 4 w 67"/>
                <a:gd name="T3" fmla="*/ 42 h 68"/>
                <a:gd name="T4" fmla="*/ 41 w 67"/>
                <a:gd name="T5" fmla="*/ 63 h 68"/>
                <a:gd name="T6" fmla="*/ 63 w 67"/>
                <a:gd name="T7" fmla="*/ 26 h 68"/>
                <a:gd name="T8" fmla="*/ 26 w 67"/>
                <a:gd name="T9" fmla="*/ 4 h 68"/>
                <a:gd name="T10" fmla="*/ 38 w 67"/>
                <a:gd name="T11" fmla="*/ 49 h 68"/>
                <a:gd name="T12" fmla="*/ 18 w 67"/>
                <a:gd name="T13" fmla="*/ 38 h 68"/>
                <a:gd name="T14" fmla="*/ 29 w 67"/>
                <a:gd name="T15" fmla="*/ 18 h 68"/>
                <a:gd name="T16" fmla="*/ 49 w 67"/>
                <a:gd name="T17" fmla="*/ 30 h 68"/>
                <a:gd name="T18" fmla="*/ 38 w 67"/>
                <a:gd name="T19" fmla="*/ 49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7" h="68">
                  <a:moveTo>
                    <a:pt x="26" y="4"/>
                  </a:moveTo>
                  <a:cubicBezTo>
                    <a:pt x="9" y="9"/>
                    <a:pt x="0" y="25"/>
                    <a:pt x="4" y="42"/>
                  </a:cubicBezTo>
                  <a:cubicBezTo>
                    <a:pt x="8" y="58"/>
                    <a:pt x="25" y="68"/>
                    <a:pt x="41" y="63"/>
                  </a:cubicBezTo>
                  <a:cubicBezTo>
                    <a:pt x="58" y="59"/>
                    <a:pt x="67" y="42"/>
                    <a:pt x="63" y="26"/>
                  </a:cubicBezTo>
                  <a:cubicBezTo>
                    <a:pt x="59" y="10"/>
                    <a:pt x="42" y="0"/>
                    <a:pt x="26" y="4"/>
                  </a:cubicBezTo>
                  <a:close/>
                  <a:moveTo>
                    <a:pt x="38" y="49"/>
                  </a:moveTo>
                  <a:cubicBezTo>
                    <a:pt x="29" y="52"/>
                    <a:pt x="20" y="47"/>
                    <a:pt x="18" y="38"/>
                  </a:cubicBezTo>
                  <a:cubicBezTo>
                    <a:pt x="16" y="29"/>
                    <a:pt x="21" y="21"/>
                    <a:pt x="29" y="18"/>
                  </a:cubicBezTo>
                  <a:cubicBezTo>
                    <a:pt x="38" y="16"/>
                    <a:pt x="47" y="21"/>
                    <a:pt x="49" y="30"/>
                  </a:cubicBezTo>
                  <a:cubicBezTo>
                    <a:pt x="51" y="38"/>
                    <a:pt x="46" y="47"/>
                    <a:pt x="38" y="49"/>
                  </a:cubicBezTo>
                  <a:close/>
                </a:path>
              </a:pathLst>
            </a:custGeom>
            <a:solidFill>
              <a:srgbClr val="C8E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9" name="ïṣḻiḑè"/>
            <p:cNvSpPr/>
            <p:nvPr/>
          </p:nvSpPr>
          <p:spPr bwMode="auto">
            <a:xfrm>
              <a:off x="4122738" y="1228726"/>
              <a:ext cx="263525" cy="265113"/>
            </a:xfrm>
            <a:custGeom>
              <a:avLst/>
              <a:gdLst>
                <a:gd name="T0" fmla="*/ 18 w 18"/>
                <a:gd name="T1" fmla="*/ 14 h 18"/>
                <a:gd name="T2" fmla="*/ 5 w 18"/>
                <a:gd name="T3" fmla="*/ 18 h 18"/>
                <a:gd name="T4" fmla="*/ 2 w 18"/>
                <a:gd name="T5" fmla="*/ 5 h 18"/>
                <a:gd name="T6" fmla="*/ 15 w 18"/>
                <a:gd name="T7" fmla="*/ 2 h 18"/>
                <a:gd name="T8" fmla="*/ 18 w 18"/>
                <a:gd name="T9" fmla="*/ 14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8">
                  <a:moveTo>
                    <a:pt x="18" y="14"/>
                  </a:moveTo>
                  <a:cubicBezTo>
                    <a:pt x="5" y="18"/>
                    <a:pt x="5" y="18"/>
                    <a:pt x="5" y="18"/>
                  </a:cubicBezTo>
                  <a:cubicBezTo>
                    <a:pt x="5" y="18"/>
                    <a:pt x="0" y="8"/>
                    <a:pt x="2" y="5"/>
                  </a:cubicBezTo>
                  <a:cubicBezTo>
                    <a:pt x="3" y="2"/>
                    <a:pt x="12" y="0"/>
                    <a:pt x="15" y="2"/>
                  </a:cubicBezTo>
                  <a:cubicBezTo>
                    <a:pt x="18" y="4"/>
                    <a:pt x="18" y="14"/>
                    <a:pt x="18" y="14"/>
                  </a:cubicBezTo>
                  <a:close/>
                </a:path>
              </a:pathLst>
            </a:custGeom>
            <a:solidFill>
              <a:srgbClr val="C8E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0" name="îŝ1iḓê"/>
            <p:cNvSpPr/>
            <p:nvPr/>
          </p:nvSpPr>
          <p:spPr bwMode="auto">
            <a:xfrm>
              <a:off x="4356100" y="2112963"/>
              <a:ext cx="265113" cy="263525"/>
            </a:xfrm>
            <a:custGeom>
              <a:avLst/>
              <a:gdLst>
                <a:gd name="T0" fmla="*/ 13 w 18"/>
                <a:gd name="T1" fmla="*/ 0 h 18"/>
                <a:gd name="T2" fmla="*/ 0 w 18"/>
                <a:gd name="T3" fmla="*/ 4 h 18"/>
                <a:gd name="T4" fmla="*/ 3 w 18"/>
                <a:gd name="T5" fmla="*/ 17 h 18"/>
                <a:gd name="T6" fmla="*/ 17 w 18"/>
                <a:gd name="T7" fmla="*/ 13 h 18"/>
                <a:gd name="T8" fmla="*/ 13 w 18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8">
                  <a:moveTo>
                    <a:pt x="13" y="0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15"/>
                    <a:pt x="3" y="17"/>
                  </a:cubicBezTo>
                  <a:cubicBezTo>
                    <a:pt x="6" y="18"/>
                    <a:pt x="15" y="16"/>
                    <a:pt x="17" y="13"/>
                  </a:cubicBezTo>
                  <a:cubicBezTo>
                    <a:pt x="18" y="10"/>
                    <a:pt x="13" y="0"/>
                    <a:pt x="13" y="0"/>
                  </a:cubicBezTo>
                  <a:close/>
                </a:path>
              </a:pathLst>
            </a:custGeom>
            <a:solidFill>
              <a:srgbClr val="C8E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1" name="ïṩļíďê"/>
            <p:cNvSpPr/>
            <p:nvPr/>
          </p:nvSpPr>
          <p:spPr bwMode="auto">
            <a:xfrm>
              <a:off x="3843338" y="1449388"/>
              <a:ext cx="279400" cy="280988"/>
            </a:xfrm>
            <a:custGeom>
              <a:avLst/>
              <a:gdLst>
                <a:gd name="T0" fmla="*/ 19 w 19"/>
                <a:gd name="T1" fmla="*/ 6 h 19"/>
                <a:gd name="T2" fmla="*/ 13 w 19"/>
                <a:gd name="T3" fmla="*/ 19 h 19"/>
                <a:gd name="T4" fmla="*/ 1 w 19"/>
                <a:gd name="T5" fmla="*/ 14 h 19"/>
                <a:gd name="T6" fmla="*/ 7 w 19"/>
                <a:gd name="T7" fmla="*/ 1 h 19"/>
                <a:gd name="T8" fmla="*/ 19 w 19"/>
                <a:gd name="T9" fmla="*/ 6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9">
                  <a:moveTo>
                    <a:pt x="19" y="6"/>
                  </a:moveTo>
                  <a:cubicBezTo>
                    <a:pt x="13" y="19"/>
                    <a:pt x="13" y="19"/>
                    <a:pt x="13" y="19"/>
                  </a:cubicBezTo>
                  <a:cubicBezTo>
                    <a:pt x="13" y="19"/>
                    <a:pt x="2" y="17"/>
                    <a:pt x="1" y="14"/>
                  </a:cubicBezTo>
                  <a:cubicBezTo>
                    <a:pt x="0" y="10"/>
                    <a:pt x="3" y="2"/>
                    <a:pt x="7" y="1"/>
                  </a:cubicBezTo>
                  <a:cubicBezTo>
                    <a:pt x="10" y="0"/>
                    <a:pt x="19" y="6"/>
                    <a:pt x="19" y="6"/>
                  </a:cubicBezTo>
                  <a:close/>
                </a:path>
              </a:pathLst>
            </a:custGeom>
            <a:solidFill>
              <a:srgbClr val="C8E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2" name="îṧ1îḑè"/>
            <p:cNvSpPr/>
            <p:nvPr/>
          </p:nvSpPr>
          <p:spPr bwMode="auto">
            <a:xfrm>
              <a:off x="3798888" y="1803401"/>
              <a:ext cx="249238" cy="265113"/>
            </a:xfrm>
            <a:custGeom>
              <a:avLst/>
              <a:gdLst>
                <a:gd name="T0" fmla="*/ 16 w 17"/>
                <a:gd name="T1" fmla="*/ 1 h 18"/>
                <a:gd name="T2" fmla="*/ 17 w 17"/>
                <a:gd name="T3" fmla="*/ 15 h 18"/>
                <a:gd name="T4" fmla="*/ 4 w 17"/>
                <a:gd name="T5" fmla="*/ 16 h 18"/>
                <a:gd name="T6" fmla="*/ 3 w 17"/>
                <a:gd name="T7" fmla="*/ 2 h 18"/>
                <a:gd name="T8" fmla="*/ 16 w 17"/>
                <a:gd name="T9" fmla="*/ 1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8">
                  <a:moveTo>
                    <a:pt x="16" y="1"/>
                  </a:move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7" y="18"/>
                    <a:pt x="4" y="16"/>
                  </a:cubicBezTo>
                  <a:cubicBezTo>
                    <a:pt x="1" y="14"/>
                    <a:pt x="0" y="5"/>
                    <a:pt x="3" y="2"/>
                  </a:cubicBezTo>
                  <a:cubicBezTo>
                    <a:pt x="5" y="0"/>
                    <a:pt x="16" y="1"/>
                    <a:pt x="16" y="1"/>
                  </a:cubicBezTo>
                  <a:close/>
                </a:path>
              </a:pathLst>
            </a:custGeom>
            <a:solidFill>
              <a:srgbClr val="C8E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3" name="ï$lîḑê"/>
            <p:cNvSpPr/>
            <p:nvPr/>
          </p:nvSpPr>
          <p:spPr bwMode="auto">
            <a:xfrm>
              <a:off x="4694238" y="1552576"/>
              <a:ext cx="263525" cy="265113"/>
            </a:xfrm>
            <a:custGeom>
              <a:avLst/>
              <a:gdLst>
                <a:gd name="T0" fmla="*/ 3 w 18"/>
                <a:gd name="T1" fmla="*/ 18 h 18"/>
                <a:gd name="T2" fmla="*/ 0 w 18"/>
                <a:gd name="T3" fmla="*/ 5 h 18"/>
                <a:gd name="T4" fmla="*/ 13 w 18"/>
                <a:gd name="T5" fmla="*/ 2 h 18"/>
                <a:gd name="T6" fmla="*/ 16 w 18"/>
                <a:gd name="T7" fmla="*/ 16 h 18"/>
                <a:gd name="T8" fmla="*/ 3 w 18"/>
                <a:gd name="T9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8">
                  <a:moveTo>
                    <a:pt x="3" y="18"/>
                  </a:move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10" y="0"/>
                    <a:pt x="13" y="2"/>
                  </a:cubicBezTo>
                  <a:cubicBezTo>
                    <a:pt x="16" y="4"/>
                    <a:pt x="18" y="13"/>
                    <a:pt x="16" y="16"/>
                  </a:cubicBezTo>
                  <a:cubicBezTo>
                    <a:pt x="14" y="18"/>
                    <a:pt x="3" y="18"/>
                    <a:pt x="3" y="18"/>
                  </a:cubicBezTo>
                  <a:close/>
                </a:path>
              </a:pathLst>
            </a:custGeom>
            <a:solidFill>
              <a:srgbClr val="C8E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4" name="ïS1îďé"/>
            <p:cNvSpPr/>
            <p:nvPr/>
          </p:nvSpPr>
          <p:spPr bwMode="auto">
            <a:xfrm>
              <a:off x="4473575" y="1273176"/>
              <a:ext cx="279400" cy="295275"/>
            </a:xfrm>
            <a:custGeom>
              <a:avLst/>
              <a:gdLst>
                <a:gd name="T0" fmla="*/ 0 w 19"/>
                <a:gd name="T1" fmla="*/ 11 h 20"/>
                <a:gd name="T2" fmla="*/ 11 w 19"/>
                <a:gd name="T3" fmla="*/ 20 h 20"/>
                <a:gd name="T4" fmla="*/ 19 w 19"/>
                <a:gd name="T5" fmla="*/ 9 h 20"/>
                <a:gd name="T6" fmla="*/ 8 w 19"/>
                <a:gd name="T7" fmla="*/ 1 h 20"/>
                <a:gd name="T8" fmla="*/ 0 w 19"/>
                <a:gd name="T9" fmla="*/ 11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20">
                  <a:moveTo>
                    <a:pt x="0" y="11"/>
                  </a:move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9" y="13"/>
                    <a:pt x="19" y="9"/>
                  </a:cubicBezTo>
                  <a:cubicBezTo>
                    <a:pt x="18" y="6"/>
                    <a:pt x="11" y="0"/>
                    <a:pt x="8" y="1"/>
                  </a:cubicBezTo>
                  <a:cubicBezTo>
                    <a:pt x="5" y="2"/>
                    <a:pt x="0" y="11"/>
                    <a:pt x="0" y="11"/>
                  </a:cubicBezTo>
                  <a:close/>
                </a:path>
              </a:pathLst>
            </a:custGeom>
            <a:solidFill>
              <a:srgbClr val="C8E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5" name="íšḷïďê"/>
            <p:cNvSpPr/>
            <p:nvPr/>
          </p:nvSpPr>
          <p:spPr bwMode="auto">
            <a:xfrm>
              <a:off x="3975100" y="2052638"/>
              <a:ext cx="279400" cy="295275"/>
            </a:xfrm>
            <a:custGeom>
              <a:avLst/>
              <a:gdLst>
                <a:gd name="T0" fmla="*/ 19 w 19"/>
                <a:gd name="T1" fmla="*/ 9 h 20"/>
                <a:gd name="T2" fmla="*/ 8 w 19"/>
                <a:gd name="T3" fmla="*/ 0 h 20"/>
                <a:gd name="T4" fmla="*/ 0 w 19"/>
                <a:gd name="T5" fmla="*/ 11 h 20"/>
                <a:gd name="T6" fmla="*/ 11 w 19"/>
                <a:gd name="T7" fmla="*/ 19 h 20"/>
                <a:gd name="T8" fmla="*/ 19 w 19"/>
                <a:gd name="T9" fmla="*/ 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20">
                  <a:moveTo>
                    <a:pt x="19" y="9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0" y="8"/>
                    <a:pt x="0" y="11"/>
                  </a:cubicBezTo>
                  <a:cubicBezTo>
                    <a:pt x="1" y="14"/>
                    <a:pt x="8" y="20"/>
                    <a:pt x="11" y="19"/>
                  </a:cubicBezTo>
                  <a:cubicBezTo>
                    <a:pt x="14" y="18"/>
                    <a:pt x="19" y="9"/>
                    <a:pt x="19" y="9"/>
                  </a:cubicBezTo>
                  <a:close/>
                </a:path>
              </a:pathLst>
            </a:custGeom>
            <a:solidFill>
              <a:srgbClr val="C8E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6" name="iṣlíḍè"/>
            <p:cNvSpPr/>
            <p:nvPr/>
          </p:nvSpPr>
          <p:spPr bwMode="auto">
            <a:xfrm>
              <a:off x="4649788" y="1890713"/>
              <a:ext cx="279400" cy="280988"/>
            </a:xfrm>
            <a:custGeom>
              <a:avLst/>
              <a:gdLst>
                <a:gd name="T0" fmla="*/ 0 w 19"/>
                <a:gd name="T1" fmla="*/ 13 h 19"/>
                <a:gd name="T2" fmla="*/ 5 w 19"/>
                <a:gd name="T3" fmla="*/ 0 h 19"/>
                <a:gd name="T4" fmla="*/ 17 w 19"/>
                <a:gd name="T5" fmla="*/ 6 h 19"/>
                <a:gd name="T6" fmla="*/ 12 w 19"/>
                <a:gd name="T7" fmla="*/ 18 h 19"/>
                <a:gd name="T8" fmla="*/ 0 w 19"/>
                <a:gd name="T9" fmla="*/ 13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9">
                  <a:moveTo>
                    <a:pt x="0" y="13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16" y="3"/>
                    <a:pt x="17" y="6"/>
                  </a:cubicBezTo>
                  <a:cubicBezTo>
                    <a:pt x="19" y="9"/>
                    <a:pt x="15" y="17"/>
                    <a:pt x="12" y="18"/>
                  </a:cubicBezTo>
                  <a:cubicBezTo>
                    <a:pt x="9" y="19"/>
                    <a:pt x="0" y="13"/>
                    <a:pt x="0" y="13"/>
                  </a:cubicBezTo>
                  <a:close/>
                </a:path>
              </a:pathLst>
            </a:custGeom>
            <a:solidFill>
              <a:srgbClr val="C8E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7" name="iŝ1îďe"/>
            <p:cNvSpPr/>
            <p:nvPr/>
          </p:nvSpPr>
          <p:spPr bwMode="auto">
            <a:xfrm>
              <a:off x="3359150" y="2641601"/>
              <a:ext cx="4503738" cy="2620963"/>
            </a:xfrm>
            <a:custGeom>
              <a:avLst/>
              <a:gdLst>
                <a:gd name="T0" fmla="*/ 294 w 307"/>
                <a:gd name="T1" fmla="*/ 0 h 178"/>
                <a:gd name="T2" fmla="*/ 307 w 307"/>
                <a:gd name="T3" fmla="*/ 14 h 178"/>
                <a:gd name="T4" fmla="*/ 307 w 307"/>
                <a:gd name="T5" fmla="*/ 164 h 178"/>
                <a:gd name="T6" fmla="*/ 293 w 307"/>
                <a:gd name="T7" fmla="*/ 177 h 178"/>
                <a:gd name="T8" fmla="*/ 14 w 307"/>
                <a:gd name="T9" fmla="*/ 177 h 178"/>
                <a:gd name="T10" fmla="*/ 0 w 307"/>
                <a:gd name="T11" fmla="*/ 163 h 178"/>
                <a:gd name="T12" fmla="*/ 1 w 307"/>
                <a:gd name="T13" fmla="*/ 13 h 178"/>
                <a:gd name="T14" fmla="*/ 14 w 307"/>
                <a:gd name="T15" fmla="*/ 0 h 178"/>
                <a:gd name="T16" fmla="*/ 294 w 307"/>
                <a:gd name="T17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7" h="178">
                  <a:moveTo>
                    <a:pt x="294" y="0"/>
                  </a:moveTo>
                  <a:cubicBezTo>
                    <a:pt x="301" y="0"/>
                    <a:pt x="307" y="7"/>
                    <a:pt x="307" y="14"/>
                  </a:cubicBezTo>
                  <a:cubicBezTo>
                    <a:pt x="307" y="164"/>
                    <a:pt x="307" y="164"/>
                    <a:pt x="307" y="164"/>
                  </a:cubicBezTo>
                  <a:cubicBezTo>
                    <a:pt x="307" y="171"/>
                    <a:pt x="301" y="178"/>
                    <a:pt x="293" y="177"/>
                  </a:cubicBezTo>
                  <a:cubicBezTo>
                    <a:pt x="14" y="177"/>
                    <a:pt x="14" y="177"/>
                    <a:pt x="14" y="177"/>
                  </a:cubicBezTo>
                  <a:cubicBezTo>
                    <a:pt x="6" y="177"/>
                    <a:pt x="0" y="171"/>
                    <a:pt x="0" y="163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1" y="6"/>
                    <a:pt x="7" y="0"/>
                    <a:pt x="14" y="0"/>
                  </a:cubicBezTo>
                  <a:lnTo>
                    <a:pt x="294" y="0"/>
                  </a:lnTo>
                  <a:close/>
                </a:path>
              </a:pathLst>
            </a:custGeom>
            <a:solidFill>
              <a:srgbClr val="003A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8" name="îS1îdè"/>
            <p:cNvSpPr/>
            <p:nvPr/>
          </p:nvSpPr>
          <p:spPr bwMode="auto">
            <a:xfrm>
              <a:off x="3638550" y="2847976"/>
              <a:ext cx="3594100" cy="2208213"/>
            </a:xfrm>
            <a:custGeom>
              <a:avLst/>
              <a:gdLst>
                <a:gd name="T0" fmla="*/ 2264 w 2264"/>
                <a:gd name="T1" fmla="*/ 9 h 1391"/>
                <a:gd name="T2" fmla="*/ 2255 w 2264"/>
                <a:gd name="T3" fmla="*/ 1391 h 1391"/>
                <a:gd name="T4" fmla="*/ 0 w 2264"/>
                <a:gd name="T5" fmla="*/ 1382 h 1391"/>
                <a:gd name="T6" fmla="*/ 9 w 2264"/>
                <a:gd name="T7" fmla="*/ 0 h 1391"/>
                <a:gd name="T8" fmla="*/ 2264 w 2264"/>
                <a:gd name="T9" fmla="*/ 9 h 1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64" h="1391">
                  <a:moveTo>
                    <a:pt x="2264" y="9"/>
                  </a:moveTo>
                  <a:lnTo>
                    <a:pt x="2255" y="1391"/>
                  </a:lnTo>
                  <a:lnTo>
                    <a:pt x="0" y="1382"/>
                  </a:lnTo>
                  <a:lnTo>
                    <a:pt x="9" y="0"/>
                  </a:lnTo>
                  <a:lnTo>
                    <a:pt x="2264" y="9"/>
                  </a:lnTo>
                  <a:close/>
                </a:path>
              </a:pathLst>
            </a:custGeom>
            <a:solidFill>
              <a:srgbClr val="B9DD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9" name="iş1iḋé"/>
            <p:cNvSpPr/>
            <p:nvPr/>
          </p:nvSpPr>
          <p:spPr bwMode="auto">
            <a:xfrm>
              <a:off x="7350125" y="3760788"/>
              <a:ext cx="366713" cy="382588"/>
            </a:xfrm>
            <a:prstGeom prst="ellipse">
              <a:avLst/>
            </a:prstGeom>
            <a:solidFill>
              <a:srgbClr val="ECEB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0" name="îSļïďe"/>
            <p:cNvSpPr/>
            <p:nvPr/>
          </p:nvSpPr>
          <p:spPr bwMode="auto">
            <a:xfrm>
              <a:off x="2860675" y="3643313"/>
              <a:ext cx="2597150" cy="1177925"/>
            </a:xfrm>
            <a:prstGeom prst="rect">
              <a:avLst/>
            </a:prstGeom>
            <a:solidFill>
              <a:srgbClr val="EEF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1" name="iṧḻiḓê"/>
            <p:cNvSpPr/>
            <p:nvPr/>
          </p:nvSpPr>
          <p:spPr bwMode="auto">
            <a:xfrm>
              <a:off x="3036888" y="3952876"/>
              <a:ext cx="176213" cy="720725"/>
            </a:xfrm>
            <a:prstGeom prst="rect">
              <a:avLst/>
            </a:prstGeom>
            <a:solidFill>
              <a:srgbClr val="1F75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2" name="iṣḻïḍê"/>
            <p:cNvSpPr/>
            <p:nvPr/>
          </p:nvSpPr>
          <p:spPr bwMode="auto">
            <a:xfrm>
              <a:off x="3255963" y="4143376"/>
              <a:ext cx="206375" cy="530225"/>
            </a:xfrm>
            <a:prstGeom prst="rect">
              <a:avLst/>
            </a:prstGeom>
            <a:solidFill>
              <a:srgbClr val="003A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3" name="ïś1ïdê"/>
            <p:cNvSpPr/>
            <p:nvPr/>
          </p:nvSpPr>
          <p:spPr bwMode="auto">
            <a:xfrm>
              <a:off x="3521075" y="4054476"/>
              <a:ext cx="190500" cy="619125"/>
            </a:xfrm>
            <a:prstGeom prst="rect">
              <a:avLst/>
            </a:prstGeom>
            <a:solidFill>
              <a:srgbClr val="1F75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4" name="îšḷíďe"/>
            <p:cNvSpPr/>
            <p:nvPr/>
          </p:nvSpPr>
          <p:spPr bwMode="auto">
            <a:xfrm>
              <a:off x="3740150" y="4305301"/>
              <a:ext cx="206375" cy="368300"/>
            </a:xfrm>
            <a:prstGeom prst="rect">
              <a:avLst/>
            </a:prstGeom>
            <a:solidFill>
              <a:srgbClr val="003A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5" name="ïšlíḑè"/>
            <p:cNvSpPr/>
            <p:nvPr/>
          </p:nvSpPr>
          <p:spPr bwMode="auto">
            <a:xfrm>
              <a:off x="4283075" y="4187826"/>
              <a:ext cx="1041400" cy="485775"/>
            </a:xfrm>
            <a:custGeom>
              <a:avLst/>
              <a:gdLst>
                <a:gd name="T0" fmla="*/ 0 w 71"/>
                <a:gd name="T1" fmla="*/ 6 h 33"/>
                <a:gd name="T2" fmla="*/ 10 w 71"/>
                <a:gd name="T3" fmla="*/ 0 h 33"/>
                <a:gd name="T4" fmla="*/ 16 w 71"/>
                <a:gd name="T5" fmla="*/ 3 h 33"/>
                <a:gd name="T6" fmla="*/ 26 w 71"/>
                <a:gd name="T7" fmla="*/ 13 h 33"/>
                <a:gd name="T8" fmla="*/ 34 w 71"/>
                <a:gd name="T9" fmla="*/ 6 h 33"/>
                <a:gd name="T10" fmla="*/ 37 w 71"/>
                <a:gd name="T11" fmla="*/ 8 h 33"/>
                <a:gd name="T12" fmla="*/ 42 w 71"/>
                <a:gd name="T13" fmla="*/ 11 h 33"/>
                <a:gd name="T14" fmla="*/ 47 w 71"/>
                <a:gd name="T15" fmla="*/ 13 h 33"/>
                <a:gd name="T16" fmla="*/ 57 w 71"/>
                <a:gd name="T17" fmla="*/ 14 h 33"/>
                <a:gd name="T18" fmla="*/ 61 w 71"/>
                <a:gd name="T19" fmla="*/ 22 h 33"/>
                <a:gd name="T20" fmla="*/ 71 w 71"/>
                <a:gd name="T21" fmla="*/ 21 h 33"/>
                <a:gd name="T22" fmla="*/ 71 w 71"/>
                <a:gd name="T23" fmla="*/ 33 h 33"/>
                <a:gd name="T24" fmla="*/ 0 w 71"/>
                <a:gd name="T25" fmla="*/ 33 h 33"/>
                <a:gd name="T26" fmla="*/ 0 w 71"/>
                <a:gd name="T27" fmla="*/ 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1" h="33">
                  <a:moveTo>
                    <a:pt x="0" y="6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6" y="3"/>
                    <a:pt x="16" y="3"/>
                    <a:pt x="16" y="3"/>
                  </a:cubicBezTo>
                  <a:cubicBezTo>
                    <a:pt x="26" y="13"/>
                    <a:pt x="26" y="13"/>
                    <a:pt x="26" y="13"/>
                  </a:cubicBezTo>
                  <a:cubicBezTo>
                    <a:pt x="34" y="6"/>
                    <a:pt x="34" y="6"/>
                    <a:pt x="34" y="6"/>
                  </a:cubicBezTo>
                  <a:cubicBezTo>
                    <a:pt x="37" y="8"/>
                    <a:pt x="37" y="8"/>
                    <a:pt x="37" y="8"/>
                  </a:cubicBezTo>
                  <a:cubicBezTo>
                    <a:pt x="42" y="11"/>
                    <a:pt x="42" y="11"/>
                    <a:pt x="42" y="11"/>
                  </a:cubicBezTo>
                  <a:cubicBezTo>
                    <a:pt x="47" y="13"/>
                    <a:pt x="47" y="13"/>
                    <a:pt x="47" y="13"/>
                  </a:cubicBezTo>
                  <a:cubicBezTo>
                    <a:pt x="47" y="13"/>
                    <a:pt x="55" y="14"/>
                    <a:pt x="57" y="14"/>
                  </a:cubicBezTo>
                  <a:cubicBezTo>
                    <a:pt x="61" y="22"/>
                    <a:pt x="61" y="22"/>
                    <a:pt x="61" y="22"/>
                  </a:cubicBezTo>
                  <a:cubicBezTo>
                    <a:pt x="71" y="21"/>
                    <a:pt x="71" y="21"/>
                    <a:pt x="71" y="21"/>
                  </a:cubicBezTo>
                  <a:cubicBezTo>
                    <a:pt x="71" y="33"/>
                    <a:pt x="71" y="33"/>
                    <a:pt x="71" y="33"/>
                  </a:cubicBezTo>
                  <a:cubicBezTo>
                    <a:pt x="0" y="33"/>
                    <a:pt x="0" y="33"/>
                    <a:pt x="0" y="33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003A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6" name="ïśḷïḍe"/>
            <p:cNvSpPr/>
            <p:nvPr/>
          </p:nvSpPr>
          <p:spPr bwMode="auto">
            <a:xfrm>
              <a:off x="4283075" y="4481513"/>
              <a:ext cx="1041400" cy="192088"/>
            </a:xfrm>
            <a:custGeom>
              <a:avLst/>
              <a:gdLst>
                <a:gd name="T0" fmla="*/ 0 w 656"/>
                <a:gd name="T1" fmla="*/ 47 h 121"/>
                <a:gd name="T2" fmla="*/ 93 w 656"/>
                <a:gd name="T3" fmla="*/ 0 h 121"/>
                <a:gd name="T4" fmla="*/ 130 w 656"/>
                <a:gd name="T5" fmla="*/ 37 h 121"/>
                <a:gd name="T6" fmla="*/ 167 w 656"/>
                <a:gd name="T7" fmla="*/ 47 h 121"/>
                <a:gd name="T8" fmla="*/ 250 w 656"/>
                <a:gd name="T9" fmla="*/ 19 h 121"/>
                <a:gd name="T10" fmla="*/ 296 w 656"/>
                <a:gd name="T11" fmla="*/ 47 h 121"/>
                <a:gd name="T12" fmla="*/ 361 w 656"/>
                <a:gd name="T13" fmla="*/ 75 h 121"/>
                <a:gd name="T14" fmla="*/ 435 w 656"/>
                <a:gd name="T15" fmla="*/ 93 h 121"/>
                <a:gd name="T16" fmla="*/ 527 w 656"/>
                <a:gd name="T17" fmla="*/ 93 h 121"/>
                <a:gd name="T18" fmla="*/ 583 w 656"/>
                <a:gd name="T19" fmla="*/ 93 h 121"/>
                <a:gd name="T20" fmla="*/ 656 w 656"/>
                <a:gd name="T21" fmla="*/ 121 h 121"/>
                <a:gd name="T22" fmla="*/ 0 w 656"/>
                <a:gd name="T23" fmla="*/ 121 h 121"/>
                <a:gd name="T24" fmla="*/ 0 w 656"/>
                <a:gd name="T25" fmla="*/ 47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6" h="121">
                  <a:moveTo>
                    <a:pt x="0" y="47"/>
                  </a:moveTo>
                  <a:lnTo>
                    <a:pt x="93" y="0"/>
                  </a:lnTo>
                  <a:lnTo>
                    <a:pt x="130" y="37"/>
                  </a:lnTo>
                  <a:lnTo>
                    <a:pt x="167" y="47"/>
                  </a:lnTo>
                  <a:lnTo>
                    <a:pt x="250" y="19"/>
                  </a:lnTo>
                  <a:lnTo>
                    <a:pt x="296" y="47"/>
                  </a:lnTo>
                  <a:lnTo>
                    <a:pt x="361" y="75"/>
                  </a:lnTo>
                  <a:lnTo>
                    <a:pt x="435" y="93"/>
                  </a:lnTo>
                  <a:lnTo>
                    <a:pt x="527" y="93"/>
                  </a:lnTo>
                  <a:lnTo>
                    <a:pt x="583" y="93"/>
                  </a:lnTo>
                  <a:lnTo>
                    <a:pt x="656" y="121"/>
                  </a:lnTo>
                  <a:lnTo>
                    <a:pt x="0" y="121"/>
                  </a:lnTo>
                  <a:lnTo>
                    <a:pt x="0" y="47"/>
                  </a:lnTo>
                  <a:close/>
                </a:path>
              </a:pathLst>
            </a:custGeom>
            <a:solidFill>
              <a:srgbClr val="1F75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7" name="íṡľíḍé"/>
            <p:cNvSpPr/>
            <p:nvPr/>
          </p:nvSpPr>
          <p:spPr bwMode="auto">
            <a:xfrm>
              <a:off x="5749925" y="4202113"/>
              <a:ext cx="660400" cy="1060450"/>
            </a:xfrm>
            <a:custGeom>
              <a:avLst/>
              <a:gdLst>
                <a:gd name="T0" fmla="*/ 416 w 416"/>
                <a:gd name="T1" fmla="*/ 659 h 668"/>
                <a:gd name="T2" fmla="*/ 0 w 416"/>
                <a:gd name="T3" fmla="*/ 668 h 668"/>
                <a:gd name="T4" fmla="*/ 10 w 416"/>
                <a:gd name="T5" fmla="*/ 0 h 668"/>
                <a:gd name="T6" fmla="*/ 416 w 416"/>
                <a:gd name="T7" fmla="*/ 0 h 668"/>
                <a:gd name="T8" fmla="*/ 416 w 416"/>
                <a:gd name="T9" fmla="*/ 659 h 6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6" h="668">
                  <a:moveTo>
                    <a:pt x="416" y="659"/>
                  </a:moveTo>
                  <a:lnTo>
                    <a:pt x="0" y="668"/>
                  </a:lnTo>
                  <a:lnTo>
                    <a:pt x="10" y="0"/>
                  </a:lnTo>
                  <a:lnTo>
                    <a:pt x="416" y="0"/>
                  </a:lnTo>
                  <a:lnTo>
                    <a:pt x="416" y="659"/>
                  </a:lnTo>
                  <a:close/>
                </a:path>
              </a:pathLst>
            </a:custGeom>
            <a:solidFill>
              <a:srgbClr val="1F75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8" name="î$ľiḋe"/>
            <p:cNvSpPr/>
            <p:nvPr/>
          </p:nvSpPr>
          <p:spPr bwMode="auto">
            <a:xfrm>
              <a:off x="6557963" y="4481513"/>
              <a:ext cx="703263" cy="766763"/>
            </a:xfrm>
            <a:prstGeom prst="rect">
              <a:avLst/>
            </a:prstGeom>
            <a:solidFill>
              <a:srgbClr val="1F75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9" name="îšḻîḋe"/>
            <p:cNvSpPr/>
            <p:nvPr/>
          </p:nvSpPr>
          <p:spPr bwMode="auto">
            <a:xfrm>
              <a:off x="7467600" y="4364038"/>
              <a:ext cx="660400" cy="884238"/>
            </a:xfrm>
            <a:prstGeom prst="rect">
              <a:avLst/>
            </a:prstGeom>
            <a:solidFill>
              <a:srgbClr val="1F75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0" name="íṧḻïḍê"/>
            <p:cNvSpPr/>
            <p:nvPr/>
          </p:nvSpPr>
          <p:spPr bwMode="auto">
            <a:xfrm>
              <a:off x="8259763" y="4732338"/>
              <a:ext cx="719138" cy="515938"/>
            </a:xfrm>
            <a:prstGeom prst="rect">
              <a:avLst/>
            </a:prstGeom>
            <a:solidFill>
              <a:srgbClr val="1F75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1" name="îŝ1îďe"/>
            <p:cNvSpPr/>
            <p:nvPr/>
          </p:nvSpPr>
          <p:spPr bwMode="auto">
            <a:xfrm>
              <a:off x="4240213" y="1951038"/>
              <a:ext cx="5002213" cy="2133600"/>
            </a:xfrm>
            <a:custGeom>
              <a:avLst/>
              <a:gdLst>
                <a:gd name="T0" fmla="*/ 3151 w 3151"/>
                <a:gd name="T1" fmla="*/ 408 h 1344"/>
                <a:gd name="T2" fmla="*/ 2495 w 3151"/>
                <a:gd name="T3" fmla="*/ 519 h 1344"/>
                <a:gd name="T4" fmla="*/ 2495 w 3151"/>
                <a:gd name="T5" fmla="*/ 945 h 1344"/>
                <a:gd name="T6" fmla="*/ 2088 w 3151"/>
                <a:gd name="T7" fmla="*/ 751 h 1344"/>
                <a:gd name="T8" fmla="*/ 1885 w 3151"/>
                <a:gd name="T9" fmla="*/ 1094 h 1344"/>
                <a:gd name="T10" fmla="*/ 1876 w 3151"/>
                <a:gd name="T11" fmla="*/ 1084 h 1344"/>
                <a:gd name="T12" fmla="*/ 739 w 3151"/>
                <a:gd name="T13" fmla="*/ 630 h 1344"/>
                <a:gd name="T14" fmla="*/ 711 w 3151"/>
                <a:gd name="T15" fmla="*/ 1270 h 1344"/>
                <a:gd name="T16" fmla="*/ 0 w 3151"/>
                <a:gd name="T17" fmla="*/ 1344 h 1344"/>
                <a:gd name="T18" fmla="*/ 0 w 3151"/>
                <a:gd name="T19" fmla="*/ 1307 h 1344"/>
                <a:gd name="T20" fmla="*/ 665 w 3151"/>
                <a:gd name="T21" fmla="*/ 1233 h 1344"/>
                <a:gd name="T22" fmla="*/ 702 w 3151"/>
                <a:gd name="T23" fmla="*/ 574 h 1344"/>
                <a:gd name="T24" fmla="*/ 1876 w 3151"/>
                <a:gd name="T25" fmla="*/ 1038 h 1344"/>
                <a:gd name="T26" fmla="*/ 2070 w 3151"/>
                <a:gd name="T27" fmla="*/ 704 h 1344"/>
                <a:gd name="T28" fmla="*/ 2458 w 3151"/>
                <a:gd name="T29" fmla="*/ 880 h 1344"/>
                <a:gd name="T30" fmla="*/ 2458 w 3151"/>
                <a:gd name="T31" fmla="*/ 491 h 1344"/>
                <a:gd name="T32" fmla="*/ 3105 w 3151"/>
                <a:gd name="T33" fmla="*/ 380 h 1344"/>
                <a:gd name="T34" fmla="*/ 3031 w 3151"/>
                <a:gd name="T35" fmla="*/ 9 h 1344"/>
                <a:gd name="T36" fmla="*/ 3077 w 3151"/>
                <a:gd name="T37" fmla="*/ 0 h 1344"/>
                <a:gd name="T38" fmla="*/ 3151 w 3151"/>
                <a:gd name="T39" fmla="*/ 408 h 1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151" h="1344">
                  <a:moveTo>
                    <a:pt x="3151" y="408"/>
                  </a:moveTo>
                  <a:lnTo>
                    <a:pt x="2495" y="519"/>
                  </a:lnTo>
                  <a:lnTo>
                    <a:pt x="2495" y="945"/>
                  </a:lnTo>
                  <a:lnTo>
                    <a:pt x="2088" y="751"/>
                  </a:lnTo>
                  <a:lnTo>
                    <a:pt x="1885" y="1094"/>
                  </a:lnTo>
                  <a:lnTo>
                    <a:pt x="1876" y="1084"/>
                  </a:lnTo>
                  <a:lnTo>
                    <a:pt x="739" y="630"/>
                  </a:lnTo>
                  <a:lnTo>
                    <a:pt x="711" y="1270"/>
                  </a:lnTo>
                  <a:lnTo>
                    <a:pt x="0" y="1344"/>
                  </a:lnTo>
                  <a:lnTo>
                    <a:pt x="0" y="1307"/>
                  </a:lnTo>
                  <a:lnTo>
                    <a:pt x="665" y="1233"/>
                  </a:lnTo>
                  <a:lnTo>
                    <a:pt x="702" y="574"/>
                  </a:lnTo>
                  <a:lnTo>
                    <a:pt x="1876" y="1038"/>
                  </a:lnTo>
                  <a:lnTo>
                    <a:pt x="2070" y="704"/>
                  </a:lnTo>
                  <a:lnTo>
                    <a:pt x="2458" y="880"/>
                  </a:lnTo>
                  <a:lnTo>
                    <a:pt x="2458" y="491"/>
                  </a:lnTo>
                  <a:lnTo>
                    <a:pt x="3105" y="380"/>
                  </a:lnTo>
                  <a:lnTo>
                    <a:pt x="3031" y="9"/>
                  </a:lnTo>
                  <a:lnTo>
                    <a:pt x="3077" y="0"/>
                  </a:lnTo>
                  <a:lnTo>
                    <a:pt x="3151" y="408"/>
                  </a:lnTo>
                  <a:close/>
                </a:path>
              </a:pathLst>
            </a:custGeom>
            <a:solidFill>
              <a:srgbClr val="FFBD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2" name="išḻiḑé"/>
            <p:cNvSpPr/>
            <p:nvPr/>
          </p:nvSpPr>
          <p:spPr bwMode="auto">
            <a:xfrm>
              <a:off x="5281613" y="2760663"/>
              <a:ext cx="277813" cy="263525"/>
            </a:xfrm>
            <a:custGeom>
              <a:avLst/>
              <a:gdLst>
                <a:gd name="T0" fmla="*/ 13 w 19"/>
                <a:gd name="T1" fmla="*/ 2 h 18"/>
                <a:gd name="T2" fmla="*/ 17 w 19"/>
                <a:gd name="T3" fmla="*/ 13 h 18"/>
                <a:gd name="T4" fmla="*/ 6 w 19"/>
                <a:gd name="T5" fmla="*/ 17 h 18"/>
                <a:gd name="T6" fmla="*/ 2 w 19"/>
                <a:gd name="T7" fmla="*/ 6 h 18"/>
                <a:gd name="T8" fmla="*/ 13 w 19"/>
                <a:gd name="T9" fmla="*/ 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8">
                  <a:moveTo>
                    <a:pt x="13" y="2"/>
                  </a:moveTo>
                  <a:cubicBezTo>
                    <a:pt x="17" y="4"/>
                    <a:pt x="19" y="8"/>
                    <a:pt x="17" y="13"/>
                  </a:cubicBezTo>
                  <a:cubicBezTo>
                    <a:pt x="15" y="17"/>
                    <a:pt x="10" y="18"/>
                    <a:pt x="6" y="17"/>
                  </a:cubicBezTo>
                  <a:cubicBezTo>
                    <a:pt x="2" y="15"/>
                    <a:pt x="0" y="10"/>
                    <a:pt x="2" y="6"/>
                  </a:cubicBezTo>
                  <a:cubicBezTo>
                    <a:pt x="4" y="2"/>
                    <a:pt x="8" y="0"/>
                    <a:pt x="13" y="2"/>
                  </a:cubicBezTo>
                  <a:close/>
                </a:path>
              </a:pathLst>
            </a:custGeom>
            <a:solidFill>
              <a:srgbClr val="29B9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3" name="îśľiďé"/>
            <p:cNvSpPr/>
            <p:nvPr/>
          </p:nvSpPr>
          <p:spPr bwMode="auto">
            <a:xfrm>
              <a:off x="5192713" y="3805238"/>
              <a:ext cx="279400" cy="265113"/>
            </a:xfrm>
            <a:custGeom>
              <a:avLst/>
              <a:gdLst>
                <a:gd name="T0" fmla="*/ 13 w 19"/>
                <a:gd name="T1" fmla="*/ 2 h 18"/>
                <a:gd name="T2" fmla="*/ 17 w 19"/>
                <a:gd name="T3" fmla="*/ 13 h 18"/>
                <a:gd name="T4" fmla="*/ 6 w 19"/>
                <a:gd name="T5" fmla="*/ 17 h 18"/>
                <a:gd name="T6" fmla="*/ 2 w 19"/>
                <a:gd name="T7" fmla="*/ 6 h 18"/>
                <a:gd name="T8" fmla="*/ 13 w 19"/>
                <a:gd name="T9" fmla="*/ 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8">
                  <a:moveTo>
                    <a:pt x="13" y="2"/>
                  </a:moveTo>
                  <a:cubicBezTo>
                    <a:pt x="17" y="4"/>
                    <a:pt x="19" y="8"/>
                    <a:pt x="17" y="13"/>
                  </a:cubicBezTo>
                  <a:cubicBezTo>
                    <a:pt x="15" y="17"/>
                    <a:pt x="10" y="18"/>
                    <a:pt x="6" y="17"/>
                  </a:cubicBezTo>
                  <a:cubicBezTo>
                    <a:pt x="2" y="15"/>
                    <a:pt x="0" y="10"/>
                    <a:pt x="2" y="6"/>
                  </a:cubicBezTo>
                  <a:cubicBezTo>
                    <a:pt x="4" y="2"/>
                    <a:pt x="9" y="0"/>
                    <a:pt x="13" y="2"/>
                  </a:cubicBezTo>
                  <a:close/>
                </a:path>
              </a:pathLst>
            </a:custGeom>
            <a:solidFill>
              <a:srgbClr val="29B9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4" name="îṧļíďé"/>
            <p:cNvSpPr/>
            <p:nvPr/>
          </p:nvSpPr>
          <p:spPr bwMode="auto">
            <a:xfrm>
              <a:off x="7115175" y="3467101"/>
              <a:ext cx="263525" cy="263525"/>
            </a:xfrm>
            <a:custGeom>
              <a:avLst/>
              <a:gdLst>
                <a:gd name="T0" fmla="*/ 12 w 18"/>
                <a:gd name="T1" fmla="*/ 1 h 18"/>
                <a:gd name="T2" fmla="*/ 16 w 18"/>
                <a:gd name="T3" fmla="*/ 12 h 18"/>
                <a:gd name="T4" fmla="*/ 5 w 18"/>
                <a:gd name="T5" fmla="*/ 16 h 18"/>
                <a:gd name="T6" fmla="*/ 1 w 18"/>
                <a:gd name="T7" fmla="*/ 5 h 18"/>
                <a:gd name="T8" fmla="*/ 12 w 18"/>
                <a:gd name="T9" fmla="*/ 1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8">
                  <a:moveTo>
                    <a:pt x="12" y="1"/>
                  </a:moveTo>
                  <a:cubicBezTo>
                    <a:pt x="16" y="3"/>
                    <a:pt x="18" y="8"/>
                    <a:pt x="16" y="12"/>
                  </a:cubicBezTo>
                  <a:cubicBezTo>
                    <a:pt x="14" y="16"/>
                    <a:pt x="10" y="18"/>
                    <a:pt x="5" y="16"/>
                  </a:cubicBezTo>
                  <a:cubicBezTo>
                    <a:pt x="1" y="14"/>
                    <a:pt x="0" y="10"/>
                    <a:pt x="1" y="5"/>
                  </a:cubicBezTo>
                  <a:cubicBezTo>
                    <a:pt x="3" y="1"/>
                    <a:pt x="8" y="0"/>
                    <a:pt x="12" y="1"/>
                  </a:cubicBezTo>
                  <a:close/>
                </a:path>
              </a:pathLst>
            </a:custGeom>
            <a:solidFill>
              <a:srgbClr val="29B9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5" name="íśḻîḑé"/>
            <p:cNvSpPr/>
            <p:nvPr/>
          </p:nvSpPr>
          <p:spPr bwMode="auto">
            <a:xfrm>
              <a:off x="7408863" y="2951163"/>
              <a:ext cx="277813" cy="279400"/>
            </a:xfrm>
            <a:custGeom>
              <a:avLst/>
              <a:gdLst>
                <a:gd name="T0" fmla="*/ 13 w 19"/>
                <a:gd name="T1" fmla="*/ 2 h 19"/>
                <a:gd name="T2" fmla="*/ 17 w 19"/>
                <a:gd name="T3" fmla="*/ 13 h 19"/>
                <a:gd name="T4" fmla="*/ 6 w 19"/>
                <a:gd name="T5" fmla="*/ 17 h 19"/>
                <a:gd name="T6" fmla="*/ 2 w 19"/>
                <a:gd name="T7" fmla="*/ 6 h 19"/>
                <a:gd name="T8" fmla="*/ 13 w 19"/>
                <a:gd name="T9" fmla="*/ 2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9">
                  <a:moveTo>
                    <a:pt x="13" y="2"/>
                  </a:moveTo>
                  <a:cubicBezTo>
                    <a:pt x="17" y="4"/>
                    <a:pt x="19" y="9"/>
                    <a:pt x="17" y="13"/>
                  </a:cubicBezTo>
                  <a:cubicBezTo>
                    <a:pt x="15" y="17"/>
                    <a:pt x="10" y="19"/>
                    <a:pt x="6" y="17"/>
                  </a:cubicBezTo>
                  <a:cubicBezTo>
                    <a:pt x="2" y="15"/>
                    <a:pt x="0" y="10"/>
                    <a:pt x="2" y="6"/>
                  </a:cubicBezTo>
                  <a:cubicBezTo>
                    <a:pt x="4" y="2"/>
                    <a:pt x="9" y="0"/>
                    <a:pt x="13" y="2"/>
                  </a:cubicBezTo>
                  <a:close/>
                </a:path>
              </a:pathLst>
            </a:custGeom>
            <a:solidFill>
              <a:srgbClr val="29B9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6" name="íṥ1îḓé"/>
            <p:cNvSpPr/>
            <p:nvPr/>
          </p:nvSpPr>
          <p:spPr bwMode="auto">
            <a:xfrm>
              <a:off x="8024813" y="2613026"/>
              <a:ext cx="279400" cy="265113"/>
            </a:xfrm>
            <a:custGeom>
              <a:avLst/>
              <a:gdLst>
                <a:gd name="T0" fmla="*/ 13 w 19"/>
                <a:gd name="T1" fmla="*/ 2 h 18"/>
                <a:gd name="T2" fmla="*/ 17 w 19"/>
                <a:gd name="T3" fmla="*/ 13 h 18"/>
                <a:gd name="T4" fmla="*/ 6 w 19"/>
                <a:gd name="T5" fmla="*/ 17 h 18"/>
                <a:gd name="T6" fmla="*/ 2 w 19"/>
                <a:gd name="T7" fmla="*/ 6 h 18"/>
                <a:gd name="T8" fmla="*/ 13 w 19"/>
                <a:gd name="T9" fmla="*/ 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8">
                  <a:moveTo>
                    <a:pt x="13" y="2"/>
                  </a:moveTo>
                  <a:cubicBezTo>
                    <a:pt x="17" y="4"/>
                    <a:pt x="19" y="8"/>
                    <a:pt x="17" y="13"/>
                  </a:cubicBezTo>
                  <a:cubicBezTo>
                    <a:pt x="15" y="17"/>
                    <a:pt x="10" y="18"/>
                    <a:pt x="6" y="17"/>
                  </a:cubicBezTo>
                  <a:cubicBezTo>
                    <a:pt x="2" y="15"/>
                    <a:pt x="0" y="10"/>
                    <a:pt x="2" y="6"/>
                  </a:cubicBezTo>
                  <a:cubicBezTo>
                    <a:pt x="4" y="2"/>
                    <a:pt x="9" y="0"/>
                    <a:pt x="13" y="2"/>
                  </a:cubicBezTo>
                  <a:close/>
                </a:path>
              </a:pathLst>
            </a:custGeom>
            <a:solidFill>
              <a:srgbClr val="29B9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7" name="íşlíďè"/>
            <p:cNvSpPr/>
            <p:nvPr/>
          </p:nvSpPr>
          <p:spPr bwMode="auto">
            <a:xfrm>
              <a:off x="8039100" y="3260726"/>
              <a:ext cx="265113" cy="279400"/>
            </a:xfrm>
            <a:custGeom>
              <a:avLst/>
              <a:gdLst>
                <a:gd name="T0" fmla="*/ 13 w 18"/>
                <a:gd name="T1" fmla="*/ 2 h 19"/>
                <a:gd name="T2" fmla="*/ 17 w 18"/>
                <a:gd name="T3" fmla="*/ 13 h 19"/>
                <a:gd name="T4" fmla="*/ 6 w 18"/>
                <a:gd name="T5" fmla="*/ 17 h 19"/>
                <a:gd name="T6" fmla="*/ 2 w 18"/>
                <a:gd name="T7" fmla="*/ 6 h 19"/>
                <a:gd name="T8" fmla="*/ 13 w 18"/>
                <a:gd name="T9" fmla="*/ 2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9">
                  <a:moveTo>
                    <a:pt x="13" y="2"/>
                  </a:moveTo>
                  <a:cubicBezTo>
                    <a:pt x="17" y="4"/>
                    <a:pt x="18" y="8"/>
                    <a:pt x="17" y="13"/>
                  </a:cubicBezTo>
                  <a:cubicBezTo>
                    <a:pt x="15" y="17"/>
                    <a:pt x="10" y="19"/>
                    <a:pt x="6" y="17"/>
                  </a:cubicBezTo>
                  <a:cubicBezTo>
                    <a:pt x="2" y="15"/>
                    <a:pt x="0" y="10"/>
                    <a:pt x="2" y="6"/>
                  </a:cubicBezTo>
                  <a:cubicBezTo>
                    <a:pt x="4" y="2"/>
                    <a:pt x="8" y="0"/>
                    <a:pt x="13" y="2"/>
                  </a:cubicBezTo>
                  <a:close/>
                </a:path>
              </a:pathLst>
            </a:custGeom>
            <a:solidFill>
              <a:srgbClr val="29B9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8" name="iṣlide"/>
            <p:cNvSpPr/>
            <p:nvPr/>
          </p:nvSpPr>
          <p:spPr bwMode="auto">
            <a:xfrm>
              <a:off x="9066213" y="2436813"/>
              <a:ext cx="279400" cy="279400"/>
            </a:xfrm>
            <a:custGeom>
              <a:avLst/>
              <a:gdLst>
                <a:gd name="T0" fmla="*/ 13 w 19"/>
                <a:gd name="T1" fmla="*/ 2 h 19"/>
                <a:gd name="T2" fmla="*/ 17 w 19"/>
                <a:gd name="T3" fmla="*/ 13 h 19"/>
                <a:gd name="T4" fmla="*/ 6 w 19"/>
                <a:gd name="T5" fmla="*/ 17 h 19"/>
                <a:gd name="T6" fmla="*/ 2 w 19"/>
                <a:gd name="T7" fmla="*/ 6 h 19"/>
                <a:gd name="T8" fmla="*/ 13 w 19"/>
                <a:gd name="T9" fmla="*/ 2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9">
                  <a:moveTo>
                    <a:pt x="13" y="2"/>
                  </a:moveTo>
                  <a:cubicBezTo>
                    <a:pt x="17" y="4"/>
                    <a:pt x="19" y="9"/>
                    <a:pt x="17" y="13"/>
                  </a:cubicBezTo>
                  <a:cubicBezTo>
                    <a:pt x="15" y="17"/>
                    <a:pt x="10" y="19"/>
                    <a:pt x="6" y="17"/>
                  </a:cubicBezTo>
                  <a:cubicBezTo>
                    <a:pt x="2" y="15"/>
                    <a:pt x="0" y="10"/>
                    <a:pt x="2" y="6"/>
                  </a:cubicBezTo>
                  <a:cubicBezTo>
                    <a:pt x="4" y="2"/>
                    <a:pt x="9" y="0"/>
                    <a:pt x="13" y="2"/>
                  </a:cubicBezTo>
                  <a:close/>
                </a:path>
              </a:pathLst>
            </a:custGeom>
            <a:solidFill>
              <a:srgbClr val="29B9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9" name="î$ḻiḋé"/>
            <p:cNvSpPr/>
            <p:nvPr/>
          </p:nvSpPr>
          <p:spPr bwMode="auto">
            <a:xfrm>
              <a:off x="8963025" y="1803401"/>
              <a:ext cx="265113" cy="279400"/>
            </a:xfrm>
            <a:custGeom>
              <a:avLst/>
              <a:gdLst>
                <a:gd name="T0" fmla="*/ 13 w 18"/>
                <a:gd name="T1" fmla="*/ 2 h 19"/>
                <a:gd name="T2" fmla="*/ 17 w 18"/>
                <a:gd name="T3" fmla="*/ 13 h 19"/>
                <a:gd name="T4" fmla="*/ 6 w 18"/>
                <a:gd name="T5" fmla="*/ 17 h 19"/>
                <a:gd name="T6" fmla="*/ 2 w 18"/>
                <a:gd name="T7" fmla="*/ 6 h 19"/>
                <a:gd name="T8" fmla="*/ 13 w 18"/>
                <a:gd name="T9" fmla="*/ 2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9">
                  <a:moveTo>
                    <a:pt x="13" y="2"/>
                  </a:moveTo>
                  <a:cubicBezTo>
                    <a:pt x="17" y="4"/>
                    <a:pt x="18" y="9"/>
                    <a:pt x="17" y="13"/>
                  </a:cubicBezTo>
                  <a:cubicBezTo>
                    <a:pt x="15" y="17"/>
                    <a:pt x="10" y="19"/>
                    <a:pt x="6" y="17"/>
                  </a:cubicBezTo>
                  <a:cubicBezTo>
                    <a:pt x="2" y="15"/>
                    <a:pt x="0" y="10"/>
                    <a:pt x="2" y="6"/>
                  </a:cubicBezTo>
                  <a:cubicBezTo>
                    <a:pt x="4" y="2"/>
                    <a:pt x="8" y="0"/>
                    <a:pt x="13" y="2"/>
                  </a:cubicBezTo>
                  <a:close/>
                </a:path>
              </a:pathLst>
            </a:custGeom>
            <a:solidFill>
              <a:srgbClr val="29B9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0" name="íśḻídé"/>
            <p:cNvSpPr/>
            <p:nvPr/>
          </p:nvSpPr>
          <p:spPr bwMode="auto">
            <a:xfrm>
              <a:off x="4106863" y="3952876"/>
              <a:ext cx="279400" cy="279400"/>
            </a:xfrm>
            <a:custGeom>
              <a:avLst/>
              <a:gdLst>
                <a:gd name="T0" fmla="*/ 13 w 19"/>
                <a:gd name="T1" fmla="*/ 2 h 19"/>
                <a:gd name="T2" fmla="*/ 17 w 19"/>
                <a:gd name="T3" fmla="*/ 13 h 19"/>
                <a:gd name="T4" fmla="*/ 6 w 19"/>
                <a:gd name="T5" fmla="*/ 17 h 19"/>
                <a:gd name="T6" fmla="*/ 2 w 19"/>
                <a:gd name="T7" fmla="*/ 6 h 19"/>
                <a:gd name="T8" fmla="*/ 13 w 19"/>
                <a:gd name="T9" fmla="*/ 2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9">
                  <a:moveTo>
                    <a:pt x="13" y="2"/>
                  </a:moveTo>
                  <a:cubicBezTo>
                    <a:pt x="17" y="4"/>
                    <a:pt x="19" y="9"/>
                    <a:pt x="17" y="13"/>
                  </a:cubicBezTo>
                  <a:cubicBezTo>
                    <a:pt x="15" y="17"/>
                    <a:pt x="10" y="19"/>
                    <a:pt x="6" y="17"/>
                  </a:cubicBezTo>
                  <a:cubicBezTo>
                    <a:pt x="2" y="15"/>
                    <a:pt x="0" y="10"/>
                    <a:pt x="2" y="6"/>
                  </a:cubicBezTo>
                  <a:cubicBezTo>
                    <a:pt x="4" y="2"/>
                    <a:pt x="9" y="0"/>
                    <a:pt x="13" y="2"/>
                  </a:cubicBezTo>
                  <a:close/>
                </a:path>
              </a:pathLst>
            </a:custGeom>
            <a:solidFill>
              <a:srgbClr val="29B9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1" name="iṡlíḓê"/>
            <p:cNvSpPr/>
            <p:nvPr/>
          </p:nvSpPr>
          <p:spPr bwMode="auto">
            <a:xfrm>
              <a:off x="5075238" y="5394326"/>
              <a:ext cx="190500" cy="236538"/>
            </a:xfrm>
            <a:custGeom>
              <a:avLst/>
              <a:gdLst>
                <a:gd name="T0" fmla="*/ 84 w 120"/>
                <a:gd name="T1" fmla="*/ 0 h 149"/>
                <a:gd name="T2" fmla="*/ 56 w 120"/>
                <a:gd name="T3" fmla="*/ 9 h 149"/>
                <a:gd name="T4" fmla="*/ 65 w 120"/>
                <a:gd name="T5" fmla="*/ 56 h 149"/>
                <a:gd name="T6" fmla="*/ 56 w 120"/>
                <a:gd name="T7" fmla="*/ 74 h 149"/>
                <a:gd name="T8" fmla="*/ 0 w 120"/>
                <a:gd name="T9" fmla="*/ 149 h 149"/>
                <a:gd name="T10" fmla="*/ 120 w 120"/>
                <a:gd name="T11" fmla="*/ 74 h 149"/>
                <a:gd name="T12" fmla="*/ 84 w 120"/>
                <a:gd name="T13" fmla="*/ 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0" h="149">
                  <a:moveTo>
                    <a:pt x="84" y="0"/>
                  </a:moveTo>
                  <a:lnTo>
                    <a:pt x="56" y="9"/>
                  </a:lnTo>
                  <a:lnTo>
                    <a:pt x="65" y="56"/>
                  </a:lnTo>
                  <a:lnTo>
                    <a:pt x="56" y="74"/>
                  </a:lnTo>
                  <a:lnTo>
                    <a:pt x="0" y="149"/>
                  </a:lnTo>
                  <a:lnTo>
                    <a:pt x="120" y="74"/>
                  </a:lnTo>
                  <a:lnTo>
                    <a:pt x="84" y="0"/>
                  </a:lnTo>
                  <a:close/>
                </a:path>
              </a:pathLst>
            </a:custGeom>
            <a:solidFill>
              <a:srgbClr val="7A92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2" name="îSļïḓê"/>
            <p:cNvSpPr/>
            <p:nvPr/>
          </p:nvSpPr>
          <p:spPr bwMode="auto">
            <a:xfrm>
              <a:off x="5208588" y="5335588"/>
              <a:ext cx="204788" cy="192088"/>
            </a:xfrm>
            <a:custGeom>
              <a:avLst/>
              <a:gdLst>
                <a:gd name="T0" fmla="*/ 18 w 129"/>
                <a:gd name="T1" fmla="*/ 0 h 121"/>
                <a:gd name="T2" fmla="*/ 46 w 129"/>
                <a:gd name="T3" fmla="*/ 0 h 121"/>
                <a:gd name="T4" fmla="*/ 46 w 129"/>
                <a:gd name="T5" fmla="*/ 46 h 121"/>
                <a:gd name="T6" fmla="*/ 55 w 129"/>
                <a:gd name="T7" fmla="*/ 56 h 121"/>
                <a:gd name="T8" fmla="*/ 129 w 129"/>
                <a:gd name="T9" fmla="*/ 121 h 121"/>
                <a:gd name="T10" fmla="*/ 0 w 129"/>
                <a:gd name="T11" fmla="*/ 74 h 121"/>
                <a:gd name="T12" fmla="*/ 18 w 129"/>
                <a:gd name="T13" fmla="*/ 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9" h="121">
                  <a:moveTo>
                    <a:pt x="18" y="0"/>
                  </a:moveTo>
                  <a:lnTo>
                    <a:pt x="46" y="0"/>
                  </a:lnTo>
                  <a:lnTo>
                    <a:pt x="46" y="46"/>
                  </a:lnTo>
                  <a:lnTo>
                    <a:pt x="55" y="56"/>
                  </a:lnTo>
                  <a:lnTo>
                    <a:pt x="129" y="121"/>
                  </a:lnTo>
                  <a:lnTo>
                    <a:pt x="0" y="74"/>
                  </a:lnTo>
                  <a:lnTo>
                    <a:pt x="18" y="0"/>
                  </a:lnTo>
                  <a:close/>
                </a:path>
              </a:pathLst>
            </a:custGeom>
            <a:solidFill>
              <a:srgbClr val="7A92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3" name="íśḷiḋe"/>
            <p:cNvSpPr/>
            <p:nvPr/>
          </p:nvSpPr>
          <p:spPr bwMode="auto">
            <a:xfrm>
              <a:off x="4899025" y="3613151"/>
              <a:ext cx="455613" cy="1855788"/>
            </a:xfrm>
            <a:custGeom>
              <a:avLst/>
              <a:gdLst>
                <a:gd name="T0" fmla="*/ 10 w 287"/>
                <a:gd name="T1" fmla="*/ 0 h 1169"/>
                <a:gd name="T2" fmla="*/ 0 w 287"/>
                <a:gd name="T3" fmla="*/ 612 h 1169"/>
                <a:gd name="T4" fmla="*/ 167 w 287"/>
                <a:gd name="T5" fmla="*/ 1169 h 1169"/>
                <a:gd name="T6" fmla="*/ 222 w 287"/>
                <a:gd name="T7" fmla="*/ 1150 h 1169"/>
                <a:gd name="T8" fmla="*/ 130 w 287"/>
                <a:gd name="T9" fmla="*/ 649 h 1169"/>
                <a:gd name="T10" fmla="*/ 287 w 287"/>
                <a:gd name="T11" fmla="*/ 130 h 1169"/>
                <a:gd name="T12" fmla="*/ 10 w 287"/>
                <a:gd name="T13" fmla="*/ 0 h 1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7" h="1169">
                  <a:moveTo>
                    <a:pt x="10" y="0"/>
                  </a:moveTo>
                  <a:lnTo>
                    <a:pt x="0" y="612"/>
                  </a:lnTo>
                  <a:lnTo>
                    <a:pt x="167" y="1169"/>
                  </a:lnTo>
                  <a:lnTo>
                    <a:pt x="222" y="1150"/>
                  </a:lnTo>
                  <a:lnTo>
                    <a:pt x="130" y="649"/>
                  </a:lnTo>
                  <a:lnTo>
                    <a:pt x="287" y="130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rgbClr val="1F0B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4" name="í$lïdè"/>
            <p:cNvSpPr/>
            <p:nvPr/>
          </p:nvSpPr>
          <p:spPr bwMode="auto">
            <a:xfrm>
              <a:off x="5192713" y="3613151"/>
              <a:ext cx="469900" cy="1781175"/>
            </a:xfrm>
            <a:custGeom>
              <a:avLst/>
              <a:gdLst>
                <a:gd name="T0" fmla="*/ 65 w 296"/>
                <a:gd name="T1" fmla="*/ 112 h 1122"/>
                <a:gd name="T2" fmla="*/ 65 w 296"/>
                <a:gd name="T3" fmla="*/ 631 h 1122"/>
                <a:gd name="T4" fmla="*/ 0 w 296"/>
                <a:gd name="T5" fmla="*/ 1122 h 1122"/>
                <a:gd name="T6" fmla="*/ 65 w 296"/>
                <a:gd name="T7" fmla="*/ 1122 h 1122"/>
                <a:gd name="T8" fmla="*/ 185 w 296"/>
                <a:gd name="T9" fmla="*/ 622 h 1122"/>
                <a:gd name="T10" fmla="*/ 296 w 296"/>
                <a:gd name="T11" fmla="*/ 0 h 1122"/>
                <a:gd name="T12" fmla="*/ 65 w 296"/>
                <a:gd name="T13" fmla="*/ 112 h 1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6" h="1122">
                  <a:moveTo>
                    <a:pt x="65" y="112"/>
                  </a:moveTo>
                  <a:lnTo>
                    <a:pt x="65" y="631"/>
                  </a:lnTo>
                  <a:lnTo>
                    <a:pt x="0" y="1122"/>
                  </a:lnTo>
                  <a:lnTo>
                    <a:pt x="65" y="1122"/>
                  </a:lnTo>
                  <a:lnTo>
                    <a:pt x="185" y="622"/>
                  </a:lnTo>
                  <a:lnTo>
                    <a:pt x="296" y="0"/>
                  </a:lnTo>
                  <a:lnTo>
                    <a:pt x="65" y="112"/>
                  </a:lnTo>
                  <a:close/>
                </a:path>
              </a:pathLst>
            </a:custGeom>
            <a:solidFill>
              <a:srgbClr val="3512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5" name="ïSlíḋè"/>
            <p:cNvSpPr/>
            <p:nvPr/>
          </p:nvSpPr>
          <p:spPr bwMode="auto">
            <a:xfrm>
              <a:off x="6381750" y="3333751"/>
              <a:ext cx="190500" cy="133350"/>
            </a:xfrm>
            <a:custGeom>
              <a:avLst/>
              <a:gdLst>
                <a:gd name="T0" fmla="*/ 0 w 13"/>
                <a:gd name="T1" fmla="*/ 1 h 9"/>
                <a:gd name="T2" fmla="*/ 10 w 13"/>
                <a:gd name="T3" fmla="*/ 1 h 9"/>
                <a:gd name="T4" fmla="*/ 0 w 13"/>
                <a:gd name="T5" fmla="*/ 4 h 9"/>
                <a:gd name="T6" fmla="*/ 0 w 13"/>
                <a:gd name="T7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9">
                  <a:moveTo>
                    <a:pt x="0" y="1"/>
                  </a:moveTo>
                  <a:cubicBezTo>
                    <a:pt x="0" y="1"/>
                    <a:pt x="9" y="0"/>
                    <a:pt x="10" y="1"/>
                  </a:cubicBezTo>
                  <a:cubicBezTo>
                    <a:pt x="11" y="3"/>
                    <a:pt x="13" y="9"/>
                    <a:pt x="0" y="4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F8AC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6" name="ïSḷîdé"/>
            <p:cNvSpPr/>
            <p:nvPr/>
          </p:nvSpPr>
          <p:spPr bwMode="auto">
            <a:xfrm>
              <a:off x="5545138" y="2509838"/>
              <a:ext cx="850900" cy="898525"/>
            </a:xfrm>
            <a:custGeom>
              <a:avLst/>
              <a:gdLst>
                <a:gd name="T0" fmla="*/ 1 w 58"/>
                <a:gd name="T1" fmla="*/ 18 h 61"/>
                <a:gd name="T2" fmla="*/ 5 w 58"/>
                <a:gd name="T3" fmla="*/ 57 h 61"/>
                <a:gd name="T4" fmla="*/ 58 w 58"/>
                <a:gd name="T5" fmla="*/ 61 h 61"/>
                <a:gd name="T6" fmla="*/ 58 w 58"/>
                <a:gd name="T7" fmla="*/ 57 h 61"/>
                <a:gd name="T8" fmla="*/ 18 w 58"/>
                <a:gd name="T9" fmla="*/ 47 h 61"/>
                <a:gd name="T10" fmla="*/ 12 w 58"/>
                <a:gd name="T11" fmla="*/ 12 h 61"/>
                <a:gd name="T12" fmla="*/ 3 w 58"/>
                <a:gd name="T13" fmla="*/ 2 h 61"/>
                <a:gd name="T14" fmla="*/ 1 w 58"/>
                <a:gd name="T15" fmla="*/ 18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8" h="61">
                  <a:moveTo>
                    <a:pt x="1" y="18"/>
                  </a:moveTo>
                  <a:cubicBezTo>
                    <a:pt x="5" y="57"/>
                    <a:pt x="5" y="57"/>
                    <a:pt x="5" y="57"/>
                  </a:cubicBezTo>
                  <a:cubicBezTo>
                    <a:pt x="58" y="61"/>
                    <a:pt x="58" y="61"/>
                    <a:pt x="58" y="61"/>
                  </a:cubicBezTo>
                  <a:cubicBezTo>
                    <a:pt x="58" y="57"/>
                    <a:pt x="58" y="57"/>
                    <a:pt x="58" y="57"/>
                  </a:cubicBezTo>
                  <a:cubicBezTo>
                    <a:pt x="18" y="47"/>
                    <a:pt x="18" y="47"/>
                    <a:pt x="18" y="47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12"/>
                    <a:pt x="11" y="0"/>
                    <a:pt x="3" y="2"/>
                  </a:cubicBezTo>
                  <a:cubicBezTo>
                    <a:pt x="3" y="2"/>
                    <a:pt x="0" y="10"/>
                    <a:pt x="1" y="18"/>
                  </a:cubicBezTo>
                  <a:close/>
                </a:path>
              </a:pathLst>
            </a:custGeom>
            <a:solidFill>
              <a:srgbClr val="FFC7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7" name="íšḻíḑê"/>
            <p:cNvSpPr/>
            <p:nvPr/>
          </p:nvSpPr>
          <p:spPr bwMode="auto">
            <a:xfrm>
              <a:off x="4856163" y="2465388"/>
              <a:ext cx="909638" cy="1487488"/>
            </a:xfrm>
            <a:custGeom>
              <a:avLst/>
              <a:gdLst>
                <a:gd name="T0" fmla="*/ 22 w 62"/>
                <a:gd name="T1" fmla="*/ 5 h 101"/>
                <a:gd name="T2" fmla="*/ 1 w 62"/>
                <a:gd name="T3" fmla="*/ 22 h 101"/>
                <a:gd name="T4" fmla="*/ 5 w 62"/>
                <a:gd name="T5" fmla="*/ 57 h 101"/>
                <a:gd name="T6" fmla="*/ 4 w 62"/>
                <a:gd name="T7" fmla="*/ 85 h 101"/>
                <a:gd name="T8" fmla="*/ 54 w 62"/>
                <a:gd name="T9" fmla="*/ 83 h 101"/>
                <a:gd name="T10" fmla="*/ 54 w 62"/>
                <a:gd name="T11" fmla="*/ 37 h 101"/>
                <a:gd name="T12" fmla="*/ 53 w 62"/>
                <a:gd name="T13" fmla="*/ 5 h 101"/>
                <a:gd name="T14" fmla="*/ 22 w 62"/>
                <a:gd name="T15" fmla="*/ 5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2" h="101">
                  <a:moveTo>
                    <a:pt x="22" y="5"/>
                  </a:moveTo>
                  <a:cubicBezTo>
                    <a:pt x="15" y="7"/>
                    <a:pt x="2" y="13"/>
                    <a:pt x="1" y="22"/>
                  </a:cubicBezTo>
                  <a:cubicBezTo>
                    <a:pt x="0" y="32"/>
                    <a:pt x="5" y="57"/>
                    <a:pt x="5" y="57"/>
                  </a:cubicBezTo>
                  <a:cubicBezTo>
                    <a:pt x="4" y="85"/>
                    <a:pt x="4" y="85"/>
                    <a:pt x="4" y="85"/>
                  </a:cubicBezTo>
                  <a:cubicBezTo>
                    <a:pt x="4" y="85"/>
                    <a:pt x="29" y="101"/>
                    <a:pt x="54" y="83"/>
                  </a:cubicBezTo>
                  <a:cubicBezTo>
                    <a:pt x="54" y="83"/>
                    <a:pt x="53" y="50"/>
                    <a:pt x="54" y="37"/>
                  </a:cubicBezTo>
                  <a:cubicBezTo>
                    <a:pt x="54" y="30"/>
                    <a:pt x="62" y="8"/>
                    <a:pt x="53" y="5"/>
                  </a:cubicBezTo>
                  <a:cubicBezTo>
                    <a:pt x="38" y="0"/>
                    <a:pt x="28" y="3"/>
                    <a:pt x="22" y="5"/>
                  </a:cubicBezTo>
                  <a:close/>
                </a:path>
              </a:pathLst>
            </a:custGeom>
            <a:solidFill>
              <a:srgbClr val="FF23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8" name="íṧľïḓê"/>
            <p:cNvSpPr/>
            <p:nvPr/>
          </p:nvSpPr>
          <p:spPr bwMode="auto">
            <a:xfrm>
              <a:off x="5222875" y="2376488"/>
              <a:ext cx="204788" cy="280988"/>
            </a:xfrm>
            <a:custGeom>
              <a:avLst/>
              <a:gdLst>
                <a:gd name="T0" fmla="*/ 2 w 14"/>
                <a:gd name="T1" fmla="*/ 1 h 19"/>
                <a:gd name="T2" fmla="*/ 0 w 14"/>
                <a:gd name="T3" fmla="*/ 11 h 19"/>
                <a:gd name="T4" fmla="*/ 12 w 14"/>
                <a:gd name="T5" fmla="*/ 14 h 19"/>
                <a:gd name="T6" fmla="*/ 9 w 14"/>
                <a:gd name="T7" fmla="*/ 0 h 19"/>
                <a:gd name="T8" fmla="*/ 2 w 14"/>
                <a:gd name="T9" fmla="*/ 1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9">
                  <a:moveTo>
                    <a:pt x="2" y="1"/>
                  </a:moveTo>
                  <a:cubicBezTo>
                    <a:pt x="0" y="11"/>
                    <a:pt x="0" y="11"/>
                    <a:pt x="0" y="11"/>
                  </a:cubicBezTo>
                  <a:cubicBezTo>
                    <a:pt x="0" y="11"/>
                    <a:pt x="14" y="19"/>
                    <a:pt x="12" y="14"/>
                  </a:cubicBezTo>
                  <a:cubicBezTo>
                    <a:pt x="10" y="9"/>
                    <a:pt x="9" y="0"/>
                    <a:pt x="9" y="0"/>
                  </a:cubicBezTo>
                  <a:lnTo>
                    <a:pt x="2" y="1"/>
                  </a:lnTo>
                  <a:close/>
                </a:path>
              </a:pathLst>
            </a:custGeom>
            <a:solidFill>
              <a:srgbClr val="FFC1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9" name="ï$1îďê"/>
            <p:cNvSpPr/>
            <p:nvPr/>
          </p:nvSpPr>
          <p:spPr bwMode="auto">
            <a:xfrm>
              <a:off x="5208588" y="2155826"/>
              <a:ext cx="204788" cy="323850"/>
            </a:xfrm>
            <a:custGeom>
              <a:avLst/>
              <a:gdLst>
                <a:gd name="T0" fmla="*/ 1 w 14"/>
                <a:gd name="T1" fmla="*/ 4 h 22"/>
                <a:gd name="T2" fmla="*/ 1 w 14"/>
                <a:gd name="T3" fmla="*/ 13 h 22"/>
                <a:gd name="T4" fmla="*/ 8 w 14"/>
                <a:gd name="T5" fmla="*/ 21 h 22"/>
                <a:gd name="T6" fmla="*/ 13 w 14"/>
                <a:gd name="T7" fmla="*/ 18 h 22"/>
                <a:gd name="T8" fmla="*/ 8 w 14"/>
                <a:gd name="T9" fmla="*/ 2 h 22"/>
                <a:gd name="T10" fmla="*/ 1 w 14"/>
                <a:gd name="T11" fmla="*/ 4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" h="22">
                  <a:moveTo>
                    <a:pt x="1" y="4"/>
                  </a:moveTo>
                  <a:cubicBezTo>
                    <a:pt x="1" y="6"/>
                    <a:pt x="0" y="10"/>
                    <a:pt x="1" y="13"/>
                  </a:cubicBezTo>
                  <a:cubicBezTo>
                    <a:pt x="3" y="15"/>
                    <a:pt x="5" y="20"/>
                    <a:pt x="8" y="21"/>
                  </a:cubicBezTo>
                  <a:cubicBezTo>
                    <a:pt x="12" y="22"/>
                    <a:pt x="13" y="19"/>
                    <a:pt x="13" y="18"/>
                  </a:cubicBezTo>
                  <a:cubicBezTo>
                    <a:pt x="14" y="15"/>
                    <a:pt x="13" y="4"/>
                    <a:pt x="8" y="2"/>
                  </a:cubicBezTo>
                  <a:cubicBezTo>
                    <a:pt x="4" y="0"/>
                    <a:pt x="2" y="2"/>
                    <a:pt x="1" y="4"/>
                  </a:cubicBezTo>
                  <a:close/>
                </a:path>
              </a:pathLst>
            </a:custGeom>
            <a:solidFill>
              <a:srgbClr val="FFC1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0" name="í$lïḍé"/>
            <p:cNvSpPr/>
            <p:nvPr/>
          </p:nvSpPr>
          <p:spPr bwMode="auto">
            <a:xfrm>
              <a:off x="5178425" y="2127251"/>
              <a:ext cx="176213" cy="249238"/>
            </a:xfrm>
            <a:custGeom>
              <a:avLst/>
              <a:gdLst>
                <a:gd name="T0" fmla="*/ 12 w 12"/>
                <a:gd name="T1" fmla="*/ 5 h 17"/>
                <a:gd name="T2" fmla="*/ 7 w 12"/>
                <a:gd name="T3" fmla="*/ 7 h 17"/>
                <a:gd name="T4" fmla="*/ 4 w 12"/>
                <a:gd name="T5" fmla="*/ 11 h 17"/>
                <a:gd name="T6" fmla="*/ 4 w 12"/>
                <a:gd name="T7" fmla="*/ 16 h 17"/>
                <a:gd name="T8" fmla="*/ 2 w 12"/>
                <a:gd name="T9" fmla="*/ 6 h 17"/>
                <a:gd name="T10" fmla="*/ 12 w 12"/>
                <a:gd name="T11" fmla="*/ 5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7">
                  <a:moveTo>
                    <a:pt x="12" y="5"/>
                  </a:moveTo>
                  <a:cubicBezTo>
                    <a:pt x="12" y="5"/>
                    <a:pt x="10" y="8"/>
                    <a:pt x="7" y="7"/>
                  </a:cubicBezTo>
                  <a:cubicBezTo>
                    <a:pt x="3" y="7"/>
                    <a:pt x="4" y="10"/>
                    <a:pt x="4" y="11"/>
                  </a:cubicBezTo>
                  <a:cubicBezTo>
                    <a:pt x="4" y="11"/>
                    <a:pt x="5" y="16"/>
                    <a:pt x="4" y="16"/>
                  </a:cubicBezTo>
                  <a:cubicBezTo>
                    <a:pt x="3" y="17"/>
                    <a:pt x="0" y="11"/>
                    <a:pt x="2" y="6"/>
                  </a:cubicBezTo>
                  <a:cubicBezTo>
                    <a:pt x="3" y="2"/>
                    <a:pt x="10" y="0"/>
                    <a:pt x="12" y="5"/>
                  </a:cubicBezTo>
                  <a:close/>
                </a:path>
              </a:pathLst>
            </a:custGeom>
            <a:solidFill>
              <a:srgbClr val="171B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1" name="î$ḻidé"/>
            <p:cNvSpPr/>
            <p:nvPr/>
          </p:nvSpPr>
          <p:spPr bwMode="auto">
            <a:xfrm>
              <a:off x="5251450" y="2333626"/>
              <a:ext cx="176213" cy="146050"/>
            </a:xfrm>
            <a:custGeom>
              <a:avLst/>
              <a:gdLst>
                <a:gd name="T0" fmla="*/ 0 w 12"/>
                <a:gd name="T1" fmla="*/ 4 h 10"/>
                <a:gd name="T2" fmla="*/ 8 w 12"/>
                <a:gd name="T3" fmla="*/ 6 h 10"/>
                <a:gd name="T4" fmla="*/ 11 w 12"/>
                <a:gd name="T5" fmla="*/ 1 h 10"/>
                <a:gd name="T6" fmla="*/ 7 w 12"/>
                <a:gd name="T7" fmla="*/ 9 h 10"/>
                <a:gd name="T8" fmla="*/ 0 w 12"/>
                <a:gd name="T9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0">
                  <a:moveTo>
                    <a:pt x="0" y="4"/>
                  </a:moveTo>
                  <a:cubicBezTo>
                    <a:pt x="0" y="4"/>
                    <a:pt x="4" y="7"/>
                    <a:pt x="8" y="6"/>
                  </a:cubicBezTo>
                  <a:cubicBezTo>
                    <a:pt x="10" y="6"/>
                    <a:pt x="11" y="2"/>
                    <a:pt x="11" y="1"/>
                  </a:cubicBezTo>
                  <a:cubicBezTo>
                    <a:pt x="10" y="0"/>
                    <a:pt x="12" y="8"/>
                    <a:pt x="7" y="9"/>
                  </a:cubicBezTo>
                  <a:cubicBezTo>
                    <a:pt x="2" y="10"/>
                    <a:pt x="0" y="4"/>
                    <a:pt x="0" y="4"/>
                  </a:cubicBezTo>
                  <a:close/>
                </a:path>
              </a:pathLst>
            </a:custGeom>
            <a:solidFill>
              <a:srgbClr val="171B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2" name="iš1iḓè"/>
            <p:cNvSpPr/>
            <p:nvPr/>
          </p:nvSpPr>
          <p:spPr bwMode="auto">
            <a:xfrm>
              <a:off x="5164138" y="2936876"/>
              <a:ext cx="1819275" cy="1030288"/>
            </a:xfrm>
            <a:custGeom>
              <a:avLst/>
              <a:gdLst>
                <a:gd name="T0" fmla="*/ 1146 w 1146"/>
                <a:gd name="T1" fmla="*/ 139 h 649"/>
                <a:gd name="T2" fmla="*/ 64 w 1146"/>
                <a:gd name="T3" fmla="*/ 649 h 649"/>
                <a:gd name="T4" fmla="*/ 0 w 1146"/>
                <a:gd name="T5" fmla="*/ 500 h 649"/>
                <a:gd name="T6" fmla="*/ 1081 w 1146"/>
                <a:gd name="T7" fmla="*/ 0 h 649"/>
                <a:gd name="T8" fmla="*/ 1146 w 1146"/>
                <a:gd name="T9" fmla="*/ 139 h 6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46" h="649">
                  <a:moveTo>
                    <a:pt x="1146" y="139"/>
                  </a:moveTo>
                  <a:lnTo>
                    <a:pt x="64" y="649"/>
                  </a:lnTo>
                  <a:lnTo>
                    <a:pt x="0" y="500"/>
                  </a:lnTo>
                  <a:lnTo>
                    <a:pt x="1081" y="0"/>
                  </a:lnTo>
                  <a:lnTo>
                    <a:pt x="1146" y="139"/>
                  </a:lnTo>
                  <a:close/>
                </a:path>
              </a:pathLst>
            </a:custGeom>
            <a:solidFill>
              <a:srgbClr val="FFBD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3" name="ísḷíḑè"/>
            <p:cNvSpPr/>
            <p:nvPr/>
          </p:nvSpPr>
          <p:spPr bwMode="auto">
            <a:xfrm>
              <a:off x="5559425" y="3613151"/>
              <a:ext cx="176213" cy="147638"/>
            </a:xfrm>
            <a:custGeom>
              <a:avLst/>
              <a:gdLst>
                <a:gd name="T0" fmla="*/ 1 w 12"/>
                <a:gd name="T1" fmla="*/ 0 h 10"/>
                <a:gd name="T2" fmla="*/ 11 w 12"/>
                <a:gd name="T3" fmla="*/ 2 h 10"/>
                <a:gd name="T4" fmla="*/ 0 w 12"/>
                <a:gd name="T5" fmla="*/ 3 h 10"/>
                <a:gd name="T6" fmla="*/ 1 w 12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0">
                  <a:moveTo>
                    <a:pt x="1" y="0"/>
                  </a:moveTo>
                  <a:cubicBezTo>
                    <a:pt x="1" y="0"/>
                    <a:pt x="10" y="0"/>
                    <a:pt x="11" y="2"/>
                  </a:cubicBezTo>
                  <a:cubicBezTo>
                    <a:pt x="12" y="3"/>
                    <a:pt x="12" y="10"/>
                    <a:pt x="0" y="3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rgbClr val="FFC1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4" name="išlíḓê"/>
            <p:cNvSpPr/>
            <p:nvPr/>
          </p:nvSpPr>
          <p:spPr bwMode="auto">
            <a:xfrm>
              <a:off x="4811713" y="2627313"/>
              <a:ext cx="777875" cy="1044575"/>
            </a:xfrm>
            <a:custGeom>
              <a:avLst/>
              <a:gdLst>
                <a:gd name="T0" fmla="*/ 2 w 53"/>
                <a:gd name="T1" fmla="*/ 19 h 71"/>
                <a:gd name="T2" fmla="*/ 0 w 53"/>
                <a:gd name="T3" fmla="*/ 58 h 71"/>
                <a:gd name="T4" fmla="*/ 52 w 53"/>
                <a:gd name="T5" fmla="*/ 71 h 71"/>
                <a:gd name="T6" fmla="*/ 53 w 53"/>
                <a:gd name="T7" fmla="*/ 67 h 71"/>
                <a:gd name="T8" fmla="*/ 15 w 53"/>
                <a:gd name="T9" fmla="*/ 51 h 71"/>
                <a:gd name="T10" fmla="*/ 15 w 53"/>
                <a:gd name="T11" fmla="*/ 15 h 71"/>
                <a:gd name="T12" fmla="*/ 8 w 53"/>
                <a:gd name="T13" fmla="*/ 4 h 71"/>
                <a:gd name="T14" fmla="*/ 2 w 53"/>
                <a:gd name="T15" fmla="*/ 19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3" h="71">
                  <a:moveTo>
                    <a:pt x="2" y="19"/>
                  </a:moveTo>
                  <a:cubicBezTo>
                    <a:pt x="0" y="58"/>
                    <a:pt x="0" y="58"/>
                    <a:pt x="0" y="58"/>
                  </a:cubicBezTo>
                  <a:cubicBezTo>
                    <a:pt x="52" y="71"/>
                    <a:pt x="52" y="71"/>
                    <a:pt x="52" y="71"/>
                  </a:cubicBezTo>
                  <a:cubicBezTo>
                    <a:pt x="53" y="67"/>
                    <a:pt x="53" y="67"/>
                    <a:pt x="53" y="67"/>
                  </a:cubicBezTo>
                  <a:cubicBezTo>
                    <a:pt x="15" y="51"/>
                    <a:pt x="15" y="51"/>
                    <a:pt x="15" y="51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0"/>
                    <a:pt x="8" y="4"/>
                  </a:cubicBezTo>
                  <a:cubicBezTo>
                    <a:pt x="4" y="5"/>
                    <a:pt x="3" y="11"/>
                    <a:pt x="2" y="19"/>
                  </a:cubicBezTo>
                  <a:close/>
                </a:path>
              </a:pathLst>
            </a:custGeom>
            <a:solidFill>
              <a:srgbClr val="FFC7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5" name="ís1ïdê"/>
            <p:cNvSpPr/>
            <p:nvPr/>
          </p:nvSpPr>
          <p:spPr bwMode="auto">
            <a:xfrm>
              <a:off x="6880225" y="2936876"/>
              <a:ext cx="307975" cy="220663"/>
            </a:xfrm>
            <a:custGeom>
              <a:avLst/>
              <a:gdLst>
                <a:gd name="T0" fmla="*/ 0 w 194"/>
                <a:gd name="T1" fmla="*/ 0 h 139"/>
                <a:gd name="T2" fmla="*/ 194 w 194"/>
                <a:gd name="T3" fmla="*/ 0 h 139"/>
                <a:gd name="T4" fmla="*/ 65 w 194"/>
                <a:gd name="T5" fmla="*/ 139 h 139"/>
                <a:gd name="T6" fmla="*/ 0 w 194"/>
                <a:gd name="T7" fmla="*/ 0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4" h="139">
                  <a:moveTo>
                    <a:pt x="0" y="0"/>
                  </a:moveTo>
                  <a:lnTo>
                    <a:pt x="194" y="0"/>
                  </a:lnTo>
                  <a:lnTo>
                    <a:pt x="65" y="13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F75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</p:grpSp>
    </p:spTree>
    <p:custDataLst>
      <p:tags r:id="rId2"/>
    </p:custData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直接连接符 12"/>
          <p:cNvCxnSpPr>
            <a:stCxn id="18" idx="7"/>
            <a:endCxn id="16" idx="3"/>
          </p:cNvCxnSpPr>
          <p:nvPr/>
        </p:nvCxnSpPr>
        <p:spPr>
          <a:xfrm flipV="1">
            <a:off x="5185373" y="2844704"/>
            <a:ext cx="1821252" cy="1941823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îŝ1îḍè"/>
          <p:cNvSpPr/>
          <p:nvPr/>
        </p:nvSpPr>
        <p:spPr bwMode="auto">
          <a:xfrm>
            <a:off x="4244470" y="1902321"/>
            <a:ext cx="1102336" cy="1104070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id-ID" dirty="0">
              <a:latin typeface="思源黑体 CN Normal" panose="020B0400000000000000" pitchFamily="34" charset="-122"/>
              <a:ea typeface="思源黑体 CN Normal" panose="020B0400000000000000" pitchFamily="34" charset="-122"/>
            </a:endParaRPr>
          </a:p>
        </p:txBody>
      </p:sp>
      <p:sp>
        <p:nvSpPr>
          <p:cNvPr id="15" name="i$ļïḑé"/>
          <p:cNvSpPr/>
          <p:nvPr/>
        </p:nvSpPr>
        <p:spPr>
          <a:xfrm>
            <a:off x="4557371" y="2209866"/>
            <a:ext cx="476538" cy="488977"/>
          </a:xfrm>
          <a:custGeom>
            <a:avLst/>
            <a:gdLst>
              <a:gd name="T0" fmla="*/ 4313 w 5734"/>
              <a:gd name="T1" fmla="*/ 3918 h 5892"/>
              <a:gd name="T2" fmla="*/ 5734 w 5734"/>
              <a:gd name="T3" fmla="*/ 2497 h 5892"/>
              <a:gd name="T4" fmla="*/ 4313 w 5734"/>
              <a:gd name="T5" fmla="*/ 1076 h 5892"/>
              <a:gd name="T6" fmla="*/ 4149 w 5734"/>
              <a:gd name="T7" fmla="*/ 1085 h 5892"/>
              <a:gd name="T8" fmla="*/ 3733 w 5734"/>
              <a:gd name="T9" fmla="*/ 378 h 5892"/>
              <a:gd name="T10" fmla="*/ 2768 w 5734"/>
              <a:gd name="T11" fmla="*/ 0 h 5892"/>
              <a:gd name="T12" fmla="*/ 1389 w 5734"/>
              <a:gd name="T13" fmla="*/ 1076 h 5892"/>
              <a:gd name="T14" fmla="*/ 0 w 5734"/>
              <a:gd name="T15" fmla="*/ 2497 h 5892"/>
              <a:gd name="T16" fmla="*/ 1421 w 5734"/>
              <a:gd name="T17" fmla="*/ 3918 h 5892"/>
              <a:gd name="T18" fmla="*/ 2140 w 5734"/>
              <a:gd name="T19" fmla="*/ 3918 h 5892"/>
              <a:gd name="T20" fmla="*/ 2140 w 5734"/>
              <a:gd name="T21" fmla="*/ 4472 h 5892"/>
              <a:gd name="T22" fmla="*/ 1315 w 5734"/>
              <a:gd name="T23" fmla="*/ 4472 h 5892"/>
              <a:gd name="T24" fmla="*/ 954 w 5734"/>
              <a:gd name="T25" fmla="*/ 4259 h 5892"/>
              <a:gd name="T26" fmla="*/ 540 w 5734"/>
              <a:gd name="T27" fmla="*/ 4672 h 5892"/>
              <a:gd name="T28" fmla="*/ 954 w 5734"/>
              <a:gd name="T29" fmla="*/ 5086 h 5892"/>
              <a:gd name="T30" fmla="*/ 1315 w 5734"/>
              <a:gd name="T31" fmla="*/ 4872 h 5892"/>
              <a:gd name="T32" fmla="*/ 2340 w 5734"/>
              <a:gd name="T33" fmla="*/ 4872 h 5892"/>
              <a:gd name="T34" fmla="*/ 2540 w 5734"/>
              <a:gd name="T35" fmla="*/ 4672 h 5892"/>
              <a:gd name="T36" fmla="*/ 2540 w 5734"/>
              <a:gd name="T37" fmla="*/ 3918 h 5892"/>
              <a:gd name="T38" fmla="*/ 2667 w 5734"/>
              <a:gd name="T39" fmla="*/ 3918 h 5892"/>
              <a:gd name="T40" fmla="*/ 2667 w 5734"/>
              <a:gd name="T41" fmla="*/ 5117 h 5892"/>
              <a:gd name="T42" fmla="*/ 2454 w 5734"/>
              <a:gd name="T43" fmla="*/ 5479 h 5892"/>
              <a:gd name="T44" fmla="*/ 2867 w 5734"/>
              <a:gd name="T45" fmla="*/ 5892 h 5892"/>
              <a:gd name="T46" fmla="*/ 3280 w 5734"/>
              <a:gd name="T47" fmla="*/ 5479 h 5892"/>
              <a:gd name="T48" fmla="*/ 3067 w 5734"/>
              <a:gd name="T49" fmla="*/ 5117 h 5892"/>
              <a:gd name="T50" fmla="*/ 3067 w 5734"/>
              <a:gd name="T51" fmla="*/ 3918 h 5892"/>
              <a:gd name="T52" fmla="*/ 3194 w 5734"/>
              <a:gd name="T53" fmla="*/ 3918 h 5892"/>
              <a:gd name="T54" fmla="*/ 3194 w 5734"/>
              <a:gd name="T55" fmla="*/ 4691 h 5892"/>
              <a:gd name="T56" fmla="*/ 3394 w 5734"/>
              <a:gd name="T57" fmla="*/ 4891 h 5892"/>
              <a:gd name="T58" fmla="*/ 4430 w 5734"/>
              <a:gd name="T59" fmla="*/ 4891 h 5892"/>
              <a:gd name="T60" fmla="*/ 4780 w 5734"/>
              <a:gd name="T61" fmla="*/ 5085 h 5892"/>
              <a:gd name="T62" fmla="*/ 5194 w 5734"/>
              <a:gd name="T63" fmla="*/ 4672 h 5892"/>
              <a:gd name="T64" fmla="*/ 4780 w 5734"/>
              <a:gd name="T65" fmla="*/ 4259 h 5892"/>
              <a:gd name="T66" fmla="*/ 4409 w 5734"/>
              <a:gd name="T67" fmla="*/ 4491 h 5892"/>
              <a:gd name="T68" fmla="*/ 3594 w 5734"/>
              <a:gd name="T69" fmla="*/ 4491 h 5892"/>
              <a:gd name="T70" fmla="*/ 3594 w 5734"/>
              <a:gd name="T71" fmla="*/ 3918 h 5892"/>
              <a:gd name="T72" fmla="*/ 4313 w 5734"/>
              <a:gd name="T73" fmla="*/ 3918 h 58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5734" h="5892">
                <a:moveTo>
                  <a:pt x="4313" y="3918"/>
                </a:moveTo>
                <a:cubicBezTo>
                  <a:pt x="5096" y="3918"/>
                  <a:pt x="5734" y="3280"/>
                  <a:pt x="5734" y="2497"/>
                </a:cubicBezTo>
                <a:cubicBezTo>
                  <a:pt x="5734" y="1713"/>
                  <a:pt x="5096" y="1076"/>
                  <a:pt x="4313" y="1076"/>
                </a:cubicBezTo>
                <a:cubicBezTo>
                  <a:pt x="4258" y="1076"/>
                  <a:pt x="4203" y="1079"/>
                  <a:pt x="4149" y="1085"/>
                </a:cubicBezTo>
                <a:cubicBezTo>
                  <a:pt x="4084" y="816"/>
                  <a:pt x="3940" y="570"/>
                  <a:pt x="3733" y="378"/>
                </a:cubicBezTo>
                <a:cubicBezTo>
                  <a:pt x="3470" y="134"/>
                  <a:pt x="3127" y="0"/>
                  <a:pt x="2768" y="0"/>
                </a:cubicBezTo>
                <a:cubicBezTo>
                  <a:pt x="2107" y="0"/>
                  <a:pt x="1544" y="451"/>
                  <a:pt x="1389" y="1076"/>
                </a:cubicBezTo>
                <a:cubicBezTo>
                  <a:pt x="620" y="1093"/>
                  <a:pt x="0" y="1724"/>
                  <a:pt x="0" y="2497"/>
                </a:cubicBezTo>
                <a:cubicBezTo>
                  <a:pt x="0" y="3281"/>
                  <a:pt x="638" y="3918"/>
                  <a:pt x="1421" y="3918"/>
                </a:cubicBezTo>
                <a:lnTo>
                  <a:pt x="2140" y="3918"/>
                </a:lnTo>
                <a:lnTo>
                  <a:pt x="2140" y="4472"/>
                </a:lnTo>
                <a:lnTo>
                  <a:pt x="1315" y="4472"/>
                </a:lnTo>
                <a:cubicBezTo>
                  <a:pt x="1245" y="4345"/>
                  <a:pt x="1109" y="4259"/>
                  <a:pt x="954" y="4259"/>
                </a:cubicBezTo>
                <a:cubicBezTo>
                  <a:pt x="726" y="4259"/>
                  <a:pt x="540" y="4444"/>
                  <a:pt x="540" y="4672"/>
                </a:cubicBezTo>
                <a:cubicBezTo>
                  <a:pt x="540" y="4900"/>
                  <a:pt x="726" y="5086"/>
                  <a:pt x="954" y="5086"/>
                </a:cubicBezTo>
                <a:cubicBezTo>
                  <a:pt x="1109" y="5086"/>
                  <a:pt x="1245" y="4999"/>
                  <a:pt x="1315" y="4872"/>
                </a:cubicBezTo>
                <a:lnTo>
                  <a:pt x="2340" y="4872"/>
                </a:lnTo>
                <a:cubicBezTo>
                  <a:pt x="2451" y="4872"/>
                  <a:pt x="2540" y="4783"/>
                  <a:pt x="2540" y="4672"/>
                </a:cubicBezTo>
                <a:lnTo>
                  <a:pt x="2540" y="3918"/>
                </a:lnTo>
                <a:lnTo>
                  <a:pt x="2667" y="3918"/>
                </a:lnTo>
                <a:lnTo>
                  <a:pt x="2667" y="5117"/>
                </a:lnTo>
                <a:cubicBezTo>
                  <a:pt x="2540" y="5188"/>
                  <a:pt x="2454" y="5323"/>
                  <a:pt x="2454" y="5479"/>
                </a:cubicBezTo>
                <a:cubicBezTo>
                  <a:pt x="2454" y="5707"/>
                  <a:pt x="2639" y="5892"/>
                  <a:pt x="2867" y="5892"/>
                </a:cubicBezTo>
                <a:cubicBezTo>
                  <a:pt x="3095" y="5892"/>
                  <a:pt x="3280" y="5707"/>
                  <a:pt x="3280" y="5479"/>
                </a:cubicBezTo>
                <a:cubicBezTo>
                  <a:pt x="3280" y="5323"/>
                  <a:pt x="3194" y="5188"/>
                  <a:pt x="3067" y="5117"/>
                </a:cubicBezTo>
                <a:lnTo>
                  <a:pt x="3067" y="3918"/>
                </a:lnTo>
                <a:lnTo>
                  <a:pt x="3194" y="3918"/>
                </a:lnTo>
                <a:lnTo>
                  <a:pt x="3194" y="4691"/>
                </a:lnTo>
                <a:cubicBezTo>
                  <a:pt x="3194" y="4802"/>
                  <a:pt x="3283" y="4891"/>
                  <a:pt x="3394" y="4891"/>
                </a:cubicBezTo>
                <a:lnTo>
                  <a:pt x="4430" y="4891"/>
                </a:lnTo>
                <a:cubicBezTo>
                  <a:pt x="4503" y="5008"/>
                  <a:pt x="4633" y="5085"/>
                  <a:pt x="4780" y="5085"/>
                </a:cubicBezTo>
                <a:cubicBezTo>
                  <a:pt x="5008" y="5085"/>
                  <a:pt x="5194" y="4900"/>
                  <a:pt x="5194" y="4672"/>
                </a:cubicBezTo>
                <a:cubicBezTo>
                  <a:pt x="5194" y="4444"/>
                  <a:pt x="5008" y="4259"/>
                  <a:pt x="4780" y="4259"/>
                </a:cubicBezTo>
                <a:cubicBezTo>
                  <a:pt x="4617" y="4259"/>
                  <a:pt x="4476" y="4354"/>
                  <a:pt x="4409" y="4491"/>
                </a:cubicBezTo>
                <a:lnTo>
                  <a:pt x="3594" y="4491"/>
                </a:lnTo>
                <a:lnTo>
                  <a:pt x="3594" y="3918"/>
                </a:lnTo>
                <a:lnTo>
                  <a:pt x="4313" y="3918"/>
                </a:lnTo>
                <a:close/>
              </a:path>
            </a:pathLst>
          </a:custGeom>
          <a:gradFill>
            <a:gsLst>
              <a:gs pos="38000">
                <a:srgbClr val="4EBCF7"/>
              </a:gs>
              <a:gs pos="100000">
                <a:srgbClr val="0870D3"/>
              </a:gs>
            </a:gsLst>
            <a:lin ang="10800000" scaled="0"/>
          </a:gradFill>
          <a:ln>
            <a:noFill/>
          </a:ln>
          <a:effectLst>
            <a:outerShdw blurRad="762000" dist="2540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360000" bIns="45720" numCol="1" spcCol="0" rtlCol="0" fromWordArt="0" anchor="ctr" anchorCtr="0" forceAA="0" compatLnSpc="1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/>
            <a:endParaRPr sz="1400" b="1">
              <a:solidFill>
                <a:schemeClr val="lt1"/>
              </a:solidFill>
              <a:latin typeface="思源黑体 CN Normal" panose="020B0400000000000000" pitchFamily="34" charset="-122"/>
              <a:ea typeface="思源黑体 CN Normal" panose="020B0400000000000000" pitchFamily="34" charset="-122"/>
              <a:cs typeface="Open Sans" panose="020B0606030504020204" charset="0"/>
            </a:endParaRPr>
          </a:p>
        </p:txBody>
      </p:sp>
      <p:sp>
        <p:nvSpPr>
          <p:cNvPr id="16" name="îšḷïḋè"/>
          <p:cNvSpPr/>
          <p:nvPr/>
        </p:nvSpPr>
        <p:spPr bwMode="auto">
          <a:xfrm>
            <a:off x="6845193" y="1902321"/>
            <a:ext cx="1102336" cy="1104070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id-ID" dirty="0">
              <a:latin typeface="思源黑体 CN Normal" panose="020B0400000000000000" pitchFamily="34" charset="-122"/>
              <a:ea typeface="思源黑体 CN Normal" panose="020B0400000000000000" pitchFamily="34" charset="-122"/>
            </a:endParaRPr>
          </a:p>
        </p:txBody>
      </p:sp>
      <p:sp>
        <p:nvSpPr>
          <p:cNvPr id="17" name="ïṧ1îḍê"/>
          <p:cNvSpPr/>
          <p:nvPr/>
        </p:nvSpPr>
        <p:spPr>
          <a:xfrm>
            <a:off x="7158093" y="2209866"/>
            <a:ext cx="476538" cy="488977"/>
          </a:xfrm>
          <a:custGeom>
            <a:avLst/>
            <a:gdLst>
              <a:gd name="T0" fmla="*/ 4313 w 5734"/>
              <a:gd name="T1" fmla="*/ 3918 h 5892"/>
              <a:gd name="T2" fmla="*/ 5734 w 5734"/>
              <a:gd name="T3" fmla="*/ 2497 h 5892"/>
              <a:gd name="T4" fmla="*/ 4313 w 5734"/>
              <a:gd name="T5" fmla="*/ 1076 h 5892"/>
              <a:gd name="T6" fmla="*/ 4149 w 5734"/>
              <a:gd name="T7" fmla="*/ 1085 h 5892"/>
              <a:gd name="T8" fmla="*/ 3733 w 5734"/>
              <a:gd name="T9" fmla="*/ 378 h 5892"/>
              <a:gd name="T10" fmla="*/ 2768 w 5734"/>
              <a:gd name="T11" fmla="*/ 0 h 5892"/>
              <a:gd name="T12" fmla="*/ 1389 w 5734"/>
              <a:gd name="T13" fmla="*/ 1076 h 5892"/>
              <a:gd name="T14" fmla="*/ 0 w 5734"/>
              <a:gd name="T15" fmla="*/ 2497 h 5892"/>
              <a:gd name="T16" fmla="*/ 1421 w 5734"/>
              <a:gd name="T17" fmla="*/ 3918 h 5892"/>
              <a:gd name="T18" fmla="*/ 2140 w 5734"/>
              <a:gd name="T19" fmla="*/ 3918 h 5892"/>
              <a:gd name="T20" fmla="*/ 2140 w 5734"/>
              <a:gd name="T21" fmla="*/ 4472 h 5892"/>
              <a:gd name="T22" fmla="*/ 1315 w 5734"/>
              <a:gd name="T23" fmla="*/ 4472 h 5892"/>
              <a:gd name="T24" fmla="*/ 954 w 5734"/>
              <a:gd name="T25" fmla="*/ 4259 h 5892"/>
              <a:gd name="T26" fmla="*/ 540 w 5734"/>
              <a:gd name="T27" fmla="*/ 4672 h 5892"/>
              <a:gd name="T28" fmla="*/ 954 w 5734"/>
              <a:gd name="T29" fmla="*/ 5086 h 5892"/>
              <a:gd name="T30" fmla="*/ 1315 w 5734"/>
              <a:gd name="T31" fmla="*/ 4872 h 5892"/>
              <a:gd name="T32" fmla="*/ 2340 w 5734"/>
              <a:gd name="T33" fmla="*/ 4872 h 5892"/>
              <a:gd name="T34" fmla="*/ 2540 w 5734"/>
              <a:gd name="T35" fmla="*/ 4672 h 5892"/>
              <a:gd name="T36" fmla="*/ 2540 w 5734"/>
              <a:gd name="T37" fmla="*/ 3918 h 5892"/>
              <a:gd name="T38" fmla="*/ 2667 w 5734"/>
              <a:gd name="T39" fmla="*/ 3918 h 5892"/>
              <a:gd name="T40" fmla="*/ 2667 w 5734"/>
              <a:gd name="T41" fmla="*/ 5117 h 5892"/>
              <a:gd name="T42" fmla="*/ 2454 w 5734"/>
              <a:gd name="T43" fmla="*/ 5479 h 5892"/>
              <a:gd name="T44" fmla="*/ 2867 w 5734"/>
              <a:gd name="T45" fmla="*/ 5892 h 5892"/>
              <a:gd name="T46" fmla="*/ 3280 w 5734"/>
              <a:gd name="T47" fmla="*/ 5479 h 5892"/>
              <a:gd name="T48" fmla="*/ 3067 w 5734"/>
              <a:gd name="T49" fmla="*/ 5117 h 5892"/>
              <a:gd name="T50" fmla="*/ 3067 w 5734"/>
              <a:gd name="T51" fmla="*/ 3918 h 5892"/>
              <a:gd name="T52" fmla="*/ 3194 w 5734"/>
              <a:gd name="T53" fmla="*/ 3918 h 5892"/>
              <a:gd name="T54" fmla="*/ 3194 w 5734"/>
              <a:gd name="T55" fmla="*/ 4691 h 5892"/>
              <a:gd name="T56" fmla="*/ 3394 w 5734"/>
              <a:gd name="T57" fmla="*/ 4891 h 5892"/>
              <a:gd name="T58" fmla="*/ 4430 w 5734"/>
              <a:gd name="T59" fmla="*/ 4891 h 5892"/>
              <a:gd name="T60" fmla="*/ 4780 w 5734"/>
              <a:gd name="T61" fmla="*/ 5085 h 5892"/>
              <a:gd name="T62" fmla="*/ 5194 w 5734"/>
              <a:gd name="T63" fmla="*/ 4672 h 5892"/>
              <a:gd name="T64" fmla="*/ 4780 w 5734"/>
              <a:gd name="T65" fmla="*/ 4259 h 5892"/>
              <a:gd name="T66" fmla="*/ 4409 w 5734"/>
              <a:gd name="T67" fmla="*/ 4491 h 5892"/>
              <a:gd name="T68" fmla="*/ 3594 w 5734"/>
              <a:gd name="T69" fmla="*/ 4491 h 5892"/>
              <a:gd name="T70" fmla="*/ 3594 w 5734"/>
              <a:gd name="T71" fmla="*/ 3918 h 5892"/>
              <a:gd name="T72" fmla="*/ 4313 w 5734"/>
              <a:gd name="T73" fmla="*/ 3918 h 58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5734" h="5892">
                <a:moveTo>
                  <a:pt x="4313" y="3918"/>
                </a:moveTo>
                <a:cubicBezTo>
                  <a:pt x="5096" y="3918"/>
                  <a:pt x="5734" y="3280"/>
                  <a:pt x="5734" y="2497"/>
                </a:cubicBezTo>
                <a:cubicBezTo>
                  <a:pt x="5734" y="1713"/>
                  <a:pt x="5096" y="1076"/>
                  <a:pt x="4313" y="1076"/>
                </a:cubicBezTo>
                <a:cubicBezTo>
                  <a:pt x="4258" y="1076"/>
                  <a:pt x="4203" y="1079"/>
                  <a:pt x="4149" y="1085"/>
                </a:cubicBezTo>
                <a:cubicBezTo>
                  <a:pt x="4084" y="816"/>
                  <a:pt x="3940" y="570"/>
                  <a:pt x="3733" y="378"/>
                </a:cubicBezTo>
                <a:cubicBezTo>
                  <a:pt x="3470" y="134"/>
                  <a:pt x="3127" y="0"/>
                  <a:pt x="2768" y="0"/>
                </a:cubicBezTo>
                <a:cubicBezTo>
                  <a:pt x="2107" y="0"/>
                  <a:pt x="1544" y="451"/>
                  <a:pt x="1389" y="1076"/>
                </a:cubicBezTo>
                <a:cubicBezTo>
                  <a:pt x="620" y="1093"/>
                  <a:pt x="0" y="1724"/>
                  <a:pt x="0" y="2497"/>
                </a:cubicBezTo>
                <a:cubicBezTo>
                  <a:pt x="0" y="3281"/>
                  <a:pt x="638" y="3918"/>
                  <a:pt x="1421" y="3918"/>
                </a:cubicBezTo>
                <a:lnTo>
                  <a:pt x="2140" y="3918"/>
                </a:lnTo>
                <a:lnTo>
                  <a:pt x="2140" y="4472"/>
                </a:lnTo>
                <a:lnTo>
                  <a:pt x="1315" y="4472"/>
                </a:lnTo>
                <a:cubicBezTo>
                  <a:pt x="1245" y="4345"/>
                  <a:pt x="1109" y="4259"/>
                  <a:pt x="954" y="4259"/>
                </a:cubicBezTo>
                <a:cubicBezTo>
                  <a:pt x="726" y="4259"/>
                  <a:pt x="540" y="4444"/>
                  <a:pt x="540" y="4672"/>
                </a:cubicBezTo>
                <a:cubicBezTo>
                  <a:pt x="540" y="4900"/>
                  <a:pt x="726" y="5086"/>
                  <a:pt x="954" y="5086"/>
                </a:cubicBezTo>
                <a:cubicBezTo>
                  <a:pt x="1109" y="5086"/>
                  <a:pt x="1245" y="4999"/>
                  <a:pt x="1315" y="4872"/>
                </a:cubicBezTo>
                <a:lnTo>
                  <a:pt x="2340" y="4872"/>
                </a:lnTo>
                <a:cubicBezTo>
                  <a:pt x="2451" y="4872"/>
                  <a:pt x="2540" y="4783"/>
                  <a:pt x="2540" y="4672"/>
                </a:cubicBezTo>
                <a:lnTo>
                  <a:pt x="2540" y="3918"/>
                </a:lnTo>
                <a:lnTo>
                  <a:pt x="2667" y="3918"/>
                </a:lnTo>
                <a:lnTo>
                  <a:pt x="2667" y="5117"/>
                </a:lnTo>
                <a:cubicBezTo>
                  <a:pt x="2540" y="5188"/>
                  <a:pt x="2454" y="5323"/>
                  <a:pt x="2454" y="5479"/>
                </a:cubicBezTo>
                <a:cubicBezTo>
                  <a:pt x="2454" y="5707"/>
                  <a:pt x="2639" y="5892"/>
                  <a:pt x="2867" y="5892"/>
                </a:cubicBezTo>
                <a:cubicBezTo>
                  <a:pt x="3095" y="5892"/>
                  <a:pt x="3280" y="5707"/>
                  <a:pt x="3280" y="5479"/>
                </a:cubicBezTo>
                <a:cubicBezTo>
                  <a:pt x="3280" y="5323"/>
                  <a:pt x="3194" y="5188"/>
                  <a:pt x="3067" y="5117"/>
                </a:cubicBezTo>
                <a:lnTo>
                  <a:pt x="3067" y="3918"/>
                </a:lnTo>
                <a:lnTo>
                  <a:pt x="3194" y="3918"/>
                </a:lnTo>
                <a:lnTo>
                  <a:pt x="3194" y="4691"/>
                </a:lnTo>
                <a:cubicBezTo>
                  <a:pt x="3194" y="4802"/>
                  <a:pt x="3283" y="4891"/>
                  <a:pt x="3394" y="4891"/>
                </a:cubicBezTo>
                <a:lnTo>
                  <a:pt x="4430" y="4891"/>
                </a:lnTo>
                <a:cubicBezTo>
                  <a:pt x="4503" y="5008"/>
                  <a:pt x="4633" y="5085"/>
                  <a:pt x="4780" y="5085"/>
                </a:cubicBezTo>
                <a:cubicBezTo>
                  <a:pt x="5008" y="5085"/>
                  <a:pt x="5194" y="4900"/>
                  <a:pt x="5194" y="4672"/>
                </a:cubicBezTo>
                <a:cubicBezTo>
                  <a:pt x="5194" y="4444"/>
                  <a:pt x="5008" y="4259"/>
                  <a:pt x="4780" y="4259"/>
                </a:cubicBezTo>
                <a:cubicBezTo>
                  <a:pt x="4617" y="4259"/>
                  <a:pt x="4476" y="4354"/>
                  <a:pt x="4409" y="4491"/>
                </a:cubicBezTo>
                <a:lnTo>
                  <a:pt x="3594" y="4491"/>
                </a:lnTo>
                <a:lnTo>
                  <a:pt x="3594" y="3918"/>
                </a:lnTo>
                <a:lnTo>
                  <a:pt x="4313" y="3918"/>
                </a:lnTo>
                <a:close/>
              </a:path>
            </a:pathLst>
          </a:custGeom>
          <a:gradFill>
            <a:gsLst>
              <a:gs pos="38000">
                <a:srgbClr val="4EBCF7"/>
              </a:gs>
              <a:gs pos="100000">
                <a:srgbClr val="0870D3"/>
              </a:gs>
            </a:gsLst>
            <a:lin ang="10800000" scaled="0"/>
          </a:gradFill>
          <a:ln>
            <a:noFill/>
          </a:ln>
          <a:effectLst>
            <a:outerShdw blurRad="762000" dist="2540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360000" bIns="45720" numCol="1" spcCol="0" rtlCol="0" fromWordArt="0" anchor="ctr" anchorCtr="0" forceAA="0" compatLnSpc="1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/>
            <a:endParaRPr sz="1400" b="1">
              <a:solidFill>
                <a:schemeClr val="lt1"/>
              </a:solidFill>
              <a:latin typeface="思源黑体 CN Normal" panose="020B0400000000000000" pitchFamily="34" charset="-122"/>
              <a:ea typeface="思源黑体 CN Normal" panose="020B0400000000000000" pitchFamily="34" charset="-122"/>
              <a:cs typeface="Open Sans" panose="020B0606030504020204" charset="0"/>
            </a:endParaRPr>
          </a:p>
        </p:txBody>
      </p:sp>
      <p:sp>
        <p:nvSpPr>
          <p:cNvPr id="18" name="išlïḍe"/>
          <p:cNvSpPr/>
          <p:nvPr/>
        </p:nvSpPr>
        <p:spPr bwMode="auto">
          <a:xfrm>
            <a:off x="4244470" y="4624840"/>
            <a:ext cx="1102336" cy="1104070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id-ID" dirty="0">
              <a:latin typeface="思源黑体 CN Normal" panose="020B0400000000000000" pitchFamily="34" charset="-122"/>
              <a:ea typeface="思源黑体 CN Normal" panose="020B0400000000000000" pitchFamily="34" charset="-122"/>
            </a:endParaRPr>
          </a:p>
        </p:txBody>
      </p:sp>
      <p:sp>
        <p:nvSpPr>
          <p:cNvPr id="19" name="îṡļídè"/>
          <p:cNvSpPr/>
          <p:nvPr/>
        </p:nvSpPr>
        <p:spPr>
          <a:xfrm>
            <a:off x="4557371" y="4932386"/>
            <a:ext cx="476538" cy="488977"/>
          </a:xfrm>
          <a:custGeom>
            <a:avLst/>
            <a:gdLst>
              <a:gd name="T0" fmla="*/ 4313 w 5734"/>
              <a:gd name="T1" fmla="*/ 3918 h 5892"/>
              <a:gd name="T2" fmla="*/ 5734 w 5734"/>
              <a:gd name="T3" fmla="*/ 2497 h 5892"/>
              <a:gd name="T4" fmla="*/ 4313 w 5734"/>
              <a:gd name="T5" fmla="*/ 1076 h 5892"/>
              <a:gd name="T6" fmla="*/ 4149 w 5734"/>
              <a:gd name="T7" fmla="*/ 1085 h 5892"/>
              <a:gd name="T8" fmla="*/ 3733 w 5734"/>
              <a:gd name="T9" fmla="*/ 378 h 5892"/>
              <a:gd name="T10" fmla="*/ 2768 w 5734"/>
              <a:gd name="T11" fmla="*/ 0 h 5892"/>
              <a:gd name="T12" fmla="*/ 1389 w 5734"/>
              <a:gd name="T13" fmla="*/ 1076 h 5892"/>
              <a:gd name="T14" fmla="*/ 0 w 5734"/>
              <a:gd name="T15" fmla="*/ 2497 h 5892"/>
              <a:gd name="T16" fmla="*/ 1421 w 5734"/>
              <a:gd name="T17" fmla="*/ 3918 h 5892"/>
              <a:gd name="T18" fmla="*/ 2140 w 5734"/>
              <a:gd name="T19" fmla="*/ 3918 h 5892"/>
              <a:gd name="T20" fmla="*/ 2140 w 5734"/>
              <a:gd name="T21" fmla="*/ 4472 h 5892"/>
              <a:gd name="T22" fmla="*/ 1315 w 5734"/>
              <a:gd name="T23" fmla="*/ 4472 h 5892"/>
              <a:gd name="T24" fmla="*/ 954 w 5734"/>
              <a:gd name="T25" fmla="*/ 4259 h 5892"/>
              <a:gd name="T26" fmla="*/ 540 w 5734"/>
              <a:gd name="T27" fmla="*/ 4672 h 5892"/>
              <a:gd name="T28" fmla="*/ 954 w 5734"/>
              <a:gd name="T29" fmla="*/ 5086 h 5892"/>
              <a:gd name="T30" fmla="*/ 1315 w 5734"/>
              <a:gd name="T31" fmla="*/ 4872 h 5892"/>
              <a:gd name="T32" fmla="*/ 2340 w 5734"/>
              <a:gd name="T33" fmla="*/ 4872 h 5892"/>
              <a:gd name="T34" fmla="*/ 2540 w 5734"/>
              <a:gd name="T35" fmla="*/ 4672 h 5892"/>
              <a:gd name="T36" fmla="*/ 2540 w 5734"/>
              <a:gd name="T37" fmla="*/ 3918 h 5892"/>
              <a:gd name="T38" fmla="*/ 2667 w 5734"/>
              <a:gd name="T39" fmla="*/ 3918 h 5892"/>
              <a:gd name="T40" fmla="*/ 2667 w 5734"/>
              <a:gd name="T41" fmla="*/ 5117 h 5892"/>
              <a:gd name="T42" fmla="*/ 2454 w 5734"/>
              <a:gd name="T43" fmla="*/ 5479 h 5892"/>
              <a:gd name="T44" fmla="*/ 2867 w 5734"/>
              <a:gd name="T45" fmla="*/ 5892 h 5892"/>
              <a:gd name="T46" fmla="*/ 3280 w 5734"/>
              <a:gd name="T47" fmla="*/ 5479 h 5892"/>
              <a:gd name="T48" fmla="*/ 3067 w 5734"/>
              <a:gd name="T49" fmla="*/ 5117 h 5892"/>
              <a:gd name="T50" fmla="*/ 3067 w 5734"/>
              <a:gd name="T51" fmla="*/ 3918 h 5892"/>
              <a:gd name="T52" fmla="*/ 3194 w 5734"/>
              <a:gd name="T53" fmla="*/ 3918 h 5892"/>
              <a:gd name="T54" fmla="*/ 3194 w 5734"/>
              <a:gd name="T55" fmla="*/ 4691 h 5892"/>
              <a:gd name="T56" fmla="*/ 3394 w 5734"/>
              <a:gd name="T57" fmla="*/ 4891 h 5892"/>
              <a:gd name="T58" fmla="*/ 4430 w 5734"/>
              <a:gd name="T59" fmla="*/ 4891 h 5892"/>
              <a:gd name="T60" fmla="*/ 4780 w 5734"/>
              <a:gd name="T61" fmla="*/ 5085 h 5892"/>
              <a:gd name="T62" fmla="*/ 5194 w 5734"/>
              <a:gd name="T63" fmla="*/ 4672 h 5892"/>
              <a:gd name="T64" fmla="*/ 4780 w 5734"/>
              <a:gd name="T65" fmla="*/ 4259 h 5892"/>
              <a:gd name="T66" fmla="*/ 4409 w 5734"/>
              <a:gd name="T67" fmla="*/ 4491 h 5892"/>
              <a:gd name="T68" fmla="*/ 3594 w 5734"/>
              <a:gd name="T69" fmla="*/ 4491 h 5892"/>
              <a:gd name="T70" fmla="*/ 3594 w 5734"/>
              <a:gd name="T71" fmla="*/ 3918 h 5892"/>
              <a:gd name="T72" fmla="*/ 4313 w 5734"/>
              <a:gd name="T73" fmla="*/ 3918 h 58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5734" h="5892">
                <a:moveTo>
                  <a:pt x="4313" y="3918"/>
                </a:moveTo>
                <a:cubicBezTo>
                  <a:pt x="5096" y="3918"/>
                  <a:pt x="5734" y="3280"/>
                  <a:pt x="5734" y="2497"/>
                </a:cubicBezTo>
                <a:cubicBezTo>
                  <a:pt x="5734" y="1713"/>
                  <a:pt x="5096" y="1076"/>
                  <a:pt x="4313" y="1076"/>
                </a:cubicBezTo>
                <a:cubicBezTo>
                  <a:pt x="4258" y="1076"/>
                  <a:pt x="4203" y="1079"/>
                  <a:pt x="4149" y="1085"/>
                </a:cubicBezTo>
                <a:cubicBezTo>
                  <a:pt x="4084" y="816"/>
                  <a:pt x="3940" y="570"/>
                  <a:pt x="3733" y="378"/>
                </a:cubicBezTo>
                <a:cubicBezTo>
                  <a:pt x="3470" y="134"/>
                  <a:pt x="3127" y="0"/>
                  <a:pt x="2768" y="0"/>
                </a:cubicBezTo>
                <a:cubicBezTo>
                  <a:pt x="2107" y="0"/>
                  <a:pt x="1544" y="451"/>
                  <a:pt x="1389" y="1076"/>
                </a:cubicBezTo>
                <a:cubicBezTo>
                  <a:pt x="620" y="1093"/>
                  <a:pt x="0" y="1724"/>
                  <a:pt x="0" y="2497"/>
                </a:cubicBezTo>
                <a:cubicBezTo>
                  <a:pt x="0" y="3281"/>
                  <a:pt x="638" y="3918"/>
                  <a:pt x="1421" y="3918"/>
                </a:cubicBezTo>
                <a:lnTo>
                  <a:pt x="2140" y="3918"/>
                </a:lnTo>
                <a:lnTo>
                  <a:pt x="2140" y="4472"/>
                </a:lnTo>
                <a:lnTo>
                  <a:pt x="1315" y="4472"/>
                </a:lnTo>
                <a:cubicBezTo>
                  <a:pt x="1245" y="4345"/>
                  <a:pt x="1109" y="4259"/>
                  <a:pt x="954" y="4259"/>
                </a:cubicBezTo>
                <a:cubicBezTo>
                  <a:pt x="726" y="4259"/>
                  <a:pt x="540" y="4444"/>
                  <a:pt x="540" y="4672"/>
                </a:cubicBezTo>
                <a:cubicBezTo>
                  <a:pt x="540" y="4900"/>
                  <a:pt x="726" y="5086"/>
                  <a:pt x="954" y="5086"/>
                </a:cubicBezTo>
                <a:cubicBezTo>
                  <a:pt x="1109" y="5086"/>
                  <a:pt x="1245" y="4999"/>
                  <a:pt x="1315" y="4872"/>
                </a:cubicBezTo>
                <a:lnTo>
                  <a:pt x="2340" y="4872"/>
                </a:lnTo>
                <a:cubicBezTo>
                  <a:pt x="2451" y="4872"/>
                  <a:pt x="2540" y="4783"/>
                  <a:pt x="2540" y="4672"/>
                </a:cubicBezTo>
                <a:lnTo>
                  <a:pt x="2540" y="3918"/>
                </a:lnTo>
                <a:lnTo>
                  <a:pt x="2667" y="3918"/>
                </a:lnTo>
                <a:lnTo>
                  <a:pt x="2667" y="5117"/>
                </a:lnTo>
                <a:cubicBezTo>
                  <a:pt x="2540" y="5188"/>
                  <a:pt x="2454" y="5323"/>
                  <a:pt x="2454" y="5479"/>
                </a:cubicBezTo>
                <a:cubicBezTo>
                  <a:pt x="2454" y="5707"/>
                  <a:pt x="2639" y="5892"/>
                  <a:pt x="2867" y="5892"/>
                </a:cubicBezTo>
                <a:cubicBezTo>
                  <a:pt x="3095" y="5892"/>
                  <a:pt x="3280" y="5707"/>
                  <a:pt x="3280" y="5479"/>
                </a:cubicBezTo>
                <a:cubicBezTo>
                  <a:pt x="3280" y="5323"/>
                  <a:pt x="3194" y="5188"/>
                  <a:pt x="3067" y="5117"/>
                </a:cubicBezTo>
                <a:lnTo>
                  <a:pt x="3067" y="3918"/>
                </a:lnTo>
                <a:lnTo>
                  <a:pt x="3194" y="3918"/>
                </a:lnTo>
                <a:lnTo>
                  <a:pt x="3194" y="4691"/>
                </a:lnTo>
                <a:cubicBezTo>
                  <a:pt x="3194" y="4802"/>
                  <a:pt x="3283" y="4891"/>
                  <a:pt x="3394" y="4891"/>
                </a:cubicBezTo>
                <a:lnTo>
                  <a:pt x="4430" y="4891"/>
                </a:lnTo>
                <a:cubicBezTo>
                  <a:pt x="4503" y="5008"/>
                  <a:pt x="4633" y="5085"/>
                  <a:pt x="4780" y="5085"/>
                </a:cubicBezTo>
                <a:cubicBezTo>
                  <a:pt x="5008" y="5085"/>
                  <a:pt x="5194" y="4900"/>
                  <a:pt x="5194" y="4672"/>
                </a:cubicBezTo>
                <a:cubicBezTo>
                  <a:pt x="5194" y="4444"/>
                  <a:pt x="5008" y="4259"/>
                  <a:pt x="4780" y="4259"/>
                </a:cubicBezTo>
                <a:cubicBezTo>
                  <a:pt x="4617" y="4259"/>
                  <a:pt x="4476" y="4354"/>
                  <a:pt x="4409" y="4491"/>
                </a:cubicBezTo>
                <a:lnTo>
                  <a:pt x="3594" y="4491"/>
                </a:lnTo>
                <a:lnTo>
                  <a:pt x="3594" y="3918"/>
                </a:lnTo>
                <a:lnTo>
                  <a:pt x="4313" y="3918"/>
                </a:lnTo>
                <a:close/>
              </a:path>
            </a:pathLst>
          </a:custGeom>
          <a:gradFill>
            <a:gsLst>
              <a:gs pos="38000">
                <a:srgbClr val="4EBCF7"/>
              </a:gs>
              <a:gs pos="100000">
                <a:srgbClr val="0870D3"/>
              </a:gs>
            </a:gsLst>
            <a:lin ang="10800000" scaled="0"/>
          </a:gradFill>
          <a:ln>
            <a:noFill/>
          </a:ln>
          <a:effectLst>
            <a:outerShdw blurRad="762000" dist="2540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360000" bIns="45720" numCol="1" spcCol="0" rtlCol="0" fromWordArt="0" anchor="ctr" anchorCtr="0" forceAA="0" compatLnSpc="1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/>
            <a:endParaRPr sz="1400" b="1">
              <a:solidFill>
                <a:schemeClr val="lt1"/>
              </a:solidFill>
              <a:latin typeface="思源黑体 CN Normal" panose="020B0400000000000000" pitchFamily="34" charset="-122"/>
              <a:ea typeface="思源黑体 CN Normal" panose="020B0400000000000000" pitchFamily="34" charset="-122"/>
              <a:cs typeface="Open Sans" panose="020B0606030504020204" charset="0"/>
            </a:endParaRPr>
          </a:p>
        </p:txBody>
      </p:sp>
      <p:sp>
        <p:nvSpPr>
          <p:cNvPr id="20" name="iṥḷíḓè"/>
          <p:cNvSpPr/>
          <p:nvPr/>
        </p:nvSpPr>
        <p:spPr bwMode="auto">
          <a:xfrm>
            <a:off x="6845193" y="4624840"/>
            <a:ext cx="1102336" cy="1104070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id-ID" dirty="0">
              <a:latin typeface="思源黑体 CN Normal" panose="020B0400000000000000" pitchFamily="34" charset="-122"/>
              <a:ea typeface="思源黑体 CN Normal" panose="020B0400000000000000" pitchFamily="34" charset="-122"/>
            </a:endParaRPr>
          </a:p>
        </p:txBody>
      </p:sp>
      <p:sp>
        <p:nvSpPr>
          <p:cNvPr id="21" name="íṡļiďè"/>
          <p:cNvSpPr/>
          <p:nvPr/>
        </p:nvSpPr>
        <p:spPr>
          <a:xfrm>
            <a:off x="7158093" y="4932386"/>
            <a:ext cx="476538" cy="488977"/>
          </a:xfrm>
          <a:custGeom>
            <a:avLst/>
            <a:gdLst>
              <a:gd name="T0" fmla="*/ 4313 w 5734"/>
              <a:gd name="T1" fmla="*/ 3918 h 5892"/>
              <a:gd name="T2" fmla="*/ 5734 w 5734"/>
              <a:gd name="T3" fmla="*/ 2497 h 5892"/>
              <a:gd name="T4" fmla="*/ 4313 w 5734"/>
              <a:gd name="T5" fmla="*/ 1076 h 5892"/>
              <a:gd name="T6" fmla="*/ 4149 w 5734"/>
              <a:gd name="T7" fmla="*/ 1085 h 5892"/>
              <a:gd name="T8" fmla="*/ 3733 w 5734"/>
              <a:gd name="T9" fmla="*/ 378 h 5892"/>
              <a:gd name="T10" fmla="*/ 2768 w 5734"/>
              <a:gd name="T11" fmla="*/ 0 h 5892"/>
              <a:gd name="T12" fmla="*/ 1389 w 5734"/>
              <a:gd name="T13" fmla="*/ 1076 h 5892"/>
              <a:gd name="T14" fmla="*/ 0 w 5734"/>
              <a:gd name="T15" fmla="*/ 2497 h 5892"/>
              <a:gd name="T16" fmla="*/ 1421 w 5734"/>
              <a:gd name="T17" fmla="*/ 3918 h 5892"/>
              <a:gd name="T18" fmla="*/ 2140 w 5734"/>
              <a:gd name="T19" fmla="*/ 3918 h 5892"/>
              <a:gd name="T20" fmla="*/ 2140 w 5734"/>
              <a:gd name="T21" fmla="*/ 4472 h 5892"/>
              <a:gd name="T22" fmla="*/ 1315 w 5734"/>
              <a:gd name="T23" fmla="*/ 4472 h 5892"/>
              <a:gd name="T24" fmla="*/ 954 w 5734"/>
              <a:gd name="T25" fmla="*/ 4259 h 5892"/>
              <a:gd name="T26" fmla="*/ 540 w 5734"/>
              <a:gd name="T27" fmla="*/ 4672 h 5892"/>
              <a:gd name="T28" fmla="*/ 954 w 5734"/>
              <a:gd name="T29" fmla="*/ 5086 h 5892"/>
              <a:gd name="T30" fmla="*/ 1315 w 5734"/>
              <a:gd name="T31" fmla="*/ 4872 h 5892"/>
              <a:gd name="T32" fmla="*/ 2340 w 5734"/>
              <a:gd name="T33" fmla="*/ 4872 h 5892"/>
              <a:gd name="T34" fmla="*/ 2540 w 5734"/>
              <a:gd name="T35" fmla="*/ 4672 h 5892"/>
              <a:gd name="T36" fmla="*/ 2540 w 5734"/>
              <a:gd name="T37" fmla="*/ 3918 h 5892"/>
              <a:gd name="T38" fmla="*/ 2667 w 5734"/>
              <a:gd name="T39" fmla="*/ 3918 h 5892"/>
              <a:gd name="T40" fmla="*/ 2667 w 5734"/>
              <a:gd name="T41" fmla="*/ 5117 h 5892"/>
              <a:gd name="T42" fmla="*/ 2454 w 5734"/>
              <a:gd name="T43" fmla="*/ 5479 h 5892"/>
              <a:gd name="T44" fmla="*/ 2867 w 5734"/>
              <a:gd name="T45" fmla="*/ 5892 h 5892"/>
              <a:gd name="T46" fmla="*/ 3280 w 5734"/>
              <a:gd name="T47" fmla="*/ 5479 h 5892"/>
              <a:gd name="T48" fmla="*/ 3067 w 5734"/>
              <a:gd name="T49" fmla="*/ 5117 h 5892"/>
              <a:gd name="T50" fmla="*/ 3067 w 5734"/>
              <a:gd name="T51" fmla="*/ 3918 h 5892"/>
              <a:gd name="T52" fmla="*/ 3194 w 5734"/>
              <a:gd name="T53" fmla="*/ 3918 h 5892"/>
              <a:gd name="T54" fmla="*/ 3194 w 5734"/>
              <a:gd name="T55" fmla="*/ 4691 h 5892"/>
              <a:gd name="T56" fmla="*/ 3394 w 5734"/>
              <a:gd name="T57" fmla="*/ 4891 h 5892"/>
              <a:gd name="T58" fmla="*/ 4430 w 5734"/>
              <a:gd name="T59" fmla="*/ 4891 h 5892"/>
              <a:gd name="T60" fmla="*/ 4780 w 5734"/>
              <a:gd name="T61" fmla="*/ 5085 h 5892"/>
              <a:gd name="T62" fmla="*/ 5194 w 5734"/>
              <a:gd name="T63" fmla="*/ 4672 h 5892"/>
              <a:gd name="T64" fmla="*/ 4780 w 5734"/>
              <a:gd name="T65" fmla="*/ 4259 h 5892"/>
              <a:gd name="T66" fmla="*/ 4409 w 5734"/>
              <a:gd name="T67" fmla="*/ 4491 h 5892"/>
              <a:gd name="T68" fmla="*/ 3594 w 5734"/>
              <a:gd name="T69" fmla="*/ 4491 h 5892"/>
              <a:gd name="T70" fmla="*/ 3594 w 5734"/>
              <a:gd name="T71" fmla="*/ 3918 h 5892"/>
              <a:gd name="T72" fmla="*/ 4313 w 5734"/>
              <a:gd name="T73" fmla="*/ 3918 h 58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5734" h="5892">
                <a:moveTo>
                  <a:pt x="4313" y="3918"/>
                </a:moveTo>
                <a:cubicBezTo>
                  <a:pt x="5096" y="3918"/>
                  <a:pt x="5734" y="3280"/>
                  <a:pt x="5734" y="2497"/>
                </a:cubicBezTo>
                <a:cubicBezTo>
                  <a:pt x="5734" y="1713"/>
                  <a:pt x="5096" y="1076"/>
                  <a:pt x="4313" y="1076"/>
                </a:cubicBezTo>
                <a:cubicBezTo>
                  <a:pt x="4258" y="1076"/>
                  <a:pt x="4203" y="1079"/>
                  <a:pt x="4149" y="1085"/>
                </a:cubicBezTo>
                <a:cubicBezTo>
                  <a:pt x="4084" y="816"/>
                  <a:pt x="3940" y="570"/>
                  <a:pt x="3733" y="378"/>
                </a:cubicBezTo>
                <a:cubicBezTo>
                  <a:pt x="3470" y="134"/>
                  <a:pt x="3127" y="0"/>
                  <a:pt x="2768" y="0"/>
                </a:cubicBezTo>
                <a:cubicBezTo>
                  <a:pt x="2107" y="0"/>
                  <a:pt x="1544" y="451"/>
                  <a:pt x="1389" y="1076"/>
                </a:cubicBezTo>
                <a:cubicBezTo>
                  <a:pt x="620" y="1093"/>
                  <a:pt x="0" y="1724"/>
                  <a:pt x="0" y="2497"/>
                </a:cubicBezTo>
                <a:cubicBezTo>
                  <a:pt x="0" y="3281"/>
                  <a:pt x="638" y="3918"/>
                  <a:pt x="1421" y="3918"/>
                </a:cubicBezTo>
                <a:lnTo>
                  <a:pt x="2140" y="3918"/>
                </a:lnTo>
                <a:lnTo>
                  <a:pt x="2140" y="4472"/>
                </a:lnTo>
                <a:lnTo>
                  <a:pt x="1315" y="4472"/>
                </a:lnTo>
                <a:cubicBezTo>
                  <a:pt x="1245" y="4345"/>
                  <a:pt x="1109" y="4259"/>
                  <a:pt x="954" y="4259"/>
                </a:cubicBezTo>
                <a:cubicBezTo>
                  <a:pt x="726" y="4259"/>
                  <a:pt x="540" y="4444"/>
                  <a:pt x="540" y="4672"/>
                </a:cubicBezTo>
                <a:cubicBezTo>
                  <a:pt x="540" y="4900"/>
                  <a:pt x="726" y="5086"/>
                  <a:pt x="954" y="5086"/>
                </a:cubicBezTo>
                <a:cubicBezTo>
                  <a:pt x="1109" y="5086"/>
                  <a:pt x="1245" y="4999"/>
                  <a:pt x="1315" y="4872"/>
                </a:cubicBezTo>
                <a:lnTo>
                  <a:pt x="2340" y="4872"/>
                </a:lnTo>
                <a:cubicBezTo>
                  <a:pt x="2451" y="4872"/>
                  <a:pt x="2540" y="4783"/>
                  <a:pt x="2540" y="4672"/>
                </a:cubicBezTo>
                <a:lnTo>
                  <a:pt x="2540" y="3918"/>
                </a:lnTo>
                <a:lnTo>
                  <a:pt x="2667" y="3918"/>
                </a:lnTo>
                <a:lnTo>
                  <a:pt x="2667" y="5117"/>
                </a:lnTo>
                <a:cubicBezTo>
                  <a:pt x="2540" y="5188"/>
                  <a:pt x="2454" y="5323"/>
                  <a:pt x="2454" y="5479"/>
                </a:cubicBezTo>
                <a:cubicBezTo>
                  <a:pt x="2454" y="5707"/>
                  <a:pt x="2639" y="5892"/>
                  <a:pt x="2867" y="5892"/>
                </a:cubicBezTo>
                <a:cubicBezTo>
                  <a:pt x="3095" y="5892"/>
                  <a:pt x="3280" y="5707"/>
                  <a:pt x="3280" y="5479"/>
                </a:cubicBezTo>
                <a:cubicBezTo>
                  <a:pt x="3280" y="5323"/>
                  <a:pt x="3194" y="5188"/>
                  <a:pt x="3067" y="5117"/>
                </a:cubicBezTo>
                <a:lnTo>
                  <a:pt x="3067" y="3918"/>
                </a:lnTo>
                <a:lnTo>
                  <a:pt x="3194" y="3918"/>
                </a:lnTo>
                <a:lnTo>
                  <a:pt x="3194" y="4691"/>
                </a:lnTo>
                <a:cubicBezTo>
                  <a:pt x="3194" y="4802"/>
                  <a:pt x="3283" y="4891"/>
                  <a:pt x="3394" y="4891"/>
                </a:cubicBezTo>
                <a:lnTo>
                  <a:pt x="4430" y="4891"/>
                </a:lnTo>
                <a:cubicBezTo>
                  <a:pt x="4503" y="5008"/>
                  <a:pt x="4633" y="5085"/>
                  <a:pt x="4780" y="5085"/>
                </a:cubicBezTo>
                <a:cubicBezTo>
                  <a:pt x="5008" y="5085"/>
                  <a:pt x="5194" y="4900"/>
                  <a:pt x="5194" y="4672"/>
                </a:cubicBezTo>
                <a:cubicBezTo>
                  <a:pt x="5194" y="4444"/>
                  <a:pt x="5008" y="4259"/>
                  <a:pt x="4780" y="4259"/>
                </a:cubicBezTo>
                <a:cubicBezTo>
                  <a:pt x="4617" y="4259"/>
                  <a:pt x="4476" y="4354"/>
                  <a:pt x="4409" y="4491"/>
                </a:cubicBezTo>
                <a:lnTo>
                  <a:pt x="3594" y="4491"/>
                </a:lnTo>
                <a:lnTo>
                  <a:pt x="3594" y="3918"/>
                </a:lnTo>
                <a:lnTo>
                  <a:pt x="4313" y="3918"/>
                </a:lnTo>
                <a:close/>
              </a:path>
            </a:pathLst>
          </a:custGeom>
          <a:gradFill>
            <a:gsLst>
              <a:gs pos="38000">
                <a:srgbClr val="4EBCF7"/>
              </a:gs>
              <a:gs pos="100000">
                <a:srgbClr val="0870D3"/>
              </a:gs>
            </a:gsLst>
            <a:lin ang="10800000" scaled="0"/>
          </a:gradFill>
          <a:ln>
            <a:noFill/>
          </a:ln>
          <a:effectLst>
            <a:outerShdw blurRad="762000" dist="2540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360000" bIns="45720" numCol="1" spcCol="0" rtlCol="0" fromWordArt="0" anchor="ctr" anchorCtr="0" forceAA="0" compatLnSpc="1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/>
            <a:endParaRPr sz="1400" b="1">
              <a:solidFill>
                <a:schemeClr val="lt1"/>
              </a:solidFill>
              <a:latin typeface="思源黑体 CN Normal" panose="020B0400000000000000" pitchFamily="34" charset="-122"/>
              <a:ea typeface="思源黑体 CN Normal" panose="020B0400000000000000" pitchFamily="34" charset="-122"/>
              <a:cs typeface="Open Sans" panose="020B0606030504020204" charset="0"/>
            </a:endParaRPr>
          </a:p>
        </p:txBody>
      </p:sp>
      <p:cxnSp>
        <p:nvCxnSpPr>
          <p:cNvPr id="22" name="直接连接符 21"/>
          <p:cNvCxnSpPr>
            <a:stCxn id="14" idx="5"/>
            <a:endCxn id="20" idx="1"/>
          </p:cNvCxnSpPr>
          <p:nvPr/>
        </p:nvCxnSpPr>
        <p:spPr>
          <a:xfrm>
            <a:off x="5185373" y="2844704"/>
            <a:ext cx="1821252" cy="1941823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ï$lïḓê"/>
          <p:cNvSpPr/>
          <p:nvPr/>
        </p:nvSpPr>
        <p:spPr bwMode="auto">
          <a:xfrm>
            <a:off x="5345811" y="3064249"/>
            <a:ext cx="1500375" cy="1502735"/>
          </a:xfrm>
          <a:prstGeom prst="ellipse">
            <a:avLst/>
          </a:prstGeom>
          <a:gradFill>
            <a:gsLst>
              <a:gs pos="38000">
                <a:srgbClr val="4EBCF7"/>
              </a:gs>
              <a:gs pos="100000">
                <a:srgbClr val="0870D3"/>
              </a:gs>
            </a:gsLst>
            <a:lin ang="10800000" scaled="0"/>
          </a:gradFill>
          <a:ln>
            <a:noFill/>
          </a:ln>
          <a:effectLst>
            <a:outerShdw blurRad="762000" dist="2540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360000" bIns="45720" numCol="1" spcCol="0" rtlCol="0" fromWordArt="0" anchor="ctr" anchorCtr="0" forceAA="0" compatLnSpc="1">
            <a:noAutofit/>
          </a:bodyPr>
          <a:lstStyle/>
          <a:p>
            <a:pPr algn="r" defTabSz="914400"/>
            <a:r>
              <a:rPr lang="id-ID" b="1" dirty="0">
                <a:solidFill>
                  <a:schemeClr val="lt1"/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  <a:cs typeface="Open Sans" panose="020B0606030504020204" charset="0"/>
              </a:rPr>
              <a:t>Text</a:t>
            </a:r>
          </a:p>
        </p:txBody>
      </p:sp>
      <p:sp>
        <p:nvSpPr>
          <p:cNvPr id="5" name="íşliḑé"/>
          <p:cNvSpPr txBox="1"/>
          <p:nvPr/>
        </p:nvSpPr>
        <p:spPr bwMode="auto">
          <a:xfrm>
            <a:off x="1109186" y="1857568"/>
            <a:ext cx="2723706" cy="406067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b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r>
              <a:rPr lang="zh-CN" altLang="en-US" sz="2400" b="1" dirty="0">
                <a:solidFill>
                  <a:srgbClr val="0870D3"/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添加标题</a:t>
            </a:r>
          </a:p>
        </p:txBody>
      </p:sp>
      <p:sp>
        <p:nvSpPr>
          <p:cNvPr id="6" name="i$ḷîde"/>
          <p:cNvSpPr/>
          <p:nvPr/>
        </p:nvSpPr>
        <p:spPr bwMode="auto">
          <a:xfrm>
            <a:off x="1109186" y="2263636"/>
            <a:ext cx="2723706" cy="9754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200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Copy paste fonts. Choose the only option to retain text.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200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……</a:t>
            </a:r>
          </a:p>
        </p:txBody>
      </p:sp>
      <p:sp>
        <p:nvSpPr>
          <p:cNvPr id="7" name="iṡḷíḓê"/>
          <p:cNvSpPr txBox="1"/>
          <p:nvPr/>
        </p:nvSpPr>
        <p:spPr bwMode="auto">
          <a:xfrm>
            <a:off x="8359108" y="1857568"/>
            <a:ext cx="2723706" cy="406067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b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/>
            <a:r>
              <a:rPr lang="zh-CN" altLang="en-US" sz="2400" b="1" dirty="0">
                <a:solidFill>
                  <a:srgbClr val="0870D3"/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添加标题</a:t>
            </a:r>
          </a:p>
        </p:txBody>
      </p:sp>
      <p:sp>
        <p:nvSpPr>
          <p:cNvPr id="8" name="îś1îḋe"/>
          <p:cNvSpPr/>
          <p:nvPr/>
        </p:nvSpPr>
        <p:spPr bwMode="auto">
          <a:xfrm>
            <a:off x="8359108" y="2263636"/>
            <a:ext cx="2723706" cy="9754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 algn="r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200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Copy paste fonts. Choose the only option to retain text.</a:t>
            </a:r>
          </a:p>
          <a:p>
            <a:pPr marL="171450" indent="-171450" algn="r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200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……</a:t>
            </a:r>
          </a:p>
        </p:txBody>
      </p:sp>
      <p:sp>
        <p:nvSpPr>
          <p:cNvPr id="9" name="íşḻîďe"/>
          <p:cNvSpPr txBox="1"/>
          <p:nvPr/>
        </p:nvSpPr>
        <p:spPr bwMode="auto">
          <a:xfrm>
            <a:off x="1109186" y="4347375"/>
            <a:ext cx="2723706" cy="406067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b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r>
              <a:rPr lang="zh-CN" altLang="en-US" sz="2400" b="1" dirty="0">
                <a:solidFill>
                  <a:srgbClr val="0870D3"/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添加标题</a:t>
            </a:r>
          </a:p>
        </p:txBody>
      </p:sp>
      <p:sp>
        <p:nvSpPr>
          <p:cNvPr id="10" name="ïšļîďe"/>
          <p:cNvSpPr/>
          <p:nvPr/>
        </p:nvSpPr>
        <p:spPr bwMode="auto">
          <a:xfrm>
            <a:off x="1109186" y="4753443"/>
            <a:ext cx="2723706" cy="9754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200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Copy paste fonts. Choose the only option to retain text.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200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……</a:t>
            </a:r>
          </a:p>
        </p:txBody>
      </p:sp>
      <p:sp>
        <p:nvSpPr>
          <p:cNvPr id="11" name="isḻiḍé"/>
          <p:cNvSpPr txBox="1"/>
          <p:nvPr/>
        </p:nvSpPr>
        <p:spPr bwMode="auto">
          <a:xfrm>
            <a:off x="8359108" y="4347375"/>
            <a:ext cx="2723706" cy="406067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b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/>
            <a:r>
              <a:rPr lang="zh-CN" altLang="en-US" sz="2400" b="1" dirty="0">
                <a:solidFill>
                  <a:srgbClr val="0870D3"/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添加标题</a:t>
            </a:r>
          </a:p>
        </p:txBody>
      </p:sp>
      <p:sp>
        <p:nvSpPr>
          <p:cNvPr id="12" name="îšlîdé"/>
          <p:cNvSpPr/>
          <p:nvPr/>
        </p:nvSpPr>
        <p:spPr bwMode="auto">
          <a:xfrm>
            <a:off x="8359108" y="4753443"/>
            <a:ext cx="2723706" cy="9754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 algn="r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200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Copy paste fonts. Choose the only option to retain text.</a:t>
            </a:r>
          </a:p>
          <a:p>
            <a:pPr marL="171450" indent="-171450" algn="r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200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……</a:t>
            </a:r>
          </a:p>
        </p:txBody>
      </p:sp>
      <p:grpSp>
        <p:nvGrpSpPr>
          <p:cNvPr id="26" name="组合 25"/>
          <p:cNvGrpSpPr/>
          <p:nvPr/>
        </p:nvGrpSpPr>
        <p:grpSpPr>
          <a:xfrm>
            <a:off x="445680" y="386741"/>
            <a:ext cx="4160833" cy="523220"/>
            <a:chOff x="445680" y="386741"/>
            <a:chExt cx="4160833" cy="523220"/>
          </a:xfrm>
        </p:grpSpPr>
        <p:sp>
          <p:nvSpPr>
            <p:cNvPr id="27" name="analytics_237488"/>
            <p:cNvSpPr>
              <a:spLocks noChangeAspect="1"/>
            </p:cNvSpPr>
            <p:nvPr/>
          </p:nvSpPr>
          <p:spPr bwMode="auto">
            <a:xfrm>
              <a:off x="445680" y="386741"/>
              <a:ext cx="454475" cy="423493"/>
            </a:xfrm>
            <a:custGeom>
              <a:avLst/>
              <a:gdLst>
                <a:gd name="connsiteX0" fmla="*/ 261053 w 607639"/>
                <a:gd name="connsiteY0" fmla="*/ 444915 h 566217"/>
                <a:gd name="connsiteX1" fmla="*/ 245922 w 607639"/>
                <a:gd name="connsiteY1" fmla="*/ 505522 h 566217"/>
                <a:gd name="connsiteX2" fmla="*/ 361718 w 607639"/>
                <a:gd name="connsiteY2" fmla="*/ 505522 h 566217"/>
                <a:gd name="connsiteX3" fmla="*/ 346498 w 607639"/>
                <a:gd name="connsiteY3" fmla="*/ 444915 h 566217"/>
                <a:gd name="connsiteX4" fmla="*/ 0 w 607639"/>
                <a:gd name="connsiteY4" fmla="*/ 364047 h 566217"/>
                <a:gd name="connsiteX5" fmla="*/ 607639 w 607639"/>
                <a:gd name="connsiteY5" fmla="*/ 364047 h 566217"/>
                <a:gd name="connsiteX6" fmla="*/ 607639 w 607639"/>
                <a:gd name="connsiteY6" fmla="*/ 399416 h 566217"/>
                <a:gd name="connsiteX7" fmla="*/ 562069 w 607639"/>
                <a:gd name="connsiteY7" fmla="*/ 444915 h 566217"/>
                <a:gd name="connsiteX8" fmla="*/ 367414 w 607639"/>
                <a:gd name="connsiteY8" fmla="*/ 444915 h 566217"/>
                <a:gd name="connsiteX9" fmla="*/ 382634 w 607639"/>
                <a:gd name="connsiteY9" fmla="*/ 505522 h 566217"/>
                <a:gd name="connsiteX10" fmla="*/ 384859 w 607639"/>
                <a:gd name="connsiteY10" fmla="*/ 505522 h 566217"/>
                <a:gd name="connsiteX11" fmla="*/ 435414 w 607639"/>
                <a:gd name="connsiteY11" fmla="*/ 556086 h 566217"/>
                <a:gd name="connsiteX12" fmla="*/ 425356 w 607639"/>
                <a:gd name="connsiteY12" fmla="*/ 566217 h 566217"/>
                <a:gd name="connsiteX13" fmla="*/ 182283 w 607639"/>
                <a:gd name="connsiteY13" fmla="*/ 566217 h 566217"/>
                <a:gd name="connsiteX14" fmla="*/ 172136 w 607639"/>
                <a:gd name="connsiteY14" fmla="*/ 556086 h 566217"/>
                <a:gd name="connsiteX15" fmla="*/ 222780 w 607639"/>
                <a:gd name="connsiteY15" fmla="*/ 505522 h 566217"/>
                <a:gd name="connsiteX16" fmla="*/ 225006 w 607639"/>
                <a:gd name="connsiteY16" fmla="*/ 505522 h 566217"/>
                <a:gd name="connsiteX17" fmla="*/ 240225 w 607639"/>
                <a:gd name="connsiteY17" fmla="*/ 444915 h 566217"/>
                <a:gd name="connsiteX18" fmla="*/ 45571 w 607639"/>
                <a:gd name="connsiteY18" fmla="*/ 444915 h 566217"/>
                <a:gd name="connsiteX19" fmla="*/ 0 w 607639"/>
                <a:gd name="connsiteY19" fmla="*/ 399416 h 566217"/>
                <a:gd name="connsiteX20" fmla="*/ 344273 w 607639"/>
                <a:gd name="connsiteY20" fmla="*/ 273045 h 566217"/>
                <a:gd name="connsiteX21" fmla="*/ 334215 w 607639"/>
                <a:gd name="connsiteY21" fmla="*/ 283089 h 566217"/>
                <a:gd name="connsiteX22" fmla="*/ 334215 w 607639"/>
                <a:gd name="connsiteY22" fmla="*/ 313486 h 566217"/>
                <a:gd name="connsiteX23" fmla="*/ 344273 w 607639"/>
                <a:gd name="connsiteY23" fmla="*/ 323530 h 566217"/>
                <a:gd name="connsiteX24" fmla="*/ 354419 w 607639"/>
                <a:gd name="connsiteY24" fmla="*/ 313486 h 566217"/>
                <a:gd name="connsiteX25" fmla="*/ 354419 w 607639"/>
                <a:gd name="connsiteY25" fmla="*/ 283089 h 566217"/>
                <a:gd name="connsiteX26" fmla="*/ 344273 w 607639"/>
                <a:gd name="connsiteY26" fmla="*/ 273045 h 566217"/>
                <a:gd name="connsiteX27" fmla="*/ 425356 w 607639"/>
                <a:gd name="connsiteY27" fmla="*/ 252780 h 566217"/>
                <a:gd name="connsiteX28" fmla="*/ 415210 w 607639"/>
                <a:gd name="connsiteY28" fmla="*/ 262913 h 566217"/>
                <a:gd name="connsiteX29" fmla="*/ 415210 w 607639"/>
                <a:gd name="connsiteY29" fmla="*/ 313486 h 566217"/>
                <a:gd name="connsiteX30" fmla="*/ 425356 w 607639"/>
                <a:gd name="connsiteY30" fmla="*/ 323530 h 566217"/>
                <a:gd name="connsiteX31" fmla="*/ 435414 w 607639"/>
                <a:gd name="connsiteY31" fmla="*/ 313486 h 566217"/>
                <a:gd name="connsiteX32" fmla="*/ 435414 w 607639"/>
                <a:gd name="connsiteY32" fmla="*/ 262913 h 566217"/>
                <a:gd name="connsiteX33" fmla="*/ 425356 w 607639"/>
                <a:gd name="connsiteY33" fmla="*/ 252780 h 566217"/>
                <a:gd name="connsiteX34" fmla="*/ 384859 w 607639"/>
                <a:gd name="connsiteY34" fmla="*/ 232515 h 566217"/>
                <a:gd name="connsiteX35" fmla="*/ 374712 w 607639"/>
                <a:gd name="connsiteY35" fmla="*/ 242648 h 566217"/>
                <a:gd name="connsiteX36" fmla="*/ 374712 w 607639"/>
                <a:gd name="connsiteY36" fmla="*/ 313486 h 566217"/>
                <a:gd name="connsiteX37" fmla="*/ 384859 w 607639"/>
                <a:gd name="connsiteY37" fmla="*/ 323530 h 566217"/>
                <a:gd name="connsiteX38" fmla="*/ 394917 w 607639"/>
                <a:gd name="connsiteY38" fmla="*/ 313486 h 566217"/>
                <a:gd name="connsiteX39" fmla="*/ 394917 w 607639"/>
                <a:gd name="connsiteY39" fmla="*/ 242648 h 566217"/>
                <a:gd name="connsiteX40" fmla="*/ 384859 w 607639"/>
                <a:gd name="connsiteY40" fmla="*/ 232515 h 566217"/>
                <a:gd name="connsiteX41" fmla="*/ 506351 w 607639"/>
                <a:gd name="connsiteY41" fmla="*/ 222471 h 566217"/>
                <a:gd name="connsiteX42" fmla="*/ 496205 w 607639"/>
                <a:gd name="connsiteY42" fmla="*/ 232515 h 566217"/>
                <a:gd name="connsiteX43" fmla="*/ 496205 w 607639"/>
                <a:gd name="connsiteY43" fmla="*/ 313486 h 566217"/>
                <a:gd name="connsiteX44" fmla="*/ 506351 w 607639"/>
                <a:gd name="connsiteY44" fmla="*/ 323530 h 566217"/>
                <a:gd name="connsiteX45" fmla="*/ 516498 w 607639"/>
                <a:gd name="connsiteY45" fmla="*/ 313486 h 566217"/>
                <a:gd name="connsiteX46" fmla="*/ 516498 w 607639"/>
                <a:gd name="connsiteY46" fmla="*/ 232515 h 566217"/>
                <a:gd name="connsiteX47" fmla="*/ 506351 w 607639"/>
                <a:gd name="connsiteY47" fmla="*/ 222471 h 566217"/>
                <a:gd name="connsiteX48" fmla="*/ 196595 w 607639"/>
                <a:gd name="connsiteY48" fmla="*/ 192079 h 566217"/>
                <a:gd name="connsiteX49" fmla="*/ 272100 w 607639"/>
                <a:gd name="connsiteY49" fmla="*/ 192079 h 566217"/>
                <a:gd name="connsiteX50" fmla="*/ 247258 w 607639"/>
                <a:gd name="connsiteY50" fmla="*/ 242604 h 566217"/>
                <a:gd name="connsiteX51" fmla="*/ 465854 w 607639"/>
                <a:gd name="connsiteY51" fmla="*/ 182030 h 566217"/>
                <a:gd name="connsiteX52" fmla="*/ 455707 w 607639"/>
                <a:gd name="connsiteY52" fmla="*/ 192074 h 566217"/>
                <a:gd name="connsiteX53" fmla="*/ 455707 w 607639"/>
                <a:gd name="connsiteY53" fmla="*/ 313486 h 566217"/>
                <a:gd name="connsiteX54" fmla="*/ 465854 w 607639"/>
                <a:gd name="connsiteY54" fmla="*/ 323530 h 566217"/>
                <a:gd name="connsiteX55" fmla="*/ 476000 w 607639"/>
                <a:gd name="connsiteY55" fmla="*/ 313486 h 566217"/>
                <a:gd name="connsiteX56" fmla="*/ 476000 w 607639"/>
                <a:gd name="connsiteY56" fmla="*/ 192074 h 566217"/>
                <a:gd name="connsiteX57" fmla="*/ 465854 w 607639"/>
                <a:gd name="connsiteY57" fmla="*/ 182030 h 566217"/>
                <a:gd name="connsiteX58" fmla="*/ 499142 w 607639"/>
                <a:gd name="connsiteY58" fmla="*/ 103992 h 566217"/>
                <a:gd name="connsiteX59" fmla="*/ 497896 w 607639"/>
                <a:gd name="connsiteY59" fmla="*/ 105503 h 566217"/>
                <a:gd name="connsiteX60" fmla="*/ 497006 w 607639"/>
                <a:gd name="connsiteY60" fmla="*/ 107369 h 566217"/>
                <a:gd name="connsiteX61" fmla="*/ 496383 w 607639"/>
                <a:gd name="connsiteY61" fmla="*/ 109147 h 566217"/>
                <a:gd name="connsiteX62" fmla="*/ 496205 w 607639"/>
                <a:gd name="connsiteY62" fmla="*/ 111191 h 566217"/>
                <a:gd name="connsiteX63" fmla="*/ 496383 w 607639"/>
                <a:gd name="connsiteY63" fmla="*/ 113236 h 566217"/>
                <a:gd name="connsiteX64" fmla="*/ 497006 w 607639"/>
                <a:gd name="connsiteY64" fmla="*/ 115013 h 566217"/>
                <a:gd name="connsiteX65" fmla="*/ 497896 w 607639"/>
                <a:gd name="connsiteY65" fmla="*/ 116880 h 566217"/>
                <a:gd name="connsiteX66" fmla="*/ 499142 w 607639"/>
                <a:gd name="connsiteY66" fmla="*/ 118391 h 566217"/>
                <a:gd name="connsiteX67" fmla="*/ 506351 w 607639"/>
                <a:gd name="connsiteY67" fmla="*/ 121324 h 566217"/>
                <a:gd name="connsiteX68" fmla="*/ 513561 w 607639"/>
                <a:gd name="connsiteY68" fmla="*/ 118391 h 566217"/>
                <a:gd name="connsiteX69" fmla="*/ 516498 w 607639"/>
                <a:gd name="connsiteY69" fmla="*/ 111191 h 566217"/>
                <a:gd name="connsiteX70" fmla="*/ 513561 w 607639"/>
                <a:gd name="connsiteY70" fmla="*/ 103992 h 566217"/>
                <a:gd name="connsiteX71" fmla="*/ 499142 w 607639"/>
                <a:gd name="connsiteY71" fmla="*/ 103992 h 566217"/>
                <a:gd name="connsiteX72" fmla="*/ 374712 w 607639"/>
                <a:gd name="connsiteY72" fmla="*/ 101059 h 566217"/>
                <a:gd name="connsiteX73" fmla="*/ 364566 w 607639"/>
                <a:gd name="connsiteY73" fmla="*/ 111191 h 566217"/>
                <a:gd name="connsiteX74" fmla="*/ 374712 w 607639"/>
                <a:gd name="connsiteY74" fmla="*/ 121324 h 566217"/>
                <a:gd name="connsiteX75" fmla="*/ 455707 w 607639"/>
                <a:gd name="connsiteY75" fmla="*/ 121324 h 566217"/>
                <a:gd name="connsiteX76" fmla="*/ 465854 w 607639"/>
                <a:gd name="connsiteY76" fmla="*/ 111191 h 566217"/>
                <a:gd name="connsiteX77" fmla="*/ 455707 w 607639"/>
                <a:gd name="connsiteY77" fmla="*/ 101059 h 566217"/>
                <a:gd name="connsiteX78" fmla="*/ 162007 w 607639"/>
                <a:gd name="connsiteY78" fmla="*/ 82209 h 566217"/>
                <a:gd name="connsiteX79" fmla="*/ 162007 w 607639"/>
                <a:gd name="connsiteY79" fmla="*/ 181568 h 566217"/>
                <a:gd name="connsiteX80" fmla="*/ 162096 w 607639"/>
                <a:gd name="connsiteY80" fmla="*/ 181657 h 566217"/>
                <a:gd name="connsiteX81" fmla="*/ 165033 w 607639"/>
                <a:gd name="connsiteY81" fmla="*/ 189123 h 566217"/>
                <a:gd name="connsiteX82" fmla="*/ 231878 w 607639"/>
                <a:gd name="connsiteY82" fmla="*/ 255866 h 566217"/>
                <a:gd name="connsiteX83" fmla="*/ 177227 w 607639"/>
                <a:gd name="connsiteY83" fmla="*/ 273018 h 566217"/>
                <a:gd name="connsiteX84" fmla="*/ 81009 w 607639"/>
                <a:gd name="connsiteY84" fmla="*/ 176947 h 566217"/>
                <a:gd name="connsiteX85" fmla="*/ 162007 w 607639"/>
                <a:gd name="connsiteY85" fmla="*/ 82209 h 566217"/>
                <a:gd name="connsiteX86" fmla="*/ 182271 w 607639"/>
                <a:gd name="connsiteY86" fmla="*/ 81150 h 566217"/>
                <a:gd name="connsiteX87" fmla="*/ 185209 w 607639"/>
                <a:gd name="connsiteY87" fmla="*/ 81239 h 566217"/>
                <a:gd name="connsiteX88" fmla="*/ 188503 w 607639"/>
                <a:gd name="connsiteY88" fmla="*/ 81594 h 566217"/>
                <a:gd name="connsiteX89" fmla="*/ 195268 w 607639"/>
                <a:gd name="connsiteY89" fmla="*/ 82661 h 566217"/>
                <a:gd name="connsiteX90" fmla="*/ 197315 w 607639"/>
                <a:gd name="connsiteY90" fmla="*/ 83017 h 566217"/>
                <a:gd name="connsiteX91" fmla="*/ 205505 w 607639"/>
                <a:gd name="connsiteY91" fmla="*/ 85150 h 566217"/>
                <a:gd name="connsiteX92" fmla="*/ 205950 w 607639"/>
                <a:gd name="connsiteY92" fmla="*/ 85239 h 566217"/>
                <a:gd name="connsiteX93" fmla="*/ 269064 w 607639"/>
                <a:gd name="connsiteY93" fmla="*/ 148255 h 566217"/>
                <a:gd name="connsiteX94" fmla="*/ 269153 w 607639"/>
                <a:gd name="connsiteY94" fmla="*/ 148788 h 566217"/>
                <a:gd name="connsiteX95" fmla="*/ 271290 w 607639"/>
                <a:gd name="connsiteY95" fmla="*/ 156876 h 566217"/>
                <a:gd name="connsiteX96" fmla="*/ 271646 w 607639"/>
                <a:gd name="connsiteY96" fmla="*/ 158921 h 566217"/>
                <a:gd name="connsiteX97" fmla="*/ 272714 w 607639"/>
                <a:gd name="connsiteY97" fmla="*/ 165764 h 566217"/>
                <a:gd name="connsiteX98" fmla="*/ 272981 w 607639"/>
                <a:gd name="connsiteY98" fmla="*/ 168875 h 566217"/>
                <a:gd name="connsiteX99" fmla="*/ 273159 w 607639"/>
                <a:gd name="connsiteY99" fmla="*/ 171897 h 566217"/>
                <a:gd name="connsiteX100" fmla="*/ 182271 w 607639"/>
                <a:gd name="connsiteY100" fmla="*/ 171897 h 566217"/>
                <a:gd name="connsiteX101" fmla="*/ 177210 w 607639"/>
                <a:gd name="connsiteY101" fmla="*/ 60617 h 566217"/>
                <a:gd name="connsiteX102" fmla="*/ 174451 w 607639"/>
                <a:gd name="connsiteY102" fmla="*/ 60795 h 566217"/>
                <a:gd name="connsiteX103" fmla="*/ 171869 w 607639"/>
                <a:gd name="connsiteY103" fmla="*/ 60795 h 566217"/>
                <a:gd name="connsiteX104" fmla="*/ 167508 w 607639"/>
                <a:gd name="connsiteY104" fmla="*/ 61062 h 566217"/>
                <a:gd name="connsiteX105" fmla="*/ 167419 w 607639"/>
                <a:gd name="connsiteY105" fmla="*/ 61151 h 566217"/>
                <a:gd name="connsiteX106" fmla="*/ 60791 w 607639"/>
                <a:gd name="connsiteY106" fmla="*/ 176964 h 566217"/>
                <a:gd name="connsiteX107" fmla="*/ 177210 w 607639"/>
                <a:gd name="connsiteY107" fmla="*/ 293221 h 566217"/>
                <a:gd name="connsiteX108" fmla="*/ 253487 w 607639"/>
                <a:gd name="connsiteY108" fmla="*/ 264601 h 566217"/>
                <a:gd name="connsiteX109" fmla="*/ 254377 w 607639"/>
                <a:gd name="connsiteY109" fmla="*/ 264068 h 566217"/>
                <a:gd name="connsiteX110" fmla="*/ 254733 w 607639"/>
                <a:gd name="connsiteY110" fmla="*/ 263535 h 566217"/>
                <a:gd name="connsiteX111" fmla="*/ 293184 w 607639"/>
                <a:gd name="connsiteY111" fmla="*/ 186652 h 566217"/>
                <a:gd name="connsiteX112" fmla="*/ 293362 w 607639"/>
                <a:gd name="connsiteY112" fmla="*/ 186474 h 566217"/>
                <a:gd name="connsiteX113" fmla="*/ 293540 w 607639"/>
                <a:gd name="connsiteY113" fmla="*/ 182297 h 566217"/>
                <a:gd name="connsiteX114" fmla="*/ 293540 w 607639"/>
                <a:gd name="connsiteY114" fmla="*/ 179630 h 566217"/>
                <a:gd name="connsiteX115" fmla="*/ 293718 w 607639"/>
                <a:gd name="connsiteY115" fmla="*/ 176964 h 566217"/>
                <a:gd name="connsiteX116" fmla="*/ 293540 w 607639"/>
                <a:gd name="connsiteY116" fmla="*/ 173320 h 566217"/>
                <a:gd name="connsiteX117" fmla="*/ 293184 w 607639"/>
                <a:gd name="connsiteY117" fmla="*/ 167898 h 566217"/>
                <a:gd name="connsiteX118" fmla="*/ 292383 w 607639"/>
                <a:gd name="connsiteY118" fmla="*/ 160698 h 566217"/>
                <a:gd name="connsiteX119" fmla="*/ 291760 w 607639"/>
                <a:gd name="connsiteY119" fmla="*/ 156432 h 566217"/>
                <a:gd name="connsiteX120" fmla="*/ 290068 w 607639"/>
                <a:gd name="connsiteY120" fmla="*/ 148522 h 566217"/>
                <a:gd name="connsiteX121" fmla="*/ 289178 w 607639"/>
                <a:gd name="connsiteY121" fmla="*/ 145144 h 566217"/>
                <a:gd name="connsiteX122" fmla="*/ 286508 w 607639"/>
                <a:gd name="connsiteY122" fmla="*/ 137145 h 566217"/>
                <a:gd name="connsiteX123" fmla="*/ 285351 w 607639"/>
                <a:gd name="connsiteY123" fmla="*/ 133856 h 566217"/>
                <a:gd name="connsiteX124" fmla="*/ 282058 w 607639"/>
                <a:gd name="connsiteY124" fmla="*/ 126657 h 566217"/>
                <a:gd name="connsiteX125" fmla="*/ 280278 w 607639"/>
                <a:gd name="connsiteY125" fmla="*/ 122924 h 566217"/>
                <a:gd name="connsiteX126" fmla="*/ 276896 w 607639"/>
                <a:gd name="connsiteY126" fmla="*/ 117057 h 566217"/>
                <a:gd name="connsiteX127" fmla="*/ 274136 w 607639"/>
                <a:gd name="connsiteY127" fmla="*/ 112613 h 566217"/>
                <a:gd name="connsiteX128" fmla="*/ 271199 w 607639"/>
                <a:gd name="connsiteY128" fmla="*/ 108525 h 566217"/>
                <a:gd name="connsiteX129" fmla="*/ 267105 w 607639"/>
                <a:gd name="connsiteY129" fmla="*/ 103014 h 566217"/>
                <a:gd name="connsiteX130" fmla="*/ 266571 w 607639"/>
                <a:gd name="connsiteY130" fmla="*/ 102481 h 566217"/>
                <a:gd name="connsiteX131" fmla="*/ 259540 w 607639"/>
                <a:gd name="connsiteY131" fmla="*/ 94659 h 566217"/>
                <a:gd name="connsiteX132" fmla="*/ 251351 w 607639"/>
                <a:gd name="connsiteY132" fmla="*/ 87371 h 566217"/>
                <a:gd name="connsiteX133" fmla="*/ 251262 w 607639"/>
                <a:gd name="connsiteY133" fmla="*/ 87193 h 566217"/>
                <a:gd name="connsiteX134" fmla="*/ 245388 w 607639"/>
                <a:gd name="connsiteY134" fmla="*/ 82838 h 566217"/>
                <a:gd name="connsiteX135" fmla="*/ 241739 w 607639"/>
                <a:gd name="connsiteY135" fmla="*/ 80171 h 566217"/>
                <a:gd name="connsiteX136" fmla="*/ 236843 w 607639"/>
                <a:gd name="connsiteY136" fmla="*/ 77238 h 566217"/>
                <a:gd name="connsiteX137" fmla="*/ 231414 w 607639"/>
                <a:gd name="connsiteY137" fmla="*/ 74039 h 566217"/>
                <a:gd name="connsiteX138" fmla="*/ 227231 w 607639"/>
                <a:gd name="connsiteY138" fmla="*/ 72083 h 566217"/>
                <a:gd name="connsiteX139" fmla="*/ 220466 w 607639"/>
                <a:gd name="connsiteY139" fmla="*/ 69061 h 566217"/>
                <a:gd name="connsiteX140" fmla="*/ 216817 w 607639"/>
                <a:gd name="connsiteY140" fmla="*/ 67728 h 566217"/>
                <a:gd name="connsiteX141" fmla="*/ 209252 w 607639"/>
                <a:gd name="connsiteY141" fmla="*/ 65239 h 566217"/>
                <a:gd name="connsiteX142" fmla="*/ 205513 w 607639"/>
                <a:gd name="connsiteY142" fmla="*/ 64262 h 566217"/>
                <a:gd name="connsiteX143" fmla="*/ 197770 w 607639"/>
                <a:gd name="connsiteY143" fmla="*/ 62573 h 566217"/>
                <a:gd name="connsiteX144" fmla="*/ 193498 w 607639"/>
                <a:gd name="connsiteY144" fmla="*/ 61951 h 566217"/>
                <a:gd name="connsiteX145" fmla="*/ 186199 w 607639"/>
                <a:gd name="connsiteY145" fmla="*/ 61062 h 566217"/>
                <a:gd name="connsiteX146" fmla="*/ 181037 w 607639"/>
                <a:gd name="connsiteY146" fmla="*/ 60795 h 566217"/>
                <a:gd name="connsiteX147" fmla="*/ 177210 w 607639"/>
                <a:gd name="connsiteY147" fmla="*/ 60617 h 566217"/>
                <a:gd name="connsiteX148" fmla="*/ 431587 w 607639"/>
                <a:gd name="connsiteY148" fmla="*/ 51374 h 566217"/>
                <a:gd name="connsiteX149" fmla="*/ 428294 w 607639"/>
                <a:gd name="connsiteY149" fmla="*/ 53418 h 566217"/>
                <a:gd name="connsiteX150" fmla="*/ 425356 w 607639"/>
                <a:gd name="connsiteY150" fmla="*/ 60617 h 566217"/>
                <a:gd name="connsiteX151" fmla="*/ 428294 w 607639"/>
                <a:gd name="connsiteY151" fmla="*/ 67817 h 566217"/>
                <a:gd name="connsiteX152" fmla="*/ 435414 w 607639"/>
                <a:gd name="connsiteY152" fmla="*/ 70750 h 566217"/>
                <a:gd name="connsiteX153" fmla="*/ 442623 w 607639"/>
                <a:gd name="connsiteY153" fmla="*/ 67817 h 566217"/>
                <a:gd name="connsiteX154" fmla="*/ 445561 w 607639"/>
                <a:gd name="connsiteY154" fmla="*/ 60617 h 566217"/>
                <a:gd name="connsiteX155" fmla="*/ 442623 w 607639"/>
                <a:gd name="connsiteY155" fmla="*/ 53418 h 566217"/>
                <a:gd name="connsiteX156" fmla="*/ 431587 w 607639"/>
                <a:gd name="connsiteY156" fmla="*/ 51374 h 566217"/>
                <a:gd name="connsiteX157" fmla="*/ 476000 w 607639"/>
                <a:gd name="connsiteY157" fmla="*/ 50485 h 566217"/>
                <a:gd name="connsiteX158" fmla="*/ 465854 w 607639"/>
                <a:gd name="connsiteY158" fmla="*/ 60617 h 566217"/>
                <a:gd name="connsiteX159" fmla="*/ 476000 w 607639"/>
                <a:gd name="connsiteY159" fmla="*/ 70750 h 566217"/>
                <a:gd name="connsiteX160" fmla="*/ 506351 w 607639"/>
                <a:gd name="connsiteY160" fmla="*/ 70750 h 566217"/>
                <a:gd name="connsiteX161" fmla="*/ 516498 w 607639"/>
                <a:gd name="connsiteY161" fmla="*/ 60617 h 566217"/>
                <a:gd name="connsiteX162" fmla="*/ 506351 w 607639"/>
                <a:gd name="connsiteY162" fmla="*/ 50485 h 566217"/>
                <a:gd name="connsiteX163" fmla="*/ 374712 w 607639"/>
                <a:gd name="connsiteY163" fmla="*/ 50485 h 566217"/>
                <a:gd name="connsiteX164" fmla="*/ 364566 w 607639"/>
                <a:gd name="connsiteY164" fmla="*/ 60617 h 566217"/>
                <a:gd name="connsiteX165" fmla="*/ 374712 w 607639"/>
                <a:gd name="connsiteY165" fmla="*/ 70750 h 566217"/>
                <a:gd name="connsiteX166" fmla="*/ 394917 w 607639"/>
                <a:gd name="connsiteY166" fmla="*/ 70750 h 566217"/>
                <a:gd name="connsiteX167" fmla="*/ 405063 w 607639"/>
                <a:gd name="connsiteY167" fmla="*/ 60617 h 566217"/>
                <a:gd name="connsiteX168" fmla="*/ 394917 w 607639"/>
                <a:gd name="connsiteY168" fmla="*/ 50485 h 566217"/>
                <a:gd name="connsiteX169" fmla="*/ 45571 w 607639"/>
                <a:gd name="connsiteY169" fmla="*/ 0 h 566217"/>
                <a:gd name="connsiteX170" fmla="*/ 562069 w 607639"/>
                <a:gd name="connsiteY170" fmla="*/ 0 h 566217"/>
                <a:gd name="connsiteX171" fmla="*/ 607639 w 607639"/>
                <a:gd name="connsiteY171" fmla="*/ 45508 h 566217"/>
                <a:gd name="connsiteX172" fmla="*/ 607639 w 607639"/>
                <a:gd name="connsiteY172" fmla="*/ 343795 h 566217"/>
                <a:gd name="connsiteX173" fmla="*/ 0 w 607639"/>
                <a:gd name="connsiteY173" fmla="*/ 343795 h 566217"/>
                <a:gd name="connsiteX174" fmla="*/ 0 w 607639"/>
                <a:gd name="connsiteY174" fmla="*/ 45508 h 566217"/>
                <a:gd name="connsiteX175" fmla="*/ 45571 w 607639"/>
                <a:gd name="connsiteY175" fmla="*/ 0 h 566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</a:cxnLst>
              <a:rect l="l" t="t" r="r" b="b"/>
              <a:pathLst>
                <a:path w="607639" h="566217">
                  <a:moveTo>
                    <a:pt x="261053" y="444915"/>
                  </a:moveTo>
                  <a:lnTo>
                    <a:pt x="245922" y="505522"/>
                  </a:lnTo>
                  <a:lnTo>
                    <a:pt x="361718" y="505522"/>
                  </a:lnTo>
                  <a:lnTo>
                    <a:pt x="346498" y="444915"/>
                  </a:lnTo>
                  <a:close/>
                  <a:moveTo>
                    <a:pt x="0" y="364047"/>
                  </a:moveTo>
                  <a:lnTo>
                    <a:pt x="607639" y="364047"/>
                  </a:lnTo>
                  <a:lnTo>
                    <a:pt x="607639" y="399416"/>
                  </a:lnTo>
                  <a:cubicBezTo>
                    <a:pt x="607639" y="424476"/>
                    <a:pt x="587168" y="444915"/>
                    <a:pt x="562069" y="444915"/>
                  </a:cubicBezTo>
                  <a:lnTo>
                    <a:pt x="367414" y="444915"/>
                  </a:lnTo>
                  <a:lnTo>
                    <a:pt x="382634" y="505522"/>
                  </a:lnTo>
                  <a:lnTo>
                    <a:pt x="384859" y="505522"/>
                  </a:lnTo>
                  <a:cubicBezTo>
                    <a:pt x="412718" y="505522"/>
                    <a:pt x="435414" y="528271"/>
                    <a:pt x="435414" y="556086"/>
                  </a:cubicBezTo>
                  <a:cubicBezTo>
                    <a:pt x="435414" y="561685"/>
                    <a:pt x="430964" y="566217"/>
                    <a:pt x="425356" y="566217"/>
                  </a:cubicBezTo>
                  <a:lnTo>
                    <a:pt x="182283" y="566217"/>
                  </a:lnTo>
                  <a:cubicBezTo>
                    <a:pt x="176676" y="566217"/>
                    <a:pt x="172136" y="561685"/>
                    <a:pt x="172136" y="556086"/>
                  </a:cubicBezTo>
                  <a:cubicBezTo>
                    <a:pt x="172136" y="528271"/>
                    <a:pt x="194833" y="505522"/>
                    <a:pt x="222780" y="505522"/>
                  </a:cubicBezTo>
                  <a:lnTo>
                    <a:pt x="225006" y="505522"/>
                  </a:lnTo>
                  <a:lnTo>
                    <a:pt x="240225" y="444915"/>
                  </a:lnTo>
                  <a:lnTo>
                    <a:pt x="45571" y="444915"/>
                  </a:lnTo>
                  <a:cubicBezTo>
                    <a:pt x="20471" y="444915"/>
                    <a:pt x="0" y="424476"/>
                    <a:pt x="0" y="399416"/>
                  </a:cubicBezTo>
                  <a:close/>
                  <a:moveTo>
                    <a:pt x="344273" y="273045"/>
                  </a:moveTo>
                  <a:cubicBezTo>
                    <a:pt x="338754" y="273045"/>
                    <a:pt x="334215" y="277578"/>
                    <a:pt x="334215" y="283089"/>
                  </a:cubicBezTo>
                  <a:lnTo>
                    <a:pt x="334215" y="313486"/>
                  </a:lnTo>
                  <a:cubicBezTo>
                    <a:pt x="334215" y="318997"/>
                    <a:pt x="338754" y="323530"/>
                    <a:pt x="344273" y="323530"/>
                  </a:cubicBezTo>
                  <a:cubicBezTo>
                    <a:pt x="349880" y="323530"/>
                    <a:pt x="354419" y="318997"/>
                    <a:pt x="354419" y="313486"/>
                  </a:cubicBezTo>
                  <a:lnTo>
                    <a:pt x="354419" y="283089"/>
                  </a:lnTo>
                  <a:cubicBezTo>
                    <a:pt x="354419" y="277578"/>
                    <a:pt x="349880" y="273045"/>
                    <a:pt x="344273" y="273045"/>
                  </a:cubicBezTo>
                  <a:close/>
                  <a:moveTo>
                    <a:pt x="425356" y="252780"/>
                  </a:moveTo>
                  <a:cubicBezTo>
                    <a:pt x="419749" y="252780"/>
                    <a:pt x="415210" y="257313"/>
                    <a:pt x="415210" y="262913"/>
                  </a:cubicBezTo>
                  <a:lnTo>
                    <a:pt x="415210" y="313486"/>
                  </a:lnTo>
                  <a:cubicBezTo>
                    <a:pt x="415210" y="318997"/>
                    <a:pt x="419749" y="323530"/>
                    <a:pt x="425356" y="323530"/>
                  </a:cubicBezTo>
                  <a:cubicBezTo>
                    <a:pt x="430964" y="323530"/>
                    <a:pt x="435414" y="318997"/>
                    <a:pt x="435414" y="313486"/>
                  </a:cubicBezTo>
                  <a:lnTo>
                    <a:pt x="435414" y="262913"/>
                  </a:lnTo>
                  <a:cubicBezTo>
                    <a:pt x="435414" y="257313"/>
                    <a:pt x="430964" y="252780"/>
                    <a:pt x="425356" y="252780"/>
                  </a:cubicBezTo>
                  <a:close/>
                  <a:moveTo>
                    <a:pt x="384859" y="232515"/>
                  </a:moveTo>
                  <a:cubicBezTo>
                    <a:pt x="379252" y="232515"/>
                    <a:pt x="374712" y="237048"/>
                    <a:pt x="374712" y="242648"/>
                  </a:cubicBezTo>
                  <a:lnTo>
                    <a:pt x="374712" y="313486"/>
                  </a:lnTo>
                  <a:cubicBezTo>
                    <a:pt x="374712" y="318997"/>
                    <a:pt x="379252" y="323530"/>
                    <a:pt x="384859" y="323530"/>
                  </a:cubicBezTo>
                  <a:cubicBezTo>
                    <a:pt x="390466" y="323530"/>
                    <a:pt x="394917" y="318997"/>
                    <a:pt x="394917" y="313486"/>
                  </a:cubicBezTo>
                  <a:lnTo>
                    <a:pt x="394917" y="242648"/>
                  </a:lnTo>
                  <a:cubicBezTo>
                    <a:pt x="394917" y="237048"/>
                    <a:pt x="390466" y="232515"/>
                    <a:pt x="384859" y="232515"/>
                  </a:cubicBezTo>
                  <a:close/>
                  <a:moveTo>
                    <a:pt x="506351" y="222471"/>
                  </a:moveTo>
                  <a:cubicBezTo>
                    <a:pt x="500744" y="222471"/>
                    <a:pt x="496205" y="227004"/>
                    <a:pt x="496205" y="232515"/>
                  </a:cubicBezTo>
                  <a:lnTo>
                    <a:pt x="496205" y="313486"/>
                  </a:lnTo>
                  <a:cubicBezTo>
                    <a:pt x="496205" y="318997"/>
                    <a:pt x="500744" y="323530"/>
                    <a:pt x="506351" y="323530"/>
                  </a:cubicBezTo>
                  <a:cubicBezTo>
                    <a:pt x="511959" y="323530"/>
                    <a:pt x="516498" y="318997"/>
                    <a:pt x="516498" y="313486"/>
                  </a:cubicBezTo>
                  <a:lnTo>
                    <a:pt x="516498" y="232515"/>
                  </a:lnTo>
                  <a:cubicBezTo>
                    <a:pt x="516498" y="227004"/>
                    <a:pt x="511959" y="222471"/>
                    <a:pt x="506351" y="222471"/>
                  </a:cubicBezTo>
                  <a:close/>
                  <a:moveTo>
                    <a:pt x="196595" y="192079"/>
                  </a:moveTo>
                  <a:lnTo>
                    <a:pt x="272100" y="192079"/>
                  </a:lnTo>
                  <a:cubicBezTo>
                    <a:pt x="268984" y="211437"/>
                    <a:pt x="260080" y="228929"/>
                    <a:pt x="247258" y="242604"/>
                  </a:cubicBezTo>
                  <a:close/>
                  <a:moveTo>
                    <a:pt x="465854" y="182030"/>
                  </a:moveTo>
                  <a:cubicBezTo>
                    <a:pt x="460247" y="182030"/>
                    <a:pt x="455707" y="186563"/>
                    <a:pt x="455707" y="192074"/>
                  </a:cubicBezTo>
                  <a:lnTo>
                    <a:pt x="455707" y="313486"/>
                  </a:lnTo>
                  <a:cubicBezTo>
                    <a:pt x="455707" y="318997"/>
                    <a:pt x="460247" y="323530"/>
                    <a:pt x="465854" y="323530"/>
                  </a:cubicBezTo>
                  <a:cubicBezTo>
                    <a:pt x="471461" y="323530"/>
                    <a:pt x="476000" y="318997"/>
                    <a:pt x="476000" y="313486"/>
                  </a:cubicBezTo>
                  <a:lnTo>
                    <a:pt x="476000" y="192074"/>
                  </a:lnTo>
                  <a:cubicBezTo>
                    <a:pt x="476000" y="186563"/>
                    <a:pt x="471461" y="182030"/>
                    <a:pt x="465854" y="182030"/>
                  </a:cubicBezTo>
                  <a:close/>
                  <a:moveTo>
                    <a:pt x="499142" y="103992"/>
                  </a:moveTo>
                  <a:cubicBezTo>
                    <a:pt x="498786" y="104525"/>
                    <a:pt x="498252" y="105058"/>
                    <a:pt x="497896" y="105503"/>
                  </a:cubicBezTo>
                  <a:cubicBezTo>
                    <a:pt x="497540" y="106125"/>
                    <a:pt x="497273" y="106747"/>
                    <a:pt x="497006" y="107369"/>
                  </a:cubicBezTo>
                  <a:cubicBezTo>
                    <a:pt x="496739" y="107992"/>
                    <a:pt x="496561" y="108614"/>
                    <a:pt x="496383" y="109147"/>
                  </a:cubicBezTo>
                  <a:cubicBezTo>
                    <a:pt x="496294" y="109858"/>
                    <a:pt x="496205" y="110569"/>
                    <a:pt x="496205" y="111191"/>
                  </a:cubicBezTo>
                  <a:cubicBezTo>
                    <a:pt x="496205" y="111813"/>
                    <a:pt x="496294" y="112524"/>
                    <a:pt x="496383" y="113236"/>
                  </a:cubicBezTo>
                  <a:cubicBezTo>
                    <a:pt x="496561" y="113858"/>
                    <a:pt x="496739" y="114480"/>
                    <a:pt x="497006" y="115013"/>
                  </a:cubicBezTo>
                  <a:cubicBezTo>
                    <a:pt x="497273" y="115635"/>
                    <a:pt x="497540" y="116258"/>
                    <a:pt x="497896" y="116880"/>
                  </a:cubicBezTo>
                  <a:cubicBezTo>
                    <a:pt x="498252" y="117413"/>
                    <a:pt x="498786" y="117857"/>
                    <a:pt x="499142" y="118391"/>
                  </a:cubicBezTo>
                  <a:cubicBezTo>
                    <a:pt x="501100" y="120168"/>
                    <a:pt x="503681" y="121324"/>
                    <a:pt x="506351" y="121324"/>
                  </a:cubicBezTo>
                  <a:cubicBezTo>
                    <a:pt x="509021" y="121324"/>
                    <a:pt x="511603" y="120168"/>
                    <a:pt x="513561" y="118391"/>
                  </a:cubicBezTo>
                  <a:cubicBezTo>
                    <a:pt x="515341" y="116435"/>
                    <a:pt x="516498" y="113947"/>
                    <a:pt x="516498" y="111191"/>
                  </a:cubicBezTo>
                  <a:cubicBezTo>
                    <a:pt x="516498" y="108436"/>
                    <a:pt x="515341" y="105947"/>
                    <a:pt x="513561" y="103992"/>
                  </a:cubicBezTo>
                  <a:cubicBezTo>
                    <a:pt x="509644" y="100259"/>
                    <a:pt x="502880" y="100259"/>
                    <a:pt x="499142" y="103992"/>
                  </a:cubicBezTo>
                  <a:close/>
                  <a:moveTo>
                    <a:pt x="374712" y="101059"/>
                  </a:moveTo>
                  <a:cubicBezTo>
                    <a:pt x="369105" y="101059"/>
                    <a:pt x="364566" y="105592"/>
                    <a:pt x="364566" y="111191"/>
                  </a:cubicBezTo>
                  <a:cubicBezTo>
                    <a:pt x="364566" y="116791"/>
                    <a:pt x="369105" y="121324"/>
                    <a:pt x="374712" y="121324"/>
                  </a:cubicBezTo>
                  <a:lnTo>
                    <a:pt x="455707" y="121324"/>
                  </a:lnTo>
                  <a:cubicBezTo>
                    <a:pt x="461315" y="121324"/>
                    <a:pt x="465854" y="116791"/>
                    <a:pt x="465854" y="111191"/>
                  </a:cubicBezTo>
                  <a:cubicBezTo>
                    <a:pt x="465854" y="105592"/>
                    <a:pt x="461315" y="101059"/>
                    <a:pt x="455707" y="101059"/>
                  </a:cubicBezTo>
                  <a:close/>
                  <a:moveTo>
                    <a:pt x="162007" y="82209"/>
                  </a:moveTo>
                  <a:lnTo>
                    <a:pt x="162007" y="181568"/>
                  </a:lnTo>
                  <a:lnTo>
                    <a:pt x="162096" y="181657"/>
                  </a:lnTo>
                  <a:cubicBezTo>
                    <a:pt x="162007" y="184323"/>
                    <a:pt x="162986" y="187078"/>
                    <a:pt x="165033" y="189123"/>
                  </a:cubicBezTo>
                  <a:lnTo>
                    <a:pt x="231878" y="255866"/>
                  </a:lnTo>
                  <a:cubicBezTo>
                    <a:pt x="216391" y="266619"/>
                    <a:pt x="197521" y="273018"/>
                    <a:pt x="177227" y="273018"/>
                  </a:cubicBezTo>
                  <a:cubicBezTo>
                    <a:pt x="124178" y="273018"/>
                    <a:pt x="81009" y="229915"/>
                    <a:pt x="81009" y="176947"/>
                  </a:cubicBezTo>
                  <a:cubicBezTo>
                    <a:pt x="81009" y="129134"/>
                    <a:pt x="116257" y="89497"/>
                    <a:pt x="162007" y="82209"/>
                  </a:cubicBezTo>
                  <a:close/>
                  <a:moveTo>
                    <a:pt x="182271" y="81150"/>
                  </a:moveTo>
                  <a:cubicBezTo>
                    <a:pt x="183250" y="81150"/>
                    <a:pt x="184230" y="81150"/>
                    <a:pt x="185209" y="81239"/>
                  </a:cubicBezTo>
                  <a:cubicBezTo>
                    <a:pt x="186277" y="81328"/>
                    <a:pt x="187434" y="81417"/>
                    <a:pt x="188503" y="81594"/>
                  </a:cubicBezTo>
                  <a:cubicBezTo>
                    <a:pt x="190728" y="81861"/>
                    <a:pt x="193043" y="82217"/>
                    <a:pt x="195268" y="82661"/>
                  </a:cubicBezTo>
                  <a:cubicBezTo>
                    <a:pt x="195891" y="82750"/>
                    <a:pt x="196603" y="82839"/>
                    <a:pt x="197315" y="83017"/>
                  </a:cubicBezTo>
                  <a:cubicBezTo>
                    <a:pt x="200075" y="83550"/>
                    <a:pt x="202835" y="84261"/>
                    <a:pt x="205505" y="85150"/>
                  </a:cubicBezTo>
                  <a:cubicBezTo>
                    <a:pt x="205594" y="85150"/>
                    <a:pt x="205772" y="85150"/>
                    <a:pt x="205950" y="85239"/>
                  </a:cubicBezTo>
                  <a:cubicBezTo>
                    <a:pt x="235949" y="94571"/>
                    <a:pt x="259628" y="118302"/>
                    <a:pt x="269064" y="148255"/>
                  </a:cubicBezTo>
                  <a:cubicBezTo>
                    <a:pt x="269064" y="148433"/>
                    <a:pt x="269153" y="148610"/>
                    <a:pt x="269153" y="148788"/>
                  </a:cubicBezTo>
                  <a:cubicBezTo>
                    <a:pt x="270044" y="151455"/>
                    <a:pt x="270667" y="154121"/>
                    <a:pt x="271290" y="156876"/>
                  </a:cubicBezTo>
                  <a:cubicBezTo>
                    <a:pt x="271468" y="157587"/>
                    <a:pt x="271557" y="158209"/>
                    <a:pt x="271646" y="158921"/>
                  </a:cubicBezTo>
                  <a:cubicBezTo>
                    <a:pt x="272091" y="161143"/>
                    <a:pt x="272447" y="163453"/>
                    <a:pt x="272714" y="165764"/>
                  </a:cubicBezTo>
                  <a:cubicBezTo>
                    <a:pt x="272803" y="166742"/>
                    <a:pt x="272892" y="167809"/>
                    <a:pt x="272981" y="168875"/>
                  </a:cubicBezTo>
                  <a:cubicBezTo>
                    <a:pt x="273070" y="169853"/>
                    <a:pt x="273159" y="170831"/>
                    <a:pt x="273159" y="171897"/>
                  </a:cubicBezTo>
                  <a:lnTo>
                    <a:pt x="182271" y="171897"/>
                  </a:lnTo>
                  <a:close/>
                  <a:moveTo>
                    <a:pt x="177210" y="60617"/>
                  </a:moveTo>
                  <a:cubicBezTo>
                    <a:pt x="176320" y="60617"/>
                    <a:pt x="175430" y="60795"/>
                    <a:pt x="174451" y="60795"/>
                  </a:cubicBezTo>
                  <a:cubicBezTo>
                    <a:pt x="173561" y="60795"/>
                    <a:pt x="172759" y="60706"/>
                    <a:pt x="171869" y="60795"/>
                  </a:cubicBezTo>
                  <a:lnTo>
                    <a:pt x="167508" y="61062"/>
                  </a:lnTo>
                  <a:lnTo>
                    <a:pt x="167419" y="61151"/>
                  </a:lnTo>
                  <a:cubicBezTo>
                    <a:pt x="107786" y="66128"/>
                    <a:pt x="60791" y="116080"/>
                    <a:pt x="60791" y="176964"/>
                  </a:cubicBezTo>
                  <a:cubicBezTo>
                    <a:pt x="60791" y="241048"/>
                    <a:pt x="113037" y="293221"/>
                    <a:pt x="177210" y="293221"/>
                  </a:cubicBezTo>
                  <a:cubicBezTo>
                    <a:pt x="206403" y="293221"/>
                    <a:pt x="233016" y="282378"/>
                    <a:pt x="253487" y="264601"/>
                  </a:cubicBezTo>
                  <a:cubicBezTo>
                    <a:pt x="253754" y="264424"/>
                    <a:pt x="254110" y="264335"/>
                    <a:pt x="254377" y="264068"/>
                  </a:cubicBezTo>
                  <a:cubicBezTo>
                    <a:pt x="254466" y="263890"/>
                    <a:pt x="254555" y="263713"/>
                    <a:pt x="254733" y="263535"/>
                  </a:cubicBezTo>
                  <a:cubicBezTo>
                    <a:pt x="276273" y="244247"/>
                    <a:pt x="290602" y="217138"/>
                    <a:pt x="293184" y="186652"/>
                  </a:cubicBezTo>
                  <a:lnTo>
                    <a:pt x="293362" y="186474"/>
                  </a:lnTo>
                  <a:lnTo>
                    <a:pt x="293540" y="182297"/>
                  </a:lnTo>
                  <a:cubicBezTo>
                    <a:pt x="293629" y="181408"/>
                    <a:pt x="293540" y="180519"/>
                    <a:pt x="293540" y="179630"/>
                  </a:cubicBezTo>
                  <a:cubicBezTo>
                    <a:pt x="293540" y="178741"/>
                    <a:pt x="293718" y="177853"/>
                    <a:pt x="293718" y="176964"/>
                  </a:cubicBezTo>
                  <a:cubicBezTo>
                    <a:pt x="293718" y="175719"/>
                    <a:pt x="293540" y="174475"/>
                    <a:pt x="293540" y="173320"/>
                  </a:cubicBezTo>
                  <a:cubicBezTo>
                    <a:pt x="293451" y="171453"/>
                    <a:pt x="293362" y="169676"/>
                    <a:pt x="293184" y="167898"/>
                  </a:cubicBezTo>
                  <a:cubicBezTo>
                    <a:pt x="293006" y="165498"/>
                    <a:pt x="292739" y="163098"/>
                    <a:pt x="292383" y="160698"/>
                  </a:cubicBezTo>
                  <a:cubicBezTo>
                    <a:pt x="292205" y="159276"/>
                    <a:pt x="292027" y="157854"/>
                    <a:pt x="291760" y="156432"/>
                  </a:cubicBezTo>
                  <a:cubicBezTo>
                    <a:pt x="291314" y="153766"/>
                    <a:pt x="290691" y="151188"/>
                    <a:pt x="290068" y="148522"/>
                  </a:cubicBezTo>
                  <a:cubicBezTo>
                    <a:pt x="289712" y="147366"/>
                    <a:pt x="289445" y="146211"/>
                    <a:pt x="289178" y="145144"/>
                  </a:cubicBezTo>
                  <a:cubicBezTo>
                    <a:pt x="288377" y="142389"/>
                    <a:pt x="287487" y="139722"/>
                    <a:pt x="286508" y="137145"/>
                  </a:cubicBezTo>
                  <a:cubicBezTo>
                    <a:pt x="286152" y="136078"/>
                    <a:pt x="285707" y="134923"/>
                    <a:pt x="285351" y="133856"/>
                  </a:cubicBezTo>
                  <a:cubicBezTo>
                    <a:pt x="284283" y="131367"/>
                    <a:pt x="283215" y="129057"/>
                    <a:pt x="282058" y="126657"/>
                  </a:cubicBezTo>
                  <a:cubicBezTo>
                    <a:pt x="281435" y="125412"/>
                    <a:pt x="280901" y="124168"/>
                    <a:pt x="280278" y="122924"/>
                  </a:cubicBezTo>
                  <a:cubicBezTo>
                    <a:pt x="279210" y="120968"/>
                    <a:pt x="278053" y="119013"/>
                    <a:pt x="276896" y="117057"/>
                  </a:cubicBezTo>
                  <a:cubicBezTo>
                    <a:pt x="276006" y="115546"/>
                    <a:pt x="275116" y="114035"/>
                    <a:pt x="274136" y="112613"/>
                  </a:cubicBezTo>
                  <a:cubicBezTo>
                    <a:pt x="273246" y="111191"/>
                    <a:pt x="272178" y="109858"/>
                    <a:pt x="271199" y="108525"/>
                  </a:cubicBezTo>
                  <a:cubicBezTo>
                    <a:pt x="269864" y="106658"/>
                    <a:pt x="268529" y="104792"/>
                    <a:pt x="267105" y="103014"/>
                  </a:cubicBezTo>
                  <a:cubicBezTo>
                    <a:pt x="266927" y="102836"/>
                    <a:pt x="266749" y="102659"/>
                    <a:pt x="266571" y="102481"/>
                  </a:cubicBezTo>
                  <a:cubicBezTo>
                    <a:pt x="264346" y="99814"/>
                    <a:pt x="262032" y="97148"/>
                    <a:pt x="259540" y="94659"/>
                  </a:cubicBezTo>
                  <a:cubicBezTo>
                    <a:pt x="256958" y="92082"/>
                    <a:pt x="254199" y="89682"/>
                    <a:pt x="251351" y="87371"/>
                  </a:cubicBezTo>
                  <a:cubicBezTo>
                    <a:pt x="251351" y="87282"/>
                    <a:pt x="251262" y="87282"/>
                    <a:pt x="251262" y="87193"/>
                  </a:cubicBezTo>
                  <a:cubicBezTo>
                    <a:pt x="249393" y="85682"/>
                    <a:pt x="247346" y="84260"/>
                    <a:pt x="245388" y="82838"/>
                  </a:cubicBezTo>
                  <a:cubicBezTo>
                    <a:pt x="244142" y="81949"/>
                    <a:pt x="242985" y="81060"/>
                    <a:pt x="241739" y="80171"/>
                  </a:cubicBezTo>
                  <a:cubicBezTo>
                    <a:pt x="240136" y="79105"/>
                    <a:pt x="238445" y="78216"/>
                    <a:pt x="236843" y="77238"/>
                  </a:cubicBezTo>
                  <a:cubicBezTo>
                    <a:pt x="235063" y="76172"/>
                    <a:pt x="233283" y="75105"/>
                    <a:pt x="231414" y="74039"/>
                  </a:cubicBezTo>
                  <a:cubicBezTo>
                    <a:pt x="230079" y="73328"/>
                    <a:pt x="228655" y="72705"/>
                    <a:pt x="227231" y="72083"/>
                  </a:cubicBezTo>
                  <a:cubicBezTo>
                    <a:pt x="225006" y="71017"/>
                    <a:pt x="222780" y="69950"/>
                    <a:pt x="220466" y="69061"/>
                  </a:cubicBezTo>
                  <a:cubicBezTo>
                    <a:pt x="219309" y="68617"/>
                    <a:pt x="218063" y="68172"/>
                    <a:pt x="216817" y="67728"/>
                  </a:cubicBezTo>
                  <a:cubicBezTo>
                    <a:pt x="214325" y="66839"/>
                    <a:pt x="211833" y="65950"/>
                    <a:pt x="209252" y="65239"/>
                  </a:cubicBezTo>
                  <a:cubicBezTo>
                    <a:pt x="208006" y="64884"/>
                    <a:pt x="206759" y="64617"/>
                    <a:pt x="205513" y="64262"/>
                  </a:cubicBezTo>
                  <a:cubicBezTo>
                    <a:pt x="202932" y="63639"/>
                    <a:pt x="200440" y="63017"/>
                    <a:pt x="197770" y="62573"/>
                  </a:cubicBezTo>
                  <a:cubicBezTo>
                    <a:pt x="196346" y="62306"/>
                    <a:pt x="194922" y="62128"/>
                    <a:pt x="193498" y="61951"/>
                  </a:cubicBezTo>
                  <a:cubicBezTo>
                    <a:pt x="191095" y="61595"/>
                    <a:pt x="188691" y="61329"/>
                    <a:pt x="186199" y="61062"/>
                  </a:cubicBezTo>
                  <a:cubicBezTo>
                    <a:pt x="184508" y="60973"/>
                    <a:pt x="182728" y="60884"/>
                    <a:pt x="181037" y="60795"/>
                  </a:cubicBezTo>
                  <a:cubicBezTo>
                    <a:pt x="179702" y="60795"/>
                    <a:pt x="178456" y="60617"/>
                    <a:pt x="177210" y="60617"/>
                  </a:cubicBezTo>
                  <a:close/>
                  <a:moveTo>
                    <a:pt x="431587" y="51374"/>
                  </a:moveTo>
                  <a:cubicBezTo>
                    <a:pt x="430252" y="51818"/>
                    <a:pt x="429273" y="52529"/>
                    <a:pt x="428294" y="53418"/>
                  </a:cubicBezTo>
                  <a:cubicBezTo>
                    <a:pt x="426424" y="55373"/>
                    <a:pt x="425356" y="58040"/>
                    <a:pt x="425356" y="60617"/>
                  </a:cubicBezTo>
                  <a:cubicBezTo>
                    <a:pt x="425356" y="63284"/>
                    <a:pt x="426424" y="65862"/>
                    <a:pt x="428294" y="67817"/>
                  </a:cubicBezTo>
                  <a:cubicBezTo>
                    <a:pt x="430163" y="69683"/>
                    <a:pt x="432833" y="70750"/>
                    <a:pt x="435414" y="70750"/>
                  </a:cubicBezTo>
                  <a:cubicBezTo>
                    <a:pt x="438084" y="70750"/>
                    <a:pt x="440754" y="69683"/>
                    <a:pt x="442623" y="67817"/>
                  </a:cubicBezTo>
                  <a:cubicBezTo>
                    <a:pt x="444493" y="65862"/>
                    <a:pt x="445561" y="63284"/>
                    <a:pt x="445561" y="60617"/>
                  </a:cubicBezTo>
                  <a:cubicBezTo>
                    <a:pt x="445561" y="58040"/>
                    <a:pt x="444493" y="55373"/>
                    <a:pt x="442623" y="53418"/>
                  </a:cubicBezTo>
                  <a:cubicBezTo>
                    <a:pt x="439775" y="50663"/>
                    <a:pt x="435325" y="49685"/>
                    <a:pt x="431587" y="51374"/>
                  </a:cubicBezTo>
                  <a:close/>
                  <a:moveTo>
                    <a:pt x="476000" y="50485"/>
                  </a:moveTo>
                  <a:cubicBezTo>
                    <a:pt x="470393" y="50485"/>
                    <a:pt x="465854" y="55018"/>
                    <a:pt x="465854" y="60617"/>
                  </a:cubicBezTo>
                  <a:cubicBezTo>
                    <a:pt x="465854" y="66217"/>
                    <a:pt x="470393" y="70750"/>
                    <a:pt x="476000" y="70750"/>
                  </a:cubicBezTo>
                  <a:lnTo>
                    <a:pt x="506351" y="70750"/>
                  </a:lnTo>
                  <a:cubicBezTo>
                    <a:pt x="511959" y="70750"/>
                    <a:pt x="516498" y="66217"/>
                    <a:pt x="516498" y="60617"/>
                  </a:cubicBezTo>
                  <a:cubicBezTo>
                    <a:pt x="516498" y="55018"/>
                    <a:pt x="511959" y="50485"/>
                    <a:pt x="506351" y="50485"/>
                  </a:cubicBezTo>
                  <a:close/>
                  <a:moveTo>
                    <a:pt x="374712" y="50485"/>
                  </a:moveTo>
                  <a:cubicBezTo>
                    <a:pt x="369105" y="50485"/>
                    <a:pt x="364566" y="55018"/>
                    <a:pt x="364566" y="60617"/>
                  </a:cubicBezTo>
                  <a:cubicBezTo>
                    <a:pt x="364566" y="66217"/>
                    <a:pt x="369105" y="70750"/>
                    <a:pt x="374712" y="70750"/>
                  </a:cubicBezTo>
                  <a:lnTo>
                    <a:pt x="394917" y="70750"/>
                  </a:lnTo>
                  <a:cubicBezTo>
                    <a:pt x="400524" y="70750"/>
                    <a:pt x="405063" y="66217"/>
                    <a:pt x="405063" y="60617"/>
                  </a:cubicBezTo>
                  <a:cubicBezTo>
                    <a:pt x="405063" y="55018"/>
                    <a:pt x="400524" y="50485"/>
                    <a:pt x="394917" y="50485"/>
                  </a:cubicBezTo>
                  <a:close/>
                  <a:moveTo>
                    <a:pt x="45571" y="0"/>
                  </a:moveTo>
                  <a:lnTo>
                    <a:pt x="562069" y="0"/>
                  </a:lnTo>
                  <a:cubicBezTo>
                    <a:pt x="587168" y="0"/>
                    <a:pt x="607639" y="20354"/>
                    <a:pt x="607639" y="45508"/>
                  </a:cubicBezTo>
                  <a:lnTo>
                    <a:pt x="607639" y="343795"/>
                  </a:lnTo>
                  <a:lnTo>
                    <a:pt x="0" y="343795"/>
                  </a:lnTo>
                  <a:lnTo>
                    <a:pt x="0" y="45508"/>
                  </a:lnTo>
                  <a:cubicBezTo>
                    <a:pt x="0" y="20354"/>
                    <a:pt x="20471" y="0"/>
                    <a:pt x="45571" y="0"/>
                  </a:cubicBezTo>
                  <a:close/>
                </a:path>
              </a:pathLst>
            </a:custGeom>
            <a:gradFill>
              <a:gsLst>
                <a:gs pos="33000">
                  <a:srgbClr val="4EBCF7"/>
                </a:gs>
                <a:gs pos="99000">
                  <a:srgbClr val="0870D3"/>
                </a:gs>
              </a:gsLst>
              <a:lin ang="10800000" scaled="0"/>
            </a:gradFill>
            <a:ln>
              <a:noFill/>
            </a:ln>
            <a:effectLst/>
          </p:spPr>
        </p:sp>
        <p:sp>
          <p:nvSpPr>
            <p:cNvPr id="28" name="矩形 27"/>
            <p:cNvSpPr/>
            <p:nvPr/>
          </p:nvSpPr>
          <p:spPr>
            <a:xfrm>
              <a:off x="1082791" y="386741"/>
              <a:ext cx="3523722" cy="5232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2800" kern="0" dirty="0">
                  <a:solidFill>
                    <a:srgbClr val="0870D3"/>
                  </a:solidFill>
                  <a:effectLst>
                    <a:outerShdw blurRad="76200" dist="127000" dir="8100000" algn="tr" rotWithShape="0">
                      <a:prstClr val="black">
                        <a:alpha val="40000"/>
                      </a:prstClr>
                    </a:outerShdw>
                  </a:effectLst>
                  <a:latin typeface="思源黑体 CN Bold" panose="020B0800000000000000" pitchFamily="34" charset="-122"/>
                  <a:ea typeface="思源黑体 CN Bold" panose="020B0800000000000000" pitchFamily="34" charset="-122"/>
                  <a:cs typeface="+mn-ea"/>
                  <a:sym typeface="+mn-lt"/>
                </a:rPr>
                <a:t>ENTER YOUR TITLE</a:t>
              </a:r>
              <a:endParaRPr lang="zh-CN" altLang="en-US" sz="2800" kern="0" dirty="0">
                <a:solidFill>
                  <a:srgbClr val="0870D3"/>
                </a:solidFill>
                <a:effectLst>
                  <a:outerShdw blurRad="76200" dist="127000" dir="8100000" algn="tr" rotWithShape="0">
                    <a:prstClr val="black">
                      <a:alpha val="40000"/>
                    </a:prstClr>
                  </a:outerShdw>
                </a:effectLst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endParaRPr>
            </a:p>
          </p:txBody>
        </p: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3000">
        <p:fade/>
      </p:transition>
    </mc:Choice>
    <mc:Fallback xmlns="">
      <p:transition spd="med" advClick="0" advTm="3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0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6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2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8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1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4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7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0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5" grpId="0" animBg="1"/>
      <p:bldP spid="16" grpId="0" animBg="1"/>
      <p:bldP spid="17" grpId="0" animBg="1"/>
      <p:bldP spid="18" grpId="0" animBg="1"/>
      <p:bldP spid="19" grpId="0" animBg="1"/>
      <p:bldP spid="20" grpId="0" animBg="1"/>
      <p:bldP spid="21" grpId="0" animBg="1"/>
      <p:bldP spid="23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ísļíḓè"/>
          <p:cNvSpPr/>
          <p:nvPr/>
        </p:nvSpPr>
        <p:spPr>
          <a:xfrm>
            <a:off x="7579737" y="1672786"/>
            <a:ext cx="3003066" cy="3003062"/>
          </a:xfrm>
          <a:prstGeom prst="roundRect">
            <a:avLst>
              <a:gd name="adj" fmla="val 6455"/>
            </a:avLst>
          </a:prstGeom>
          <a:blipFill>
            <a:blip r:embed="rId3" cstate="screen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aturation sat="33000"/>
                      </a14:imgEffect>
                    </a14:imgLayer>
                  </a14:imgProps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 lang="en-US" dirty="0">
              <a:latin typeface="仓耳青禾体-谷力 W05" panose="02020400000000000000" pitchFamily="18" charset="-122"/>
            </a:endParaRPr>
          </a:p>
        </p:txBody>
      </p:sp>
      <p:sp>
        <p:nvSpPr>
          <p:cNvPr id="21" name="ïSḻíḋé"/>
          <p:cNvSpPr/>
          <p:nvPr/>
        </p:nvSpPr>
        <p:spPr>
          <a:xfrm>
            <a:off x="8341598" y="4152692"/>
            <a:ext cx="1336452" cy="133645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/>
          <a:p>
            <a:pPr algn="ctr"/>
            <a:endParaRPr lang="en-US" sz="5400" dirty="0">
              <a:solidFill>
                <a:schemeClr val="tx1">
                  <a:lumMod val="75000"/>
                  <a:lumOff val="25000"/>
                </a:schemeClr>
              </a:solidFill>
              <a:latin typeface="仓耳青禾体-谷力 W05" panose="02020400000000000000" pitchFamily="18" charset="-122"/>
            </a:endParaRPr>
          </a:p>
        </p:txBody>
      </p:sp>
      <p:sp>
        <p:nvSpPr>
          <p:cNvPr id="22" name="îṧ1îdè"/>
          <p:cNvSpPr/>
          <p:nvPr/>
        </p:nvSpPr>
        <p:spPr bwMode="auto">
          <a:xfrm>
            <a:off x="8619791" y="4467368"/>
            <a:ext cx="780067" cy="707099"/>
          </a:xfrm>
          <a:custGeom>
            <a:avLst/>
            <a:gdLst>
              <a:gd name="connsiteX0" fmla="*/ 381535 w 609619"/>
              <a:gd name="connsiteY0" fmla="*/ 212929 h 552596"/>
              <a:gd name="connsiteX1" fmla="*/ 352835 w 609619"/>
              <a:gd name="connsiteY1" fmla="*/ 263726 h 552596"/>
              <a:gd name="connsiteX2" fmla="*/ 381535 w 609619"/>
              <a:gd name="connsiteY2" fmla="*/ 263726 h 552596"/>
              <a:gd name="connsiteX3" fmla="*/ 378170 w 609619"/>
              <a:gd name="connsiteY3" fmla="*/ 162879 h 552596"/>
              <a:gd name="connsiteX4" fmla="*/ 416031 w 609619"/>
              <a:gd name="connsiteY4" fmla="*/ 162879 h 552596"/>
              <a:gd name="connsiteX5" fmla="*/ 427063 w 609619"/>
              <a:gd name="connsiteY5" fmla="*/ 173897 h 552596"/>
              <a:gd name="connsiteX6" fmla="*/ 427063 w 609619"/>
              <a:gd name="connsiteY6" fmla="*/ 263726 h 552596"/>
              <a:gd name="connsiteX7" fmla="*/ 436692 w 609619"/>
              <a:gd name="connsiteY7" fmla="*/ 263726 h 552596"/>
              <a:gd name="connsiteX8" fmla="*/ 447723 w 609619"/>
              <a:gd name="connsiteY8" fmla="*/ 274745 h 552596"/>
              <a:gd name="connsiteX9" fmla="*/ 447723 w 609619"/>
              <a:gd name="connsiteY9" fmla="*/ 290245 h 552596"/>
              <a:gd name="connsiteX10" fmla="*/ 436692 w 609619"/>
              <a:gd name="connsiteY10" fmla="*/ 301264 h 552596"/>
              <a:gd name="connsiteX11" fmla="*/ 427063 w 609619"/>
              <a:gd name="connsiteY11" fmla="*/ 301264 h 552596"/>
              <a:gd name="connsiteX12" fmla="*/ 427063 w 609619"/>
              <a:gd name="connsiteY12" fmla="*/ 331238 h 552596"/>
              <a:gd name="connsiteX13" fmla="*/ 416031 w 609619"/>
              <a:gd name="connsiteY13" fmla="*/ 342256 h 552596"/>
              <a:gd name="connsiteX14" fmla="*/ 392567 w 609619"/>
              <a:gd name="connsiteY14" fmla="*/ 342256 h 552596"/>
              <a:gd name="connsiteX15" fmla="*/ 381535 w 609619"/>
              <a:gd name="connsiteY15" fmla="*/ 331238 h 552596"/>
              <a:gd name="connsiteX16" fmla="*/ 381535 w 609619"/>
              <a:gd name="connsiteY16" fmla="*/ 301264 h 552596"/>
              <a:gd name="connsiteX17" fmla="*/ 316282 w 609619"/>
              <a:gd name="connsiteY17" fmla="*/ 301264 h 552596"/>
              <a:gd name="connsiteX18" fmla="*/ 305251 w 609619"/>
              <a:gd name="connsiteY18" fmla="*/ 290245 h 552596"/>
              <a:gd name="connsiteX19" fmla="*/ 305251 w 609619"/>
              <a:gd name="connsiteY19" fmla="*/ 273437 h 552596"/>
              <a:gd name="connsiteX20" fmla="*/ 306934 w 609619"/>
              <a:gd name="connsiteY20" fmla="*/ 267648 h 552596"/>
              <a:gd name="connsiteX21" fmla="*/ 368821 w 609619"/>
              <a:gd name="connsiteY21" fmla="*/ 168015 h 552596"/>
              <a:gd name="connsiteX22" fmla="*/ 378170 w 609619"/>
              <a:gd name="connsiteY22" fmla="*/ 162879 h 552596"/>
              <a:gd name="connsiteX23" fmla="*/ 234995 w 609619"/>
              <a:gd name="connsiteY23" fmla="*/ 159916 h 552596"/>
              <a:gd name="connsiteX24" fmla="*/ 299038 w 609619"/>
              <a:gd name="connsiteY24" fmla="*/ 217615 h 552596"/>
              <a:gd name="connsiteX25" fmla="*/ 252105 w 609619"/>
              <a:gd name="connsiteY25" fmla="*/ 294361 h 552596"/>
              <a:gd name="connsiteX26" fmla="*/ 251824 w 609619"/>
              <a:gd name="connsiteY26" fmla="*/ 294641 h 552596"/>
              <a:gd name="connsiteX27" fmla="*/ 243129 w 609619"/>
              <a:gd name="connsiteY27" fmla="*/ 301830 h 552596"/>
              <a:gd name="connsiteX28" fmla="*/ 291185 w 609619"/>
              <a:gd name="connsiteY28" fmla="*/ 301830 h 552596"/>
              <a:gd name="connsiteX29" fmla="*/ 302217 w 609619"/>
              <a:gd name="connsiteY29" fmla="*/ 312847 h 552596"/>
              <a:gd name="connsiteX30" fmla="*/ 302217 w 609619"/>
              <a:gd name="connsiteY30" fmla="*/ 331240 h 552596"/>
              <a:gd name="connsiteX31" fmla="*/ 291185 w 609619"/>
              <a:gd name="connsiteY31" fmla="*/ 342257 h 552596"/>
              <a:gd name="connsiteX32" fmla="*/ 183761 w 609619"/>
              <a:gd name="connsiteY32" fmla="*/ 342257 h 552596"/>
              <a:gd name="connsiteX33" fmla="*/ 172729 w 609619"/>
              <a:gd name="connsiteY33" fmla="*/ 331240 h 552596"/>
              <a:gd name="connsiteX34" fmla="*/ 172729 w 609619"/>
              <a:gd name="connsiteY34" fmla="*/ 317515 h 552596"/>
              <a:gd name="connsiteX35" fmla="*/ 176375 w 609619"/>
              <a:gd name="connsiteY35" fmla="*/ 309299 h 552596"/>
              <a:gd name="connsiteX36" fmla="*/ 196102 w 609619"/>
              <a:gd name="connsiteY36" fmla="*/ 291467 h 552596"/>
              <a:gd name="connsiteX37" fmla="*/ 251450 w 609619"/>
              <a:gd name="connsiteY37" fmla="*/ 220976 h 552596"/>
              <a:gd name="connsiteX38" fmla="*/ 226768 w 609619"/>
              <a:gd name="connsiteY38" fmla="*/ 199596 h 552596"/>
              <a:gd name="connsiteX39" fmla="*/ 199188 w 609619"/>
              <a:gd name="connsiteY39" fmla="*/ 208279 h 552596"/>
              <a:gd name="connsiteX40" fmla="*/ 189838 w 609619"/>
              <a:gd name="connsiteY40" fmla="*/ 209399 h 552596"/>
              <a:gd name="connsiteX41" fmla="*/ 183107 w 609619"/>
              <a:gd name="connsiteY41" fmla="*/ 202957 h 552596"/>
              <a:gd name="connsiteX42" fmla="*/ 177217 w 609619"/>
              <a:gd name="connsiteY42" fmla="*/ 188112 h 552596"/>
              <a:gd name="connsiteX43" fmla="*/ 181611 w 609619"/>
              <a:gd name="connsiteY43" fmla="*/ 174761 h 552596"/>
              <a:gd name="connsiteX44" fmla="*/ 234995 w 609619"/>
              <a:gd name="connsiteY44" fmla="*/ 159916 h 552596"/>
              <a:gd name="connsiteX45" fmla="*/ 72010 w 609619"/>
              <a:gd name="connsiteY45" fmla="*/ 115246 h 552596"/>
              <a:gd name="connsiteX46" fmla="*/ 113065 w 609619"/>
              <a:gd name="connsiteY46" fmla="*/ 229459 h 552596"/>
              <a:gd name="connsiteX47" fmla="*/ 77528 w 609619"/>
              <a:gd name="connsiteY47" fmla="*/ 248416 h 552596"/>
              <a:gd name="connsiteX48" fmla="*/ 94736 w 609619"/>
              <a:gd name="connsiteY48" fmla="*/ 313040 h 552596"/>
              <a:gd name="connsiteX49" fmla="*/ 115684 w 609619"/>
              <a:gd name="connsiteY49" fmla="*/ 359640 h 552596"/>
              <a:gd name="connsiteX50" fmla="*/ 137194 w 609619"/>
              <a:gd name="connsiteY50" fmla="*/ 394474 h 552596"/>
              <a:gd name="connsiteX51" fmla="*/ 180400 w 609619"/>
              <a:gd name="connsiteY51" fmla="*/ 445556 h 552596"/>
              <a:gd name="connsiteX52" fmla="*/ 216311 w 609619"/>
              <a:gd name="connsiteY52" fmla="*/ 427346 h 552596"/>
              <a:gd name="connsiteX53" fmla="*/ 286544 w 609619"/>
              <a:gd name="connsiteY53" fmla="*/ 526336 h 552596"/>
              <a:gd name="connsiteX54" fmla="*/ 108764 w 609619"/>
              <a:gd name="connsiteY54" fmla="*/ 475253 h 552596"/>
              <a:gd name="connsiteX55" fmla="*/ 53868 w 609619"/>
              <a:gd name="connsiteY55" fmla="*/ 391859 h 552596"/>
              <a:gd name="connsiteX56" fmla="*/ 49285 w 609619"/>
              <a:gd name="connsiteY56" fmla="*/ 382800 h 552596"/>
              <a:gd name="connsiteX57" fmla="*/ 12158 w 609619"/>
              <a:gd name="connsiteY57" fmla="*/ 290160 h 552596"/>
              <a:gd name="connsiteX58" fmla="*/ 72010 w 609619"/>
              <a:gd name="connsiteY58" fmla="*/ 115246 h 552596"/>
              <a:gd name="connsiteX59" fmla="*/ 334262 w 609619"/>
              <a:gd name="connsiteY59" fmla="*/ 651 h 552596"/>
              <a:gd name="connsiteX60" fmla="*/ 471849 w 609619"/>
              <a:gd name="connsiteY60" fmla="*/ 53637 h 552596"/>
              <a:gd name="connsiteX61" fmla="*/ 535254 w 609619"/>
              <a:gd name="connsiteY61" fmla="*/ 125634 h 552596"/>
              <a:gd name="connsiteX62" fmla="*/ 601933 w 609619"/>
              <a:gd name="connsiteY62" fmla="*/ 161959 h 552596"/>
              <a:gd name="connsiteX63" fmla="*/ 609601 w 609619"/>
              <a:gd name="connsiteY63" fmla="*/ 175779 h 552596"/>
              <a:gd name="connsiteX64" fmla="*/ 600343 w 609619"/>
              <a:gd name="connsiteY64" fmla="*/ 188479 h 552596"/>
              <a:gd name="connsiteX65" fmla="*/ 564806 w 609619"/>
              <a:gd name="connsiteY65" fmla="*/ 202486 h 552596"/>
              <a:gd name="connsiteX66" fmla="*/ 568173 w 609619"/>
              <a:gd name="connsiteY66" fmla="*/ 222843 h 552596"/>
              <a:gd name="connsiteX67" fmla="*/ 516457 w 609619"/>
              <a:gd name="connsiteY67" fmla="*/ 410446 h 552596"/>
              <a:gd name="connsiteX68" fmla="*/ 347001 w 609619"/>
              <a:gd name="connsiteY68" fmla="*/ 506628 h 552596"/>
              <a:gd name="connsiteX69" fmla="*/ 343728 w 609619"/>
              <a:gd name="connsiteY69" fmla="*/ 506815 h 552596"/>
              <a:gd name="connsiteX70" fmla="*/ 317543 w 609619"/>
              <a:gd name="connsiteY70" fmla="*/ 483750 h 552596"/>
              <a:gd name="connsiteX71" fmla="*/ 340455 w 609619"/>
              <a:gd name="connsiteY71" fmla="*/ 454242 h 552596"/>
              <a:gd name="connsiteX72" fmla="*/ 474748 w 609619"/>
              <a:gd name="connsiteY72" fmla="*/ 378043 h 552596"/>
              <a:gd name="connsiteX73" fmla="*/ 515802 w 609619"/>
              <a:gd name="connsiteY73" fmla="*/ 229380 h 552596"/>
              <a:gd name="connsiteX74" fmla="*/ 514774 w 609619"/>
              <a:gd name="connsiteY74" fmla="*/ 222283 h 552596"/>
              <a:gd name="connsiteX75" fmla="*/ 478488 w 609619"/>
              <a:gd name="connsiteY75" fmla="*/ 236570 h 552596"/>
              <a:gd name="connsiteX76" fmla="*/ 462964 w 609619"/>
              <a:gd name="connsiteY76" fmla="*/ 233582 h 552596"/>
              <a:gd name="connsiteX77" fmla="*/ 459130 w 609619"/>
              <a:gd name="connsiteY77" fmla="*/ 218268 h 552596"/>
              <a:gd name="connsiteX78" fmla="*/ 483913 w 609619"/>
              <a:gd name="connsiteY78" fmla="*/ 143283 h 552596"/>
              <a:gd name="connsiteX79" fmla="*/ 290516 w 609619"/>
              <a:gd name="connsiteY79" fmla="*/ 54291 h 552596"/>
              <a:gd name="connsiteX80" fmla="*/ 170719 w 609619"/>
              <a:gd name="connsiteY80" fmla="*/ 113961 h 552596"/>
              <a:gd name="connsiteX81" fmla="*/ 133312 w 609619"/>
              <a:gd name="connsiteY81" fmla="*/ 114521 h 552596"/>
              <a:gd name="connsiteX82" fmla="*/ 132751 w 609619"/>
              <a:gd name="connsiteY82" fmla="*/ 77262 h 552596"/>
              <a:gd name="connsiteX83" fmla="*/ 283970 w 609619"/>
              <a:gd name="connsiteY83" fmla="*/ 1997 h 552596"/>
              <a:gd name="connsiteX84" fmla="*/ 334262 w 609619"/>
              <a:gd name="connsiteY84" fmla="*/ 651 h 5525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</a:cxnLst>
            <a:rect l="l" t="t" r="r" b="b"/>
            <a:pathLst>
              <a:path w="609619" h="552596">
                <a:moveTo>
                  <a:pt x="381535" y="212929"/>
                </a:moveTo>
                <a:lnTo>
                  <a:pt x="352835" y="263726"/>
                </a:lnTo>
                <a:lnTo>
                  <a:pt x="381535" y="263726"/>
                </a:lnTo>
                <a:close/>
                <a:moveTo>
                  <a:pt x="378170" y="162879"/>
                </a:moveTo>
                <a:lnTo>
                  <a:pt x="416031" y="162879"/>
                </a:lnTo>
                <a:cubicBezTo>
                  <a:pt x="422108" y="162879"/>
                  <a:pt x="427063" y="167828"/>
                  <a:pt x="427063" y="173897"/>
                </a:cubicBezTo>
                <a:lnTo>
                  <a:pt x="427063" y="263726"/>
                </a:lnTo>
                <a:lnTo>
                  <a:pt x="436692" y="263726"/>
                </a:lnTo>
                <a:cubicBezTo>
                  <a:pt x="442768" y="263726"/>
                  <a:pt x="447723" y="268675"/>
                  <a:pt x="447723" y="274745"/>
                </a:cubicBezTo>
                <a:lnTo>
                  <a:pt x="447723" y="290245"/>
                </a:lnTo>
                <a:cubicBezTo>
                  <a:pt x="447723" y="296315"/>
                  <a:pt x="442768" y="301264"/>
                  <a:pt x="436692" y="301264"/>
                </a:cubicBezTo>
                <a:lnTo>
                  <a:pt x="427063" y="301264"/>
                </a:lnTo>
                <a:lnTo>
                  <a:pt x="427063" y="331238"/>
                </a:lnTo>
                <a:cubicBezTo>
                  <a:pt x="427063" y="337307"/>
                  <a:pt x="422108" y="342256"/>
                  <a:pt x="416031" y="342256"/>
                </a:cubicBezTo>
                <a:lnTo>
                  <a:pt x="392567" y="342256"/>
                </a:lnTo>
                <a:cubicBezTo>
                  <a:pt x="386490" y="342256"/>
                  <a:pt x="381535" y="337307"/>
                  <a:pt x="381535" y="331238"/>
                </a:cubicBezTo>
                <a:lnTo>
                  <a:pt x="381535" y="301264"/>
                </a:lnTo>
                <a:lnTo>
                  <a:pt x="316282" y="301264"/>
                </a:lnTo>
                <a:cubicBezTo>
                  <a:pt x="310206" y="301264"/>
                  <a:pt x="305251" y="296315"/>
                  <a:pt x="305251" y="290245"/>
                </a:cubicBezTo>
                <a:lnTo>
                  <a:pt x="305251" y="273437"/>
                </a:lnTo>
                <a:cubicBezTo>
                  <a:pt x="305251" y="271383"/>
                  <a:pt x="305812" y="269329"/>
                  <a:pt x="306934" y="267648"/>
                </a:cubicBezTo>
                <a:lnTo>
                  <a:pt x="368821" y="168015"/>
                </a:lnTo>
                <a:cubicBezTo>
                  <a:pt x="370878" y="164840"/>
                  <a:pt x="374430" y="162879"/>
                  <a:pt x="378170" y="162879"/>
                </a:cubicBezTo>
                <a:close/>
                <a:moveTo>
                  <a:pt x="234995" y="159916"/>
                </a:moveTo>
                <a:cubicBezTo>
                  <a:pt x="273889" y="159916"/>
                  <a:pt x="299038" y="182604"/>
                  <a:pt x="299038" y="217615"/>
                </a:cubicBezTo>
                <a:cubicBezTo>
                  <a:pt x="299038" y="246558"/>
                  <a:pt x="280246" y="269246"/>
                  <a:pt x="252105" y="294361"/>
                </a:cubicBezTo>
                <a:cubicBezTo>
                  <a:pt x="252011" y="294454"/>
                  <a:pt x="251918" y="294548"/>
                  <a:pt x="251824" y="294641"/>
                </a:cubicBezTo>
                <a:lnTo>
                  <a:pt x="243129" y="301830"/>
                </a:lnTo>
                <a:lnTo>
                  <a:pt x="291185" y="301830"/>
                </a:lnTo>
                <a:cubicBezTo>
                  <a:pt x="297262" y="301830"/>
                  <a:pt x="302217" y="306778"/>
                  <a:pt x="302217" y="312847"/>
                </a:cubicBezTo>
                <a:lnTo>
                  <a:pt x="302217" y="331240"/>
                </a:lnTo>
                <a:cubicBezTo>
                  <a:pt x="302217" y="337309"/>
                  <a:pt x="297262" y="342257"/>
                  <a:pt x="291185" y="342257"/>
                </a:cubicBezTo>
                <a:lnTo>
                  <a:pt x="183761" y="342257"/>
                </a:lnTo>
                <a:cubicBezTo>
                  <a:pt x="177684" y="342257"/>
                  <a:pt x="172729" y="337309"/>
                  <a:pt x="172729" y="331240"/>
                </a:cubicBezTo>
                <a:lnTo>
                  <a:pt x="172729" y="317515"/>
                </a:lnTo>
                <a:cubicBezTo>
                  <a:pt x="172729" y="314341"/>
                  <a:pt x="174038" y="311447"/>
                  <a:pt x="176375" y="309299"/>
                </a:cubicBezTo>
                <a:lnTo>
                  <a:pt x="196102" y="291467"/>
                </a:lnTo>
                <a:cubicBezTo>
                  <a:pt x="233219" y="258322"/>
                  <a:pt x="250889" y="239369"/>
                  <a:pt x="251450" y="220976"/>
                </a:cubicBezTo>
                <a:cubicBezTo>
                  <a:pt x="251357" y="212947"/>
                  <a:pt x="248178" y="199596"/>
                  <a:pt x="226768" y="199596"/>
                </a:cubicBezTo>
                <a:cubicBezTo>
                  <a:pt x="217793" y="199596"/>
                  <a:pt x="208537" y="202490"/>
                  <a:pt x="199188" y="208279"/>
                </a:cubicBezTo>
                <a:cubicBezTo>
                  <a:pt x="196383" y="210053"/>
                  <a:pt x="192924" y="210426"/>
                  <a:pt x="189838" y="209399"/>
                </a:cubicBezTo>
                <a:cubicBezTo>
                  <a:pt x="186753" y="208372"/>
                  <a:pt x="184322" y="206038"/>
                  <a:pt x="183107" y="202957"/>
                </a:cubicBezTo>
                <a:lnTo>
                  <a:pt x="177217" y="188112"/>
                </a:lnTo>
                <a:cubicBezTo>
                  <a:pt x="175253" y="183257"/>
                  <a:pt x="177123" y="177655"/>
                  <a:pt x="181611" y="174761"/>
                </a:cubicBezTo>
                <a:cubicBezTo>
                  <a:pt x="196663" y="165238"/>
                  <a:pt x="215549" y="159916"/>
                  <a:pt x="234995" y="159916"/>
                </a:cubicBezTo>
                <a:close/>
                <a:moveTo>
                  <a:pt x="72010" y="115246"/>
                </a:moveTo>
                <a:cubicBezTo>
                  <a:pt x="138035" y="105721"/>
                  <a:pt x="146826" y="197054"/>
                  <a:pt x="113065" y="229459"/>
                </a:cubicBezTo>
                <a:cubicBezTo>
                  <a:pt x="107267" y="234969"/>
                  <a:pt x="79772" y="243747"/>
                  <a:pt x="77528" y="248416"/>
                </a:cubicBezTo>
                <a:cubicBezTo>
                  <a:pt x="81362" y="270456"/>
                  <a:pt x="87067" y="292121"/>
                  <a:pt x="94736" y="313040"/>
                </a:cubicBezTo>
                <a:cubicBezTo>
                  <a:pt x="100627" y="329103"/>
                  <a:pt x="107641" y="344605"/>
                  <a:pt x="115684" y="359640"/>
                </a:cubicBezTo>
                <a:cubicBezTo>
                  <a:pt x="122137" y="371687"/>
                  <a:pt x="129338" y="383361"/>
                  <a:pt x="137194" y="394474"/>
                </a:cubicBezTo>
                <a:cubicBezTo>
                  <a:pt x="150006" y="412778"/>
                  <a:pt x="164501" y="429867"/>
                  <a:pt x="180400" y="445556"/>
                </a:cubicBezTo>
                <a:cubicBezTo>
                  <a:pt x="185543" y="446397"/>
                  <a:pt x="208456" y="428933"/>
                  <a:pt x="216311" y="427346"/>
                </a:cubicBezTo>
                <a:cubicBezTo>
                  <a:pt x="262229" y="418194"/>
                  <a:pt x="331995" y="476561"/>
                  <a:pt x="286544" y="526336"/>
                </a:cubicBezTo>
                <a:cubicBezTo>
                  <a:pt x="227814" y="588812"/>
                  <a:pt x="148416" y="526803"/>
                  <a:pt x="108764" y="475253"/>
                </a:cubicBezTo>
                <a:cubicBezTo>
                  <a:pt x="93894" y="455922"/>
                  <a:pt x="73039" y="426038"/>
                  <a:pt x="53868" y="391859"/>
                </a:cubicBezTo>
                <a:lnTo>
                  <a:pt x="49285" y="382800"/>
                </a:lnTo>
                <a:cubicBezTo>
                  <a:pt x="32171" y="347500"/>
                  <a:pt x="19546" y="313320"/>
                  <a:pt x="12158" y="290160"/>
                </a:cubicBezTo>
                <a:cubicBezTo>
                  <a:pt x="-7481" y="228151"/>
                  <a:pt x="-12999" y="127574"/>
                  <a:pt x="72010" y="115246"/>
                </a:cubicBezTo>
                <a:close/>
                <a:moveTo>
                  <a:pt x="334262" y="651"/>
                </a:moveTo>
                <a:cubicBezTo>
                  <a:pt x="384017" y="4209"/>
                  <a:pt x="431589" y="22331"/>
                  <a:pt x="471849" y="53637"/>
                </a:cubicBezTo>
                <a:cubicBezTo>
                  <a:pt x="497753" y="73714"/>
                  <a:pt x="519169" y="98180"/>
                  <a:pt x="535254" y="125634"/>
                </a:cubicBezTo>
                <a:lnTo>
                  <a:pt x="601933" y="161959"/>
                </a:lnTo>
                <a:cubicBezTo>
                  <a:pt x="606983" y="164667"/>
                  <a:pt x="609882" y="170083"/>
                  <a:pt x="609601" y="175779"/>
                </a:cubicBezTo>
                <a:cubicBezTo>
                  <a:pt x="609227" y="181382"/>
                  <a:pt x="605580" y="186425"/>
                  <a:pt x="600343" y="188479"/>
                </a:cubicBezTo>
                <a:lnTo>
                  <a:pt x="564806" y="202486"/>
                </a:lnTo>
                <a:cubicBezTo>
                  <a:pt x="566209" y="209210"/>
                  <a:pt x="567331" y="215933"/>
                  <a:pt x="568173" y="222843"/>
                </a:cubicBezTo>
                <a:cubicBezTo>
                  <a:pt x="576589" y="290171"/>
                  <a:pt x="558260" y="356845"/>
                  <a:pt x="516457" y="410446"/>
                </a:cubicBezTo>
                <a:cubicBezTo>
                  <a:pt x="474748" y="464047"/>
                  <a:pt x="414522" y="498224"/>
                  <a:pt x="347001" y="506628"/>
                </a:cubicBezTo>
                <a:cubicBezTo>
                  <a:pt x="345879" y="506722"/>
                  <a:pt x="344851" y="506815"/>
                  <a:pt x="343728" y="506815"/>
                </a:cubicBezTo>
                <a:cubicBezTo>
                  <a:pt x="330636" y="506815"/>
                  <a:pt x="319226" y="497010"/>
                  <a:pt x="317543" y="483750"/>
                </a:cubicBezTo>
                <a:cubicBezTo>
                  <a:pt x="315766" y="469276"/>
                  <a:pt x="326053" y="456109"/>
                  <a:pt x="340455" y="454242"/>
                </a:cubicBezTo>
                <a:cubicBezTo>
                  <a:pt x="393948" y="447611"/>
                  <a:pt x="441642" y="420531"/>
                  <a:pt x="474748" y="378043"/>
                </a:cubicBezTo>
                <a:cubicBezTo>
                  <a:pt x="507853" y="335554"/>
                  <a:pt x="522442" y="282794"/>
                  <a:pt x="515802" y="229380"/>
                </a:cubicBezTo>
                <a:cubicBezTo>
                  <a:pt x="515428" y="226952"/>
                  <a:pt x="515148" y="224618"/>
                  <a:pt x="514774" y="222283"/>
                </a:cubicBezTo>
                <a:lnTo>
                  <a:pt x="478488" y="236570"/>
                </a:lnTo>
                <a:cubicBezTo>
                  <a:pt x="473158" y="238625"/>
                  <a:pt x="467173" y="237504"/>
                  <a:pt x="462964" y="233582"/>
                </a:cubicBezTo>
                <a:cubicBezTo>
                  <a:pt x="458850" y="229660"/>
                  <a:pt x="457353" y="223684"/>
                  <a:pt x="459130" y="218268"/>
                </a:cubicBezTo>
                <a:lnTo>
                  <a:pt x="483913" y="143283"/>
                </a:lnTo>
                <a:cubicBezTo>
                  <a:pt x="442858" y="81465"/>
                  <a:pt x="369072" y="44579"/>
                  <a:pt x="290516" y="54291"/>
                </a:cubicBezTo>
                <a:cubicBezTo>
                  <a:pt x="244412" y="60080"/>
                  <a:pt x="202983" y="80718"/>
                  <a:pt x="170719" y="113961"/>
                </a:cubicBezTo>
                <a:cubicBezTo>
                  <a:pt x="160526" y="124420"/>
                  <a:pt x="143786" y="124700"/>
                  <a:pt x="133312" y="114521"/>
                </a:cubicBezTo>
                <a:cubicBezTo>
                  <a:pt x="122838" y="104343"/>
                  <a:pt x="122557" y="87721"/>
                  <a:pt x="132751" y="77262"/>
                </a:cubicBezTo>
                <a:cubicBezTo>
                  <a:pt x="172870" y="35895"/>
                  <a:pt x="226643" y="9094"/>
                  <a:pt x="283970" y="1997"/>
                </a:cubicBezTo>
                <a:cubicBezTo>
                  <a:pt x="300850" y="-104"/>
                  <a:pt x="317677" y="-536"/>
                  <a:pt x="334262" y="651"/>
                </a:cubicBezTo>
                <a:close/>
              </a:path>
            </a:pathLst>
          </a:custGeom>
          <a:gradFill>
            <a:gsLst>
              <a:gs pos="33000">
                <a:srgbClr val="0870D3"/>
              </a:gs>
              <a:gs pos="100000">
                <a:srgbClr val="4EBCF7"/>
              </a:gs>
            </a:gsLst>
            <a:lin ang="10800000" scaled="0"/>
          </a:gradFill>
          <a:ln w="0">
            <a:noFill/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ru-RU" sz="3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7" name="íSlîďe"/>
          <p:cNvSpPr/>
          <p:nvPr/>
        </p:nvSpPr>
        <p:spPr>
          <a:xfrm>
            <a:off x="1609197" y="1672786"/>
            <a:ext cx="3003066" cy="3003062"/>
          </a:xfrm>
          <a:prstGeom prst="roundRect">
            <a:avLst>
              <a:gd name="adj" fmla="val 6455"/>
            </a:avLst>
          </a:prstGeom>
          <a:blipFill>
            <a:blip r:embed="rId5" cstate="screen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aturation sat="33000"/>
                      </a14:imgEffect>
                    </a14:imgLayer>
                  </a14:imgProps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 lang="en-US" dirty="0">
              <a:latin typeface="仓耳青禾体-谷力 W05" panose="02020400000000000000" pitchFamily="18" charset="-122"/>
            </a:endParaRPr>
          </a:p>
        </p:txBody>
      </p:sp>
      <p:sp>
        <p:nvSpPr>
          <p:cNvPr id="18" name="íSļíḋè"/>
          <p:cNvSpPr/>
          <p:nvPr/>
        </p:nvSpPr>
        <p:spPr>
          <a:xfrm>
            <a:off x="2371058" y="4152692"/>
            <a:ext cx="1336452" cy="133645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/>
          <a:p>
            <a:pPr algn="ctr"/>
            <a:endParaRPr lang="en-US" sz="5400" dirty="0">
              <a:solidFill>
                <a:schemeClr val="tx1">
                  <a:lumMod val="75000"/>
                  <a:lumOff val="25000"/>
                </a:schemeClr>
              </a:solidFill>
              <a:latin typeface="仓耳青禾体-谷力 W05" panose="02020400000000000000" pitchFamily="18" charset="-122"/>
            </a:endParaRPr>
          </a:p>
        </p:txBody>
      </p:sp>
      <p:sp>
        <p:nvSpPr>
          <p:cNvPr id="19" name="íṩḷidê"/>
          <p:cNvSpPr/>
          <p:nvPr/>
        </p:nvSpPr>
        <p:spPr bwMode="auto">
          <a:xfrm>
            <a:off x="2649251" y="4467368"/>
            <a:ext cx="780067" cy="707099"/>
          </a:xfrm>
          <a:custGeom>
            <a:avLst/>
            <a:gdLst>
              <a:gd name="connsiteX0" fmla="*/ 381535 w 609619"/>
              <a:gd name="connsiteY0" fmla="*/ 212929 h 552596"/>
              <a:gd name="connsiteX1" fmla="*/ 352835 w 609619"/>
              <a:gd name="connsiteY1" fmla="*/ 263726 h 552596"/>
              <a:gd name="connsiteX2" fmla="*/ 381535 w 609619"/>
              <a:gd name="connsiteY2" fmla="*/ 263726 h 552596"/>
              <a:gd name="connsiteX3" fmla="*/ 378170 w 609619"/>
              <a:gd name="connsiteY3" fmla="*/ 162879 h 552596"/>
              <a:gd name="connsiteX4" fmla="*/ 416031 w 609619"/>
              <a:gd name="connsiteY4" fmla="*/ 162879 h 552596"/>
              <a:gd name="connsiteX5" fmla="*/ 427063 w 609619"/>
              <a:gd name="connsiteY5" fmla="*/ 173897 h 552596"/>
              <a:gd name="connsiteX6" fmla="*/ 427063 w 609619"/>
              <a:gd name="connsiteY6" fmla="*/ 263726 h 552596"/>
              <a:gd name="connsiteX7" fmla="*/ 436692 w 609619"/>
              <a:gd name="connsiteY7" fmla="*/ 263726 h 552596"/>
              <a:gd name="connsiteX8" fmla="*/ 447723 w 609619"/>
              <a:gd name="connsiteY8" fmla="*/ 274745 h 552596"/>
              <a:gd name="connsiteX9" fmla="*/ 447723 w 609619"/>
              <a:gd name="connsiteY9" fmla="*/ 290245 h 552596"/>
              <a:gd name="connsiteX10" fmla="*/ 436692 w 609619"/>
              <a:gd name="connsiteY10" fmla="*/ 301264 h 552596"/>
              <a:gd name="connsiteX11" fmla="*/ 427063 w 609619"/>
              <a:gd name="connsiteY11" fmla="*/ 301264 h 552596"/>
              <a:gd name="connsiteX12" fmla="*/ 427063 w 609619"/>
              <a:gd name="connsiteY12" fmla="*/ 331238 h 552596"/>
              <a:gd name="connsiteX13" fmla="*/ 416031 w 609619"/>
              <a:gd name="connsiteY13" fmla="*/ 342256 h 552596"/>
              <a:gd name="connsiteX14" fmla="*/ 392567 w 609619"/>
              <a:gd name="connsiteY14" fmla="*/ 342256 h 552596"/>
              <a:gd name="connsiteX15" fmla="*/ 381535 w 609619"/>
              <a:gd name="connsiteY15" fmla="*/ 331238 h 552596"/>
              <a:gd name="connsiteX16" fmla="*/ 381535 w 609619"/>
              <a:gd name="connsiteY16" fmla="*/ 301264 h 552596"/>
              <a:gd name="connsiteX17" fmla="*/ 316282 w 609619"/>
              <a:gd name="connsiteY17" fmla="*/ 301264 h 552596"/>
              <a:gd name="connsiteX18" fmla="*/ 305251 w 609619"/>
              <a:gd name="connsiteY18" fmla="*/ 290245 h 552596"/>
              <a:gd name="connsiteX19" fmla="*/ 305251 w 609619"/>
              <a:gd name="connsiteY19" fmla="*/ 273437 h 552596"/>
              <a:gd name="connsiteX20" fmla="*/ 306934 w 609619"/>
              <a:gd name="connsiteY20" fmla="*/ 267648 h 552596"/>
              <a:gd name="connsiteX21" fmla="*/ 368821 w 609619"/>
              <a:gd name="connsiteY21" fmla="*/ 168015 h 552596"/>
              <a:gd name="connsiteX22" fmla="*/ 378170 w 609619"/>
              <a:gd name="connsiteY22" fmla="*/ 162879 h 552596"/>
              <a:gd name="connsiteX23" fmla="*/ 234995 w 609619"/>
              <a:gd name="connsiteY23" fmla="*/ 159916 h 552596"/>
              <a:gd name="connsiteX24" fmla="*/ 299038 w 609619"/>
              <a:gd name="connsiteY24" fmla="*/ 217615 h 552596"/>
              <a:gd name="connsiteX25" fmla="*/ 252105 w 609619"/>
              <a:gd name="connsiteY25" fmla="*/ 294361 h 552596"/>
              <a:gd name="connsiteX26" fmla="*/ 251824 w 609619"/>
              <a:gd name="connsiteY26" fmla="*/ 294641 h 552596"/>
              <a:gd name="connsiteX27" fmla="*/ 243129 w 609619"/>
              <a:gd name="connsiteY27" fmla="*/ 301830 h 552596"/>
              <a:gd name="connsiteX28" fmla="*/ 291185 w 609619"/>
              <a:gd name="connsiteY28" fmla="*/ 301830 h 552596"/>
              <a:gd name="connsiteX29" fmla="*/ 302217 w 609619"/>
              <a:gd name="connsiteY29" fmla="*/ 312847 h 552596"/>
              <a:gd name="connsiteX30" fmla="*/ 302217 w 609619"/>
              <a:gd name="connsiteY30" fmla="*/ 331240 h 552596"/>
              <a:gd name="connsiteX31" fmla="*/ 291185 w 609619"/>
              <a:gd name="connsiteY31" fmla="*/ 342257 h 552596"/>
              <a:gd name="connsiteX32" fmla="*/ 183761 w 609619"/>
              <a:gd name="connsiteY32" fmla="*/ 342257 h 552596"/>
              <a:gd name="connsiteX33" fmla="*/ 172729 w 609619"/>
              <a:gd name="connsiteY33" fmla="*/ 331240 h 552596"/>
              <a:gd name="connsiteX34" fmla="*/ 172729 w 609619"/>
              <a:gd name="connsiteY34" fmla="*/ 317515 h 552596"/>
              <a:gd name="connsiteX35" fmla="*/ 176375 w 609619"/>
              <a:gd name="connsiteY35" fmla="*/ 309299 h 552596"/>
              <a:gd name="connsiteX36" fmla="*/ 196102 w 609619"/>
              <a:gd name="connsiteY36" fmla="*/ 291467 h 552596"/>
              <a:gd name="connsiteX37" fmla="*/ 251450 w 609619"/>
              <a:gd name="connsiteY37" fmla="*/ 220976 h 552596"/>
              <a:gd name="connsiteX38" fmla="*/ 226768 w 609619"/>
              <a:gd name="connsiteY38" fmla="*/ 199596 h 552596"/>
              <a:gd name="connsiteX39" fmla="*/ 199188 w 609619"/>
              <a:gd name="connsiteY39" fmla="*/ 208279 h 552596"/>
              <a:gd name="connsiteX40" fmla="*/ 189838 w 609619"/>
              <a:gd name="connsiteY40" fmla="*/ 209399 h 552596"/>
              <a:gd name="connsiteX41" fmla="*/ 183107 w 609619"/>
              <a:gd name="connsiteY41" fmla="*/ 202957 h 552596"/>
              <a:gd name="connsiteX42" fmla="*/ 177217 w 609619"/>
              <a:gd name="connsiteY42" fmla="*/ 188112 h 552596"/>
              <a:gd name="connsiteX43" fmla="*/ 181611 w 609619"/>
              <a:gd name="connsiteY43" fmla="*/ 174761 h 552596"/>
              <a:gd name="connsiteX44" fmla="*/ 234995 w 609619"/>
              <a:gd name="connsiteY44" fmla="*/ 159916 h 552596"/>
              <a:gd name="connsiteX45" fmla="*/ 72010 w 609619"/>
              <a:gd name="connsiteY45" fmla="*/ 115246 h 552596"/>
              <a:gd name="connsiteX46" fmla="*/ 113065 w 609619"/>
              <a:gd name="connsiteY46" fmla="*/ 229459 h 552596"/>
              <a:gd name="connsiteX47" fmla="*/ 77528 w 609619"/>
              <a:gd name="connsiteY47" fmla="*/ 248416 h 552596"/>
              <a:gd name="connsiteX48" fmla="*/ 94736 w 609619"/>
              <a:gd name="connsiteY48" fmla="*/ 313040 h 552596"/>
              <a:gd name="connsiteX49" fmla="*/ 115684 w 609619"/>
              <a:gd name="connsiteY49" fmla="*/ 359640 h 552596"/>
              <a:gd name="connsiteX50" fmla="*/ 137194 w 609619"/>
              <a:gd name="connsiteY50" fmla="*/ 394474 h 552596"/>
              <a:gd name="connsiteX51" fmla="*/ 180400 w 609619"/>
              <a:gd name="connsiteY51" fmla="*/ 445556 h 552596"/>
              <a:gd name="connsiteX52" fmla="*/ 216311 w 609619"/>
              <a:gd name="connsiteY52" fmla="*/ 427346 h 552596"/>
              <a:gd name="connsiteX53" fmla="*/ 286544 w 609619"/>
              <a:gd name="connsiteY53" fmla="*/ 526336 h 552596"/>
              <a:gd name="connsiteX54" fmla="*/ 108764 w 609619"/>
              <a:gd name="connsiteY54" fmla="*/ 475253 h 552596"/>
              <a:gd name="connsiteX55" fmla="*/ 53868 w 609619"/>
              <a:gd name="connsiteY55" fmla="*/ 391859 h 552596"/>
              <a:gd name="connsiteX56" fmla="*/ 49285 w 609619"/>
              <a:gd name="connsiteY56" fmla="*/ 382800 h 552596"/>
              <a:gd name="connsiteX57" fmla="*/ 12158 w 609619"/>
              <a:gd name="connsiteY57" fmla="*/ 290160 h 552596"/>
              <a:gd name="connsiteX58" fmla="*/ 72010 w 609619"/>
              <a:gd name="connsiteY58" fmla="*/ 115246 h 552596"/>
              <a:gd name="connsiteX59" fmla="*/ 334262 w 609619"/>
              <a:gd name="connsiteY59" fmla="*/ 651 h 552596"/>
              <a:gd name="connsiteX60" fmla="*/ 471849 w 609619"/>
              <a:gd name="connsiteY60" fmla="*/ 53637 h 552596"/>
              <a:gd name="connsiteX61" fmla="*/ 535254 w 609619"/>
              <a:gd name="connsiteY61" fmla="*/ 125634 h 552596"/>
              <a:gd name="connsiteX62" fmla="*/ 601933 w 609619"/>
              <a:gd name="connsiteY62" fmla="*/ 161959 h 552596"/>
              <a:gd name="connsiteX63" fmla="*/ 609601 w 609619"/>
              <a:gd name="connsiteY63" fmla="*/ 175779 h 552596"/>
              <a:gd name="connsiteX64" fmla="*/ 600343 w 609619"/>
              <a:gd name="connsiteY64" fmla="*/ 188479 h 552596"/>
              <a:gd name="connsiteX65" fmla="*/ 564806 w 609619"/>
              <a:gd name="connsiteY65" fmla="*/ 202486 h 552596"/>
              <a:gd name="connsiteX66" fmla="*/ 568173 w 609619"/>
              <a:gd name="connsiteY66" fmla="*/ 222843 h 552596"/>
              <a:gd name="connsiteX67" fmla="*/ 516457 w 609619"/>
              <a:gd name="connsiteY67" fmla="*/ 410446 h 552596"/>
              <a:gd name="connsiteX68" fmla="*/ 347001 w 609619"/>
              <a:gd name="connsiteY68" fmla="*/ 506628 h 552596"/>
              <a:gd name="connsiteX69" fmla="*/ 343728 w 609619"/>
              <a:gd name="connsiteY69" fmla="*/ 506815 h 552596"/>
              <a:gd name="connsiteX70" fmla="*/ 317543 w 609619"/>
              <a:gd name="connsiteY70" fmla="*/ 483750 h 552596"/>
              <a:gd name="connsiteX71" fmla="*/ 340455 w 609619"/>
              <a:gd name="connsiteY71" fmla="*/ 454242 h 552596"/>
              <a:gd name="connsiteX72" fmla="*/ 474748 w 609619"/>
              <a:gd name="connsiteY72" fmla="*/ 378043 h 552596"/>
              <a:gd name="connsiteX73" fmla="*/ 515802 w 609619"/>
              <a:gd name="connsiteY73" fmla="*/ 229380 h 552596"/>
              <a:gd name="connsiteX74" fmla="*/ 514774 w 609619"/>
              <a:gd name="connsiteY74" fmla="*/ 222283 h 552596"/>
              <a:gd name="connsiteX75" fmla="*/ 478488 w 609619"/>
              <a:gd name="connsiteY75" fmla="*/ 236570 h 552596"/>
              <a:gd name="connsiteX76" fmla="*/ 462964 w 609619"/>
              <a:gd name="connsiteY76" fmla="*/ 233582 h 552596"/>
              <a:gd name="connsiteX77" fmla="*/ 459130 w 609619"/>
              <a:gd name="connsiteY77" fmla="*/ 218268 h 552596"/>
              <a:gd name="connsiteX78" fmla="*/ 483913 w 609619"/>
              <a:gd name="connsiteY78" fmla="*/ 143283 h 552596"/>
              <a:gd name="connsiteX79" fmla="*/ 290516 w 609619"/>
              <a:gd name="connsiteY79" fmla="*/ 54291 h 552596"/>
              <a:gd name="connsiteX80" fmla="*/ 170719 w 609619"/>
              <a:gd name="connsiteY80" fmla="*/ 113961 h 552596"/>
              <a:gd name="connsiteX81" fmla="*/ 133312 w 609619"/>
              <a:gd name="connsiteY81" fmla="*/ 114521 h 552596"/>
              <a:gd name="connsiteX82" fmla="*/ 132751 w 609619"/>
              <a:gd name="connsiteY82" fmla="*/ 77262 h 552596"/>
              <a:gd name="connsiteX83" fmla="*/ 283970 w 609619"/>
              <a:gd name="connsiteY83" fmla="*/ 1997 h 552596"/>
              <a:gd name="connsiteX84" fmla="*/ 334262 w 609619"/>
              <a:gd name="connsiteY84" fmla="*/ 651 h 5525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</a:cxnLst>
            <a:rect l="l" t="t" r="r" b="b"/>
            <a:pathLst>
              <a:path w="609619" h="552596">
                <a:moveTo>
                  <a:pt x="381535" y="212929"/>
                </a:moveTo>
                <a:lnTo>
                  <a:pt x="352835" y="263726"/>
                </a:lnTo>
                <a:lnTo>
                  <a:pt x="381535" y="263726"/>
                </a:lnTo>
                <a:close/>
                <a:moveTo>
                  <a:pt x="378170" y="162879"/>
                </a:moveTo>
                <a:lnTo>
                  <a:pt x="416031" y="162879"/>
                </a:lnTo>
                <a:cubicBezTo>
                  <a:pt x="422108" y="162879"/>
                  <a:pt x="427063" y="167828"/>
                  <a:pt x="427063" y="173897"/>
                </a:cubicBezTo>
                <a:lnTo>
                  <a:pt x="427063" y="263726"/>
                </a:lnTo>
                <a:lnTo>
                  <a:pt x="436692" y="263726"/>
                </a:lnTo>
                <a:cubicBezTo>
                  <a:pt x="442768" y="263726"/>
                  <a:pt x="447723" y="268675"/>
                  <a:pt x="447723" y="274745"/>
                </a:cubicBezTo>
                <a:lnTo>
                  <a:pt x="447723" y="290245"/>
                </a:lnTo>
                <a:cubicBezTo>
                  <a:pt x="447723" y="296315"/>
                  <a:pt x="442768" y="301264"/>
                  <a:pt x="436692" y="301264"/>
                </a:cubicBezTo>
                <a:lnTo>
                  <a:pt x="427063" y="301264"/>
                </a:lnTo>
                <a:lnTo>
                  <a:pt x="427063" y="331238"/>
                </a:lnTo>
                <a:cubicBezTo>
                  <a:pt x="427063" y="337307"/>
                  <a:pt x="422108" y="342256"/>
                  <a:pt x="416031" y="342256"/>
                </a:cubicBezTo>
                <a:lnTo>
                  <a:pt x="392567" y="342256"/>
                </a:lnTo>
                <a:cubicBezTo>
                  <a:pt x="386490" y="342256"/>
                  <a:pt x="381535" y="337307"/>
                  <a:pt x="381535" y="331238"/>
                </a:cubicBezTo>
                <a:lnTo>
                  <a:pt x="381535" y="301264"/>
                </a:lnTo>
                <a:lnTo>
                  <a:pt x="316282" y="301264"/>
                </a:lnTo>
                <a:cubicBezTo>
                  <a:pt x="310206" y="301264"/>
                  <a:pt x="305251" y="296315"/>
                  <a:pt x="305251" y="290245"/>
                </a:cubicBezTo>
                <a:lnTo>
                  <a:pt x="305251" y="273437"/>
                </a:lnTo>
                <a:cubicBezTo>
                  <a:pt x="305251" y="271383"/>
                  <a:pt x="305812" y="269329"/>
                  <a:pt x="306934" y="267648"/>
                </a:cubicBezTo>
                <a:lnTo>
                  <a:pt x="368821" y="168015"/>
                </a:lnTo>
                <a:cubicBezTo>
                  <a:pt x="370878" y="164840"/>
                  <a:pt x="374430" y="162879"/>
                  <a:pt x="378170" y="162879"/>
                </a:cubicBezTo>
                <a:close/>
                <a:moveTo>
                  <a:pt x="234995" y="159916"/>
                </a:moveTo>
                <a:cubicBezTo>
                  <a:pt x="273889" y="159916"/>
                  <a:pt x="299038" y="182604"/>
                  <a:pt x="299038" y="217615"/>
                </a:cubicBezTo>
                <a:cubicBezTo>
                  <a:pt x="299038" y="246558"/>
                  <a:pt x="280246" y="269246"/>
                  <a:pt x="252105" y="294361"/>
                </a:cubicBezTo>
                <a:cubicBezTo>
                  <a:pt x="252011" y="294454"/>
                  <a:pt x="251918" y="294548"/>
                  <a:pt x="251824" y="294641"/>
                </a:cubicBezTo>
                <a:lnTo>
                  <a:pt x="243129" y="301830"/>
                </a:lnTo>
                <a:lnTo>
                  <a:pt x="291185" y="301830"/>
                </a:lnTo>
                <a:cubicBezTo>
                  <a:pt x="297262" y="301830"/>
                  <a:pt x="302217" y="306778"/>
                  <a:pt x="302217" y="312847"/>
                </a:cubicBezTo>
                <a:lnTo>
                  <a:pt x="302217" y="331240"/>
                </a:lnTo>
                <a:cubicBezTo>
                  <a:pt x="302217" y="337309"/>
                  <a:pt x="297262" y="342257"/>
                  <a:pt x="291185" y="342257"/>
                </a:cubicBezTo>
                <a:lnTo>
                  <a:pt x="183761" y="342257"/>
                </a:lnTo>
                <a:cubicBezTo>
                  <a:pt x="177684" y="342257"/>
                  <a:pt x="172729" y="337309"/>
                  <a:pt x="172729" y="331240"/>
                </a:cubicBezTo>
                <a:lnTo>
                  <a:pt x="172729" y="317515"/>
                </a:lnTo>
                <a:cubicBezTo>
                  <a:pt x="172729" y="314341"/>
                  <a:pt x="174038" y="311447"/>
                  <a:pt x="176375" y="309299"/>
                </a:cubicBezTo>
                <a:lnTo>
                  <a:pt x="196102" y="291467"/>
                </a:lnTo>
                <a:cubicBezTo>
                  <a:pt x="233219" y="258322"/>
                  <a:pt x="250889" y="239369"/>
                  <a:pt x="251450" y="220976"/>
                </a:cubicBezTo>
                <a:cubicBezTo>
                  <a:pt x="251357" y="212947"/>
                  <a:pt x="248178" y="199596"/>
                  <a:pt x="226768" y="199596"/>
                </a:cubicBezTo>
                <a:cubicBezTo>
                  <a:pt x="217793" y="199596"/>
                  <a:pt x="208537" y="202490"/>
                  <a:pt x="199188" y="208279"/>
                </a:cubicBezTo>
                <a:cubicBezTo>
                  <a:pt x="196383" y="210053"/>
                  <a:pt x="192924" y="210426"/>
                  <a:pt x="189838" y="209399"/>
                </a:cubicBezTo>
                <a:cubicBezTo>
                  <a:pt x="186753" y="208372"/>
                  <a:pt x="184322" y="206038"/>
                  <a:pt x="183107" y="202957"/>
                </a:cubicBezTo>
                <a:lnTo>
                  <a:pt x="177217" y="188112"/>
                </a:lnTo>
                <a:cubicBezTo>
                  <a:pt x="175253" y="183257"/>
                  <a:pt x="177123" y="177655"/>
                  <a:pt x="181611" y="174761"/>
                </a:cubicBezTo>
                <a:cubicBezTo>
                  <a:pt x="196663" y="165238"/>
                  <a:pt x="215549" y="159916"/>
                  <a:pt x="234995" y="159916"/>
                </a:cubicBezTo>
                <a:close/>
                <a:moveTo>
                  <a:pt x="72010" y="115246"/>
                </a:moveTo>
                <a:cubicBezTo>
                  <a:pt x="138035" y="105721"/>
                  <a:pt x="146826" y="197054"/>
                  <a:pt x="113065" y="229459"/>
                </a:cubicBezTo>
                <a:cubicBezTo>
                  <a:pt x="107267" y="234969"/>
                  <a:pt x="79772" y="243747"/>
                  <a:pt x="77528" y="248416"/>
                </a:cubicBezTo>
                <a:cubicBezTo>
                  <a:pt x="81362" y="270456"/>
                  <a:pt x="87067" y="292121"/>
                  <a:pt x="94736" y="313040"/>
                </a:cubicBezTo>
                <a:cubicBezTo>
                  <a:pt x="100627" y="329103"/>
                  <a:pt x="107641" y="344605"/>
                  <a:pt x="115684" y="359640"/>
                </a:cubicBezTo>
                <a:cubicBezTo>
                  <a:pt x="122137" y="371687"/>
                  <a:pt x="129338" y="383361"/>
                  <a:pt x="137194" y="394474"/>
                </a:cubicBezTo>
                <a:cubicBezTo>
                  <a:pt x="150006" y="412778"/>
                  <a:pt x="164501" y="429867"/>
                  <a:pt x="180400" y="445556"/>
                </a:cubicBezTo>
                <a:cubicBezTo>
                  <a:pt x="185543" y="446397"/>
                  <a:pt x="208456" y="428933"/>
                  <a:pt x="216311" y="427346"/>
                </a:cubicBezTo>
                <a:cubicBezTo>
                  <a:pt x="262229" y="418194"/>
                  <a:pt x="331995" y="476561"/>
                  <a:pt x="286544" y="526336"/>
                </a:cubicBezTo>
                <a:cubicBezTo>
                  <a:pt x="227814" y="588812"/>
                  <a:pt x="148416" y="526803"/>
                  <a:pt x="108764" y="475253"/>
                </a:cubicBezTo>
                <a:cubicBezTo>
                  <a:pt x="93894" y="455922"/>
                  <a:pt x="73039" y="426038"/>
                  <a:pt x="53868" y="391859"/>
                </a:cubicBezTo>
                <a:lnTo>
                  <a:pt x="49285" y="382800"/>
                </a:lnTo>
                <a:cubicBezTo>
                  <a:pt x="32171" y="347500"/>
                  <a:pt x="19546" y="313320"/>
                  <a:pt x="12158" y="290160"/>
                </a:cubicBezTo>
                <a:cubicBezTo>
                  <a:pt x="-7481" y="228151"/>
                  <a:pt x="-12999" y="127574"/>
                  <a:pt x="72010" y="115246"/>
                </a:cubicBezTo>
                <a:close/>
                <a:moveTo>
                  <a:pt x="334262" y="651"/>
                </a:moveTo>
                <a:cubicBezTo>
                  <a:pt x="384017" y="4209"/>
                  <a:pt x="431589" y="22331"/>
                  <a:pt x="471849" y="53637"/>
                </a:cubicBezTo>
                <a:cubicBezTo>
                  <a:pt x="497753" y="73714"/>
                  <a:pt x="519169" y="98180"/>
                  <a:pt x="535254" y="125634"/>
                </a:cubicBezTo>
                <a:lnTo>
                  <a:pt x="601933" y="161959"/>
                </a:lnTo>
                <a:cubicBezTo>
                  <a:pt x="606983" y="164667"/>
                  <a:pt x="609882" y="170083"/>
                  <a:pt x="609601" y="175779"/>
                </a:cubicBezTo>
                <a:cubicBezTo>
                  <a:pt x="609227" y="181382"/>
                  <a:pt x="605580" y="186425"/>
                  <a:pt x="600343" y="188479"/>
                </a:cubicBezTo>
                <a:lnTo>
                  <a:pt x="564806" y="202486"/>
                </a:lnTo>
                <a:cubicBezTo>
                  <a:pt x="566209" y="209210"/>
                  <a:pt x="567331" y="215933"/>
                  <a:pt x="568173" y="222843"/>
                </a:cubicBezTo>
                <a:cubicBezTo>
                  <a:pt x="576589" y="290171"/>
                  <a:pt x="558260" y="356845"/>
                  <a:pt x="516457" y="410446"/>
                </a:cubicBezTo>
                <a:cubicBezTo>
                  <a:pt x="474748" y="464047"/>
                  <a:pt x="414522" y="498224"/>
                  <a:pt x="347001" y="506628"/>
                </a:cubicBezTo>
                <a:cubicBezTo>
                  <a:pt x="345879" y="506722"/>
                  <a:pt x="344851" y="506815"/>
                  <a:pt x="343728" y="506815"/>
                </a:cubicBezTo>
                <a:cubicBezTo>
                  <a:pt x="330636" y="506815"/>
                  <a:pt x="319226" y="497010"/>
                  <a:pt x="317543" y="483750"/>
                </a:cubicBezTo>
                <a:cubicBezTo>
                  <a:pt x="315766" y="469276"/>
                  <a:pt x="326053" y="456109"/>
                  <a:pt x="340455" y="454242"/>
                </a:cubicBezTo>
                <a:cubicBezTo>
                  <a:pt x="393948" y="447611"/>
                  <a:pt x="441642" y="420531"/>
                  <a:pt x="474748" y="378043"/>
                </a:cubicBezTo>
                <a:cubicBezTo>
                  <a:pt x="507853" y="335554"/>
                  <a:pt x="522442" y="282794"/>
                  <a:pt x="515802" y="229380"/>
                </a:cubicBezTo>
                <a:cubicBezTo>
                  <a:pt x="515428" y="226952"/>
                  <a:pt x="515148" y="224618"/>
                  <a:pt x="514774" y="222283"/>
                </a:cubicBezTo>
                <a:lnTo>
                  <a:pt x="478488" y="236570"/>
                </a:lnTo>
                <a:cubicBezTo>
                  <a:pt x="473158" y="238625"/>
                  <a:pt x="467173" y="237504"/>
                  <a:pt x="462964" y="233582"/>
                </a:cubicBezTo>
                <a:cubicBezTo>
                  <a:pt x="458850" y="229660"/>
                  <a:pt x="457353" y="223684"/>
                  <a:pt x="459130" y="218268"/>
                </a:cubicBezTo>
                <a:lnTo>
                  <a:pt x="483913" y="143283"/>
                </a:lnTo>
                <a:cubicBezTo>
                  <a:pt x="442858" y="81465"/>
                  <a:pt x="369072" y="44579"/>
                  <a:pt x="290516" y="54291"/>
                </a:cubicBezTo>
                <a:cubicBezTo>
                  <a:pt x="244412" y="60080"/>
                  <a:pt x="202983" y="80718"/>
                  <a:pt x="170719" y="113961"/>
                </a:cubicBezTo>
                <a:cubicBezTo>
                  <a:pt x="160526" y="124420"/>
                  <a:pt x="143786" y="124700"/>
                  <a:pt x="133312" y="114521"/>
                </a:cubicBezTo>
                <a:cubicBezTo>
                  <a:pt x="122838" y="104343"/>
                  <a:pt x="122557" y="87721"/>
                  <a:pt x="132751" y="77262"/>
                </a:cubicBezTo>
                <a:cubicBezTo>
                  <a:pt x="172870" y="35895"/>
                  <a:pt x="226643" y="9094"/>
                  <a:pt x="283970" y="1997"/>
                </a:cubicBezTo>
                <a:cubicBezTo>
                  <a:pt x="300850" y="-104"/>
                  <a:pt x="317677" y="-536"/>
                  <a:pt x="334262" y="651"/>
                </a:cubicBezTo>
                <a:close/>
              </a:path>
            </a:pathLst>
          </a:custGeom>
          <a:gradFill>
            <a:gsLst>
              <a:gs pos="33000">
                <a:srgbClr val="0870D3"/>
              </a:gs>
              <a:gs pos="100000">
                <a:srgbClr val="4EBCF7"/>
              </a:gs>
            </a:gsLst>
            <a:lin ang="10800000" scaled="0"/>
          </a:gradFill>
          <a:ln w="0">
            <a:noFill/>
            <a:prstDash val="solid"/>
            <a:round/>
          </a:ln>
        </p:spPr>
        <p:txBody>
          <a:bodyPr vert="horz" wrap="square" lIns="91440" tIns="45720" rIns="91440" bIns="45720" numCol="1" anchor="t" anchorCtr="0" compatLnSpc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ru-RU" sz="3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" name="íś1ïḑè"/>
          <p:cNvSpPr/>
          <p:nvPr/>
        </p:nvSpPr>
        <p:spPr>
          <a:xfrm>
            <a:off x="4296840" y="1448973"/>
            <a:ext cx="3598320" cy="3598319"/>
          </a:xfrm>
          <a:prstGeom prst="roundRect">
            <a:avLst>
              <a:gd name="adj" fmla="val 6455"/>
            </a:avLst>
          </a:prstGeom>
          <a:gradFill>
            <a:gsLst>
              <a:gs pos="33000">
                <a:srgbClr val="0870D3"/>
              </a:gs>
              <a:gs pos="100000">
                <a:srgbClr val="4EBCF7"/>
              </a:gs>
            </a:gsLst>
            <a:lin ang="10800000" scaled="0"/>
          </a:gradFill>
          <a:ln>
            <a:noFill/>
          </a:ln>
          <a:effectLst>
            <a:outerShdw blurRad="762000" dist="2540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360000" bIns="45720" numCol="1" spcCol="0" rtlCol="0" fromWordArt="0" anchor="ctr" anchorCtr="0" forceAA="0" compatLnSpc="1">
            <a:noAutofit/>
          </a:bodyPr>
          <a:lstStyle/>
          <a:p>
            <a:pPr algn="r" defTabSz="914400"/>
            <a:endParaRPr lang="en-US" sz="1400" b="1" dirty="0">
              <a:latin typeface="三极准柔宋" panose="00000500000000000000" pitchFamily="2" charset="-122"/>
              <a:ea typeface="三极准柔宋" panose="00000500000000000000" pitchFamily="2" charset="-122"/>
              <a:cs typeface="Open Sans" panose="020B0606030504020204" charset="0"/>
            </a:endParaRPr>
          </a:p>
        </p:txBody>
      </p:sp>
      <p:sp>
        <p:nvSpPr>
          <p:cNvPr id="15" name="íṧḻíḍe"/>
          <p:cNvSpPr txBox="1"/>
          <p:nvPr/>
        </p:nvSpPr>
        <p:spPr>
          <a:xfrm>
            <a:off x="1753487" y="5690446"/>
            <a:ext cx="2714484" cy="541561"/>
          </a:xfrm>
          <a:prstGeom prst="rect">
            <a:avLst/>
          </a:prstGeom>
          <a:noFill/>
        </p:spPr>
        <p:txBody>
          <a:bodyPr wrap="square" lIns="91440" tIns="45720" rIns="91440" bIns="45720" anchor="t" anchorCtr="0">
            <a:normAutofit/>
          </a:bodyPr>
          <a:lstStyle/>
          <a:p>
            <a:pPr lvl="0" algn="ctr" defTabSz="914400">
              <a:lnSpc>
                <a:spcPct val="120000"/>
              </a:lnSpc>
              <a:spcBef>
                <a:spcPct val="0"/>
              </a:spcBef>
              <a:defRPr/>
            </a:pPr>
            <a:r>
              <a:rPr lang="en-US" altLang="zh-CN" sz="1200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Copy paste fonts. Choose the only option to retain text.</a:t>
            </a:r>
            <a:endParaRPr lang="zh-CN" altLang="en-US" sz="1200" dirty="0">
              <a:latin typeface="思源黑体 CN Normal" panose="020B0400000000000000" pitchFamily="34" charset="-122"/>
              <a:ea typeface="思源黑体 CN Normal" panose="020B0400000000000000" pitchFamily="34" charset="-122"/>
            </a:endParaRPr>
          </a:p>
        </p:txBody>
      </p:sp>
      <p:sp>
        <p:nvSpPr>
          <p:cNvPr id="16" name="ïSḷîḋe"/>
          <p:cNvSpPr/>
          <p:nvPr/>
        </p:nvSpPr>
        <p:spPr>
          <a:xfrm>
            <a:off x="1753487" y="5292490"/>
            <a:ext cx="2714484" cy="397957"/>
          </a:xfrm>
          <a:prstGeom prst="rect">
            <a:avLst/>
          </a:prstGeom>
        </p:spPr>
        <p:txBody>
          <a:bodyPr wrap="square" lIns="91440" tIns="45720" rIns="91440" bIns="45720" anchor="t" anchorCtr="0">
            <a:normAutofit fontScale="92500" lnSpcReduction="10000"/>
          </a:bodyPr>
          <a:lstStyle/>
          <a:p>
            <a:pPr algn="ctr"/>
            <a:r>
              <a:rPr lang="zh-CN" altLang="en-US" sz="2400" b="1" dirty="0">
                <a:solidFill>
                  <a:srgbClr val="0870D3"/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添加标题</a:t>
            </a:r>
          </a:p>
        </p:txBody>
      </p:sp>
      <p:sp>
        <p:nvSpPr>
          <p:cNvPr id="13" name="îšlîḋê"/>
          <p:cNvSpPr txBox="1"/>
          <p:nvPr/>
        </p:nvSpPr>
        <p:spPr>
          <a:xfrm>
            <a:off x="7652582" y="5690446"/>
            <a:ext cx="2714484" cy="541561"/>
          </a:xfrm>
          <a:prstGeom prst="rect">
            <a:avLst/>
          </a:prstGeom>
          <a:noFill/>
        </p:spPr>
        <p:txBody>
          <a:bodyPr wrap="square" lIns="91440" tIns="45720" rIns="91440" bIns="45720" anchor="t" anchorCtr="0">
            <a:normAutofit/>
          </a:bodyPr>
          <a:lstStyle/>
          <a:p>
            <a:pPr lvl="0" algn="ctr" defTabSz="914400">
              <a:lnSpc>
                <a:spcPct val="120000"/>
              </a:lnSpc>
              <a:spcBef>
                <a:spcPct val="0"/>
              </a:spcBef>
              <a:defRPr/>
            </a:pPr>
            <a:r>
              <a:rPr lang="en-US" altLang="zh-CN" sz="1200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Copy paste fonts. Choose the only option to retain text.</a:t>
            </a:r>
            <a:endParaRPr lang="zh-CN" altLang="en-US" sz="1200" dirty="0">
              <a:latin typeface="思源黑体 CN Normal" panose="020B0400000000000000" pitchFamily="34" charset="-122"/>
              <a:ea typeface="思源黑体 CN Normal" panose="020B0400000000000000" pitchFamily="34" charset="-122"/>
            </a:endParaRPr>
          </a:p>
        </p:txBody>
      </p:sp>
      <p:sp>
        <p:nvSpPr>
          <p:cNvPr id="14" name="îṡḷídê"/>
          <p:cNvSpPr/>
          <p:nvPr/>
        </p:nvSpPr>
        <p:spPr>
          <a:xfrm>
            <a:off x="7652582" y="5292490"/>
            <a:ext cx="2714484" cy="397957"/>
          </a:xfrm>
          <a:prstGeom prst="rect">
            <a:avLst/>
          </a:prstGeom>
        </p:spPr>
        <p:txBody>
          <a:bodyPr wrap="square" lIns="91440" tIns="45720" rIns="91440" bIns="45720" anchor="t" anchorCtr="0">
            <a:normAutofit fontScale="92500" lnSpcReduction="10000"/>
          </a:bodyPr>
          <a:lstStyle/>
          <a:p>
            <a:pPr algn="ctr"/>
            <a:r>
              <a:rPr lang="zh-CN" altLang="en-US" sz="2400" b="1" dirty="0">
                <a:solidFill>
                  <a:srgbClr val="0870D3"/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添加标题</a:t>
            </a:r>
          </a:p>
        </p:txBody>
      </p:sp>
      <p:sp>
        <p:nvSpPr>
          <p:cNvPr id="9" name="îṣļídê"/>
          <p:cNvSpPr/>
          <p:nvPr/>
        </p:nvSpPr>
        <p:spPr bwMode="auto">
          <a:xfrm>
            <a:off x="5823980" y="2002118"/>
            <a:ext cx="544040" cy="642956"/>
          </a:xfrm>
          <a:custGeom>
            <a:avLst/>
            <a:gdLst/>
            <a:ahLst/>
            <a:cxnLst>
              <a:cxn ang="0">
                <a:pos x="250" y="250"/>
              </a:cxn>
              <a:cxn ang="0">
                <a:pos x="125" y="296"/>
              </a:cxn>
              <a:cxn ang="0">
                <a:pos x="0" y="250"/>
              </a:cxn>
              <a:cxn ang="0">
                <a:pos x="66" y="210"/>
              </a:cxn>
              <a:cxn ang="0">
                <a:pos x="79" y="219"/>
              </a:cxn>
              <a:cxn ang="0">
                <a:pos x="70" y="232"/>
              </a:cxn>
              <a:cxn ang="0">
                <a:pos x="23" y="251"/>
              </a:cxn>
              <a:cxn ang="0">
                <a:pos x="125" y="273"/>
              </a:cxn>
              <a:cxn ang="0">
                <a:pos x="228" y="250"/>
              </a:cxn>
              <a:cxn ang="0">
                <a:pos x="180" y="232"/>
              </a:cxn>
              <a:cxn ang="0">
                <a:pos x="171" y="219"/>
              </a:cxn>
              <a:cxn ang="0">
                <a:pos x="184" y="210"/>
              </a:cxn>
              <a:cxn ang="0">
                <a:pos x="250" y="250"/>
              </a:cxn>
              <a:cxn ang="0">
                <a:pos x="80" y="182"/>
              </a:cxn>
              <a:cxn ang="0">
                <a:pos x="91" y="182"/>
              </a:cxn>
              <a:cxn ang="0">
                <a:pos x="91" y="250"/>
              </a:cxn>
              <a:cxn ang="0">
                <a:pos x="102" y="262"/>
              </a:cxn>
              <a:cxn ang="0">
                <a:pos x="148" y="262"/>
              </a:cxn>
              <a:cxn ang="0">
                <a:pos x="159" y="250"/>
              </a:cxn>
              <a:cxn ang="0">
                <a:pos x="159" y="182"/>
              </a:cxn>
              <a:cxn ang="0">
                <a:pos x="171" y="182"/>
              </a:cxn>
              <a:cxn ang="0">
                <a:pos x="182" y="171"/>
              </a:cxn>
              <a:cxn ang="0">
                <a:pos x="182" y="102"/>
              </a:cxn>
              <a:cxn ang="0">
                <a:pos x="157" y="82"/>
              </a:cxn>
              <a:cxn ang="0">
                <a:pos x="125" y="80"/>
              </a:cxn>
              <a:cxn ang="0">
                <a:pos x="93" y="82"/>
              </a:cxn>
              <a:cxn ang="0">
                <a:pos x="68" y="102"/>
              </a:cxn>
              <a:cxn ang="0">
                <a:pos x="68" y="171"/>
              </a:cxn>
              <a:cxn ang="0">
                <a:pos x="80" y="182"/>
              </a:cxn>
              <a:cxn ang="0">
                <a:pos x="125" y="68"/>
              </a:cxn>
              <a:cxn ang="0">
                <a:pos x="159" y="34"/>
              </a:cxn>
              <a:cxn ang="0">
                <a:pos x="125" y="0"/>
              </a:cxn>
              <a:cxn ang="0">
                <a:pos x="91" y="34"/>
              </a:cxn>
              <a:cxn ang="0">
                <a:pos x="125" y="68"/>
              </a:cxn>
              <a:cxn ang="0">
                <a:pos x="125" y="68"/>
              </a:cxn>
              <a:cxn ang="0">
                <a:pos x="125" y="68"/>
              </a:cxn>
            </a:cxnLst>
            <a:rect l="0" t="0" r="r" b="b"/>
            <a:pathLst>
              <a:path w="250" h="296">
                <a:moveTo>
                  <a:pt x="250" y="250"/>
                </a:moveTo>
                <a:cubicBezTo>
                  <a:pt x="250" y="282"/>
                  <a:pt x="185" y="296"/>
                  <a:pt x="125" y="296"/>
                </a:cubicBezTo>
                <a:cubicBezTo>
                  <a:pt x="65" y="296"/>
                  <a:pt x="0" y="282"/>
                  <a:pt x="0" y="250"/>
                </a:cubicBezTo>
                <a:cubicBezTo>
                  <a:pt x="0" y="226"/>
                  <a:pt x="36" y="215"/>
                  <a:pt x="66" y="210"/>
                </a:cubicBezTo>
                <a:cubicBezTo>
                  <a:pt x="72" y="209"/>
                  <a:pt x="78" y="213"/>
                  <a:pt x="79" y="219"/>
                </a:cubicBezTo>
                <a:cubicBezTo>
                  <a:pt x="80" y="225"/>
                  <a:pt x="76" y="231"/>
                  <a:pt x="70" y="232"/>
                </a:cubicBezTo>
                <a:cubicBezTo>
                  <a:pt x="33" y="239"/>
                  <a:pt x="23" y="249"/>
                  <a:pt x="23" y="251"/>
                </a:cubicBezTo>
                <a:cubicBezTo>
                  <a:pt x="24" y="257"/>
                  <a:pt x="58" y="273"/>
                  <a:pt x="125" y="273"/>
                </a:cubicBezTo>
                <a:cubicBezTo>
                  <a:pt x="192" y="273"/>
                  <a:pt x="226" y="257"/>
                  <a:pt x="228" y="250"/>
                </a:cubicBezTo>
                <a:cubicBezTo>
                  <a:pt x="227" y="249"/>
                  <a:pt x="217" y="238"/>
                  <a:pt x="180" y="232"/>
                </a:cubicBezTo>
                <a:cubicBezTo>
                  <a:pt x="174" y="231"/>
                  <a:pt x="170" y="225"/>
                  <a:pt x="171" y="219"/>
                </a:cubicBezTo>
                <a:cubicBezTo>
                  <a:pt x="172" y="213"/>
                  <a:pt x="178" y="209"/>
                  <a:pt x="184" y="210"/>
                </a:cubicBezTo>
                <a:cubicBezTo>
                  <a:pt x="214" y="215"/>
                  <a:pt x="250" y="226"/>
                  <a:pt x="250" y="250"/>
                </a:cubicBezTo>
                <a:close/>
                <a:moveTo>
                  <a:pt x="80" y="182"/>
                </a:moveTo>
                <a:cubicBezTo>
                  <a:pt x="91" y="182"/>
                  <a:pt x="91" y="182"/>
                  <a:pt x="91" y="182"/>
                </a:cubicBezTo>
                <a:cubicBezTo>
                  <a:pt x="91" y="250"/>
                  <a:pt x="91" y="250"/>
                  <a:pt x="91" y="250"/>
                </a:cubicBezTo>
                <a:cubicBezTo>
                  <a:pt x="91" y="257"/>
                  <a:pt x="96" y="262"/>
                  <a:pt x="102" y="262"/>
                </a:cubicBezTo>
                <a:cubicBezTo>
                  <a:pt x="148" y="262"/>
                  <a:pt x="148" y="262"/>
                  <a:pt x="148" y="262"/>
                </a:cubicBezTo>
                <a:cubicBezTo>
                  <a:pt x="154" y="262"/>
                  <a:pt x="159" y="257"/>
                  <a:pt x="159" y="250"/>
                </a:cubicBezTo>
                <a:cubicBezTo>
                  <a:pt x="159" y="182"/>
                  <a:pt x="159" y="182"/>
                  <a:pt x="159" y="182"/>
                </a:cubicBezTo>
                <a:cubicBezTo>
                  <a:pt x="171" y="182"/>
                  <a:pt x="171" y="182"/>
                  <a:pt x="171" y="182"/>
                </a:cubicBezTo>
                <a:cubicBezTo>
                  <a:pt x="177" y="182"/>
                  <a:pt x="182" y="177"/>
                  <a:pt x="182" y="171"/>
                </a:cubicBezTo>
                <a:cubicBezTo>
                  <a:pt x="182" y="102"/>
                  <a:pt x="182" y="102"/>
                  <a:pt x="182" y="102"/>
                </a:cubicBezTo>
                <a:cubicBezTo>
                  <a:pt x="182" y="97"/>
                  <a:pt x="173" y="84"/>
                  <a:pt x="157" y="82"/>
                </a:cubicBezTo>
                <a:cubicBezTo>
                  <a:pt x="150" y="81"/>
                  <a:pt x="138" y="80"/>
                  <a:pt x="125" y="80"/>
                </a:cubicBezTo>
                <a:cubicBezTo>
                  <a:pt x="112" y="80"/>
                  <a:pt x="100" y="81"/>
                  <a:pt x="93" y="82"/>
                </a:cubicBezTo>
                <a:cubicBezTo>
                  <a:pt x="77" y="84"/>
                  <a:pt x="68" y="97"/>
                  <a:pt x="68" y="102"/>
                </a:cubicBezTo>
                <a:cubicBezTo>
                  <a:pt x="68" y="171"/>
                  <a:pt x="68" y="171"/>
                  <a:pt x="68" y="171"/>
                </a:cubicBezTo>
                <a:cubicBezTo>
                  <a:pt x="68" y="177"/>
                  <a:pt x="73" y="182"/>
                  <a:pt x="80" y="182"/>
                </a:cubicBezTo>
                <a:close/>
                <a:moveTo>
                  <a:pt x="125" y="68"/>
                </a:moveTo>
                <a:cubicBezTo>
                  <a:pt x="144" y="68"/>
                  <a:pt x="159" y="53"/>
                  <a:pt x="159" y="34"/>
                </a:cubicBezTo>
                <a:cubicBezTo>
                  <a:pt x="159" y="15"/>
                  <a:pt x="144" y="0"/>
                  <a:pt x="125" y="0"/>
                </a:cubicBezTo>
                <a:cubicBezTo>
                  <a:pt x="106" y="0"/>
                  <a:pt x="91" y="15"/>
                  <a:pt x="91" y="34"/>
                </a:cubicBezTo>
                <a:cubicBezTo>
                  <a:pt x="91" y="53"/>
                  <a:pt x="106" y="68"/>
                  <a:pt x="125" y="68"/>
                </a:cubicBezTo>
                <a:close/>
                <a:moveTo>
                  <a:pt x="125" y="68"/>
                </a:moveTo>
                <a:cubicBezTo>
                  <a:pt x="125" y="68"/>
                  <a:pt x="125" y="68"/>
                  <a:pt x="125" y="68"/>
                </a:cubicBezTo>
              </a:path>
            </a:pathLst>
          </a:custGeom>
          <a:solidFill>
            <a:schemeClr val="bg1"/>
          </a:solidFill>
          <a:ln w="9525">
            <a:noFill/>
            <a:round/>
          </a:ln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 dirty="0">
              <a:latin typeface="仓耳青禾体-谷力 W05" panose="02020400000000000000" pitchFamily="18" charset="-122"/>
            </a:endParaRPr>
          </a:p>
        </p:txBody>
      </p:sp>
      <p:sp>
        <p:nvSpPr>
          <p:cNvPr id="11" name="iŝľïde"/>
          <p:cNvSpPr txBox="1"/>
          <p:nvPr/>
        </p:nvSpPr>
        <p:spPr>
          <a:xfrm>
            <a:off x="4738758" y="3300347"/>
            <a:ext cx="2714484" cy="1126396"/>
          </a:xfrm>
          <a:prstGeom prst="rect">
            <a:avLst/>
          </a:prstGeom>
          <a:noFill/>
        </p:spPr>
        <p:txBody>
          <a:bodyPr wrap="square" lIns="91440" tIns="45720" rIns="91440" bIns="45720" anchor="t" anchorCtr="0">
            <a:normAutofit/>
          </a:bodyPr>
          <a:lstStyle/>
          <a:p>
            <a:pPr lvl="0" algn="ctr" defTabSz="914400">
              <a:lnSpc>
                <a:spcPct val="120000"/>
              </a:lnSpc>
              <a:spcBef>
                <a:spcPct val="0"/>
              </a:spcBef>
              <a:defRPr/>
            </a:pPr>
            <a:r>
              <a:rPr lang="en-US" altLang="zh-CN" sz="1200" dirty="0">
                <a:solidFill>
                  <a:schemeClr val="bg1"/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Copy paste fonts. Choose the only option to retain text.</a:t>
            </a:r>
          </a:p>
          <a:p>
            <a:pPr lvl="0" algn="ctr" defTabSz="914400">
              <a:lnSpc>
                <a:spcPct val="120000"/>
              </a:lnSpc>
              <a:spcBef>
                <a:spcPct val="0"/>
              </a:spcBef>
              <a:defRPr/>
            </a:pPr>
            <a:endParaRPr lang="en-US" altLang="zh-CN" sz="1200" dirty="0">
              <a:solidFill>
                <a:schemeClr val="bg1"/>
              </a:solidFill>
              <a:latin typeface="思源黑体 CN Normal" panose="020B0400000000000000" pitchFamily="34" charset="-122"/>
              <a:ea typeface="思源黑体 CN Normal" panose="020B0400000000000000" pitchFamily="34" charset="-122"/>
            </a:endParaRPr>
          </a:p>
          <a:p>
            <a:pPr lvl="0" algn="ctr" defTabSz="914400">
              <a:lnSpc>
                <a:spcPct val="120000"/>
              </a:lnSpc>
              <a:spcBef>
                <a:spcPct val="0"/>
              </a:spcBef>
              <a:defRPr/>
            </a:pPr>
            <a:r>
              <a:rPr lang="en-US" altLang="zh-CN" sz="1200" dirty="0">
                <a:solidFill>
                  <a:schemeClr val="bg1"/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… …</a:t>
            </a:r>
            <a:endParaRPr lang="zh-CN" altLang="en-US" sz="1200" dirty="0">
              <a:solidFill>
                <a:schemeClr val="bg1"/>
              </a:solidFill>
              <a:latin typeface="思源黑体 CN Normal" panose="020B0400000000000000" pitchFamily="34" charset="-122"/>
              <a:ea typeface="思源黑体 CN Normal" panose="020B0400000000000000" pitchFamily="34" charset="-122"/>
            </a:endParaRPr>
          </a:p>
        </p:txBody>
      </p:sp>
      <p:sp>
        <p:nvSpPr>
          <p:cNvPr id="12" name="iSḷîḍe"/>
          <p:cNvSpPr/>
          <p:nvPr/>
        </p:nvSpPr>
        <p:spPr>
          <a:xfrm>
            <a:off x="4738758" y="2902391"/>
            <a:ext cx="2714484" cy="397957"/>
          </a:xfrm>
          <a:prstGeom prst="rect">
            <a:avLst/>
          </a:prstGeom>
        </p:spPr>
        <p:txBody>
          <a:bodyPr wrap="square" lIns="91440" tIns="45720" rIns="91440" bIns="45720" anchor="t" anchorCtr="0">
            <a:normAutofit/>
          </a:bodyPr>
          <a:lstStyle/>
          <a:p>
            <a:pPr algn="ctr"/>
            <a:r>
              <a:rPr lang="zh-CN" altLang="en-US" sz="2000" dirty="0">
                <a:solidFill>
                  <a:schemeClr val="bg1"/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添加标题</a:t>
            </a:r>
          </a:p>
        </p:txBody>
      </p:sp>
      <p:grpSp>
        <p:nvGrpSpPr>
          <p:cNvPr id="23" name="组合 22"/>
          <p:cNvGrpSpPr/>
          <p:nvPr/>
        </p:nvGrpSpPr>
        <p:grpSpPr>
          <a:xfrm>
            <a:off x="445680" y="386741"/>
            <a:ext cx="4160833" cy="523220"/>
            <a:chOff x="445680" y="386741"/>
            <a:chExt cx="4160833" cy="523220"/>
          </a:xfrm>
        </p:grpSpPr>
        <p:sp>
          <p:nvSpPr>
            <p:cNvPr id="24" name="analytics_237488"/>
            <p:cNvSpPr>
              <a:spLocks noChangeAspect="1"/>
            </p:cNvSpPr>
            <p:nvPr/>
          </p:nvSpPr>
          <p:spPr bwMode="auto">
            <a:xfrm>
              <a:off x="445680" y="386741"/>
              <a:ext cx="454475" cy="423493"/>
            </a:xfrm>
            <a:custGeom>
              <a:avLst/>
              <a:gdLst>
                <a:gd name="connsiteX0" fmla="*/ 261053 w 607639"/>
                <a:gd name="connsiteY0" fmla="*/ 444915 h 566217"/>
                <a:gd name="connsiteX1" fmla="*/ 245922 w 607639"/>
                <a:gd name="connsiteY1" fmla="*/ 505522 h 566217"/>
                <a:gd name="connsiteX2" fmla="*/ 361718 w 607639"/>
                <a:gd name="connsiteY2" fmla="*/ 505522 h 566217"/>
                <a:gd name="connsiteX3" fmla="*/ 346498 w 607639"/>
                <a:gd name="connsiteY3" fmla="*/ 444915 h 566217"/>
                <a:gd name="connsiteX4" fmla="*/ 0 w 607639"/>
                <a:gd name="connsiteY4" fmla="*/ 364047 h 566217"/>
                <a:gd name="connsiteX5" fmla="*/ 607639 w 607639"/>
                <a:gd name="connsiteY5" fmla="*/ 364047 h 566217"/>
                <a:gd name="connsiteX6" fmla="*/ 607639 w 607639"/>
                <a:gd name="connsiteY6" fmla="*/ 399416 h 566217"/>
                <a:gd name="connsiteX7" fmla="*/ 562069 w 607639"/>
                <a:gd name="connsiteY7" fmla="*/ 444915 h 566217"/>
                <a:gd name="connsiteX8" fmla="*/ 367414 w 607639"/>
                <a:gd name="connsiteY8" fmla="*/ 444915 h 566217"/>
                <a:gd name="connsiteX9" fmla="*/ 382634 w 607639"/>
                <a:gd name="connsiteY9" fmla="*/ 505522 h 566217"/>
                <a:gd name="connsiteX10" fmla="*/ 384859 w 607639"/>
                <a:gd name="connsiteY10" fmla="*/ 505522 h 566217"/>
                <a:gd name="connsiteX11" fmla="*/ 435414 w 607639"/>
                <a:gd name="connsiteY11" fmla="*/ 556086 h 566217"/>
                <a:gd name="connsiteX12" fmla="*/ 425356 w 607639"/>
                <a:gd name="connsiteY12" fmla="*/ 566217 h 566217"/>
                <a:gd name="connsiteX13" fmla="*/ 182283 w 607639"/>
                <a:gd name="connsiteY13" fmla="*/ 566217 h 566217"/>
                <a:gd name="connsiteX14" fmla="*/ 172136 w 607639"/>
                <a:gd name="connsiteY14" fmla="*/ 556086 h 566217"/>
                <a:gd name="connsiteX15" fmla="*/ 222780 w 607639"/>
                <a:gd name="connsiteY15" fmla="*/ 505522 h 566217"/>
                <a:gd name="connsiteX16" fmla="*/ 225006 w 607639"/>
                <a:gd name="connsiteY16" fmla="*/ 505522 h 566217"/>
                <a:gd name="connsiteX17" fmla="*/ 240225 w 607639"/>
                <a:gd name="connsiteY17" fmla="*/ 444915 h 566217"/>
                <a:gd name="connsiteX18" fmla="*/ 45571 w 607639"/>
                <a:gd name="connsiteY18" fmla="*/ 444915 h 566217"/>
                <a:gd name="connsiteX19" fmla="*/ 0 w 607639"/>
                <a:gd name="connsiteY19" fmla="*/ 399416 h 566217"/>
                <a:gd name="connsiteX20" fmla="*/ 344273 w 607639"/>
                <a:gd name="connsiteY20" fmla="*/ 273045 h 566217"/>
                <a:gd name="connsiteX21" fmla="*/ 334215 w 607639"/>
                <a:gd name="connsiteY21" fmla="*/ 283089 h 566217"/>
                <a:gd name="connsiteX22" fmla="*/ 334215 w 607639"/>
                <a:gd name="connsiteY22" fmla="*/ 313486 h 566217"/>
                <a:gd name="connsiteX23" fmla="*/ 344273 w 607639"/>
                <a:gd name="connsiteY23" fmla="*/ 323530 h 566217"/>
                <a:gd name="connsiteX24" fmla="*/ 354419 w 607639"/>
                <a:gd name="connsiteY24" fmla="*/ 313486 h 566217"/>
                <a:gd name="connsiteX25" fmla="*/ 354419 w 607639"/>
                <a:gd name="connsiteY25" fmla="*/ 283089 h 566217"/>
                <a:gd name="connsiteX26" fmla="*/ 344273 w 607639"/>
                <a:gd name="connsiteY26" fmla="*/ 273045 h 566217"/>
                <a:gd name="connsiteX27" fmla="*/ 425356 w 607639"/>
                <a:gd name="connsiteY27" fmla="*/ 252780 h 566217"/>
                <a:gd name="connsiteX28" fmla="*/ 415210 w 607639"/>
                <a:gd name="connsiteY28" fmla="*/ 262913 h 566217"/>
                <a:gd name="connsiteX29" fmla="*/ 415210 w 607639"/>
                <a:gd name="connsiteY29" fmla="*/ 313486 h 566217"/>
                <a:gd name="connsiteX30" fmla="*/ 425356 w 607639"/>
                <a:gd name="connsiteY30" fmla="*/ 323530 h 566217"/>
                <a:gd name="connsiteX31" fmla="*/ 435414 w 607639"/>
                <a:gd name="connsiteY31" fmla="*/ 313486 h 566217"/>
                <a:gd name="connsiteX32" fmla="*/ 435414 w 607639"/>
                <a:gd name="connsiteY32" fmla="*/ 262913 h 566217"/>
                <a:gd name="connsiteX33" fmla="*/ 425356 w 607639"/>
                <a:gd name="connsiteY33" fmla="*/ 252780 h 566217"/>
                <a:gd name="connsiteX34" fmla="*/ 384859 w 607639"/>
                <a:gd name="connsiteY34" fmla="*/ 232515 h 566217"/>
                <a:gd name="connsiteX35" fmla="*/ 374712 w 607639"/>
                <a:gd name="connsiteY35" fmla="*/ 242648 h 566217"/>
                <a:gd name="connsiteX36" fmla="*/ 374712 w 607639"/>
                <a:gd name="connsiteY36" fmla="*/ 313486 h 566217"/>
                <a:gd name="connsiteX37" fmla="*/ 384859 w 607639"/>
                <a:gd name="connsiteY37" fmla="*/ 323530 h 566217"/>
                <a:gd name="connsiteX38" fmla="*/ 394917 w 607639"/>
                <a:gd name="connsiteY38" fmla="*/ 313486 h 566217"/>
                <a:gd name="connsiteX39" fmla="*/ 394917 w 607639"/>
                <a:gd name="connsiteY39" fmla="*/ 242648 h 566217"/>
                <a:gd name="connsiteX40" fmla="*/ 384859 w 607639"/>
                <a:gd name="connsiteY40" fmla="*/ 232515 h 566217"/>
                <a:gd name="connsiteX41" fmla="*/ 506351 w 607639"/>
                <a:gd name="connsiteY41" fmla="*/ 222471 h 566217"/>
                <a:gd name="connsiteX42" fmla="*/ 496205 w 607639"/>
                <a:gd name="connsiteY42" fmla="*/ 232515 h 566217"/>
                <a:gd name="connsiteX43" fmla="*/ 496205 w 607639"/>
                <a:gd name="connsiteY43" fmla="*/ 313486 h 566217"/>
                <a:gd name="connsiteX44" fmla="*/ 506351 w 607639"/>
                <a:gd name="connsiteY44" fmla="*/ 323530 h 566217"/>
                <a:gd name="connsiteX45" fmla="*/ 516498 w 607639"/>
                <a:gd name="connsiteY45" fmla="*/ 313486 h 566217"/>
                <a:gd name="connsiteX46" fmla="*/ 516498 w 607639"/>
                <a:gd name="connsiteY46" fmla="*/ 232515 h 566217"/>
                <a:gd name="connsiteX47" fmla="*/ 506351 w 607639"/>
                <a:gd name="connsiteY47" fmla="*/ 222471 h 566217"/>
                <a:gd name="connsiteX48" fmla="*/ 196595 w 607639"/>
                <a:gd name="connsiteY48" fmla="*/ 192079 h 566217"/>
                <a:gd name="connsiteX49" fmla="*/ 272100 w 607639"/>
                <a:gd name="connsiteY49" fmla="*/ 192079 h 566217"/>
                <a:gd name="connsiteX50" fmla="*/ 247258 w 607639"/>
                <a:gd name="connsiteY50" fmla="*/ 242604 h 566217"/>
                <a:gd name="connsiteX51" fmla="*/ 465854 w 607639"/>
                <a:gd name="connsiteY51" fmla="*/ 182030 h 566217"/>
                <a:gd name="connsiteX52" fmla="*/ 455707 w 607639"/>
                <a:gd name="connsiteY52" fmla="*/ 192074 h 566217"/>
                <a:gd name="connsiteX53" fmla="*/ 455707 w 607639"/>
                <a:gd name="connsiteY53" fmla="*/ 313486 h 566217"/>
                <a:gd name="connsiteX54" fmla="*/ 465854 w 607639"/>
                <a:gd name="connsiteY54" fmla="*/ 323530 h 566217"/>
                <a:gd name="connsiteX55" fmla="*/ 476000 w 607639"/>
                <a:gd name="connsiteY55" fmla="*/ 313486 h 566217"/>
                <a:gd name="connsiteX56" fmla="*/ 476000 w 607639"/>
                <a:gd name="connsiteY56" fmla="*/ 192074 h 566217"/>
                <a:gd name="connsiteX57" fmla="*/ 465854 w 607639"/>
                <a:gd name="connsiteY57" fmla="*/ 182030 h 566217"/>
                <a:gd name="connsiteX58" fmla="*/ 499142 w 607639"/>
                <a:gd name="connsiteY58" fmla="*/ 103992 h 566217"/>
                <a:gd name="connsiteX59" fmla="*/ 497896 w 607639"/>
                <a:gd name="connsiteY59" fmla="*/ 105503 h 566217"/>
                <a:gd name="connsiteX60" fmla="*/ 497006 w 607639"/>
                <a:gd name="connsiteY60" fmla="*/ 107369 h 566217"/>
                <a:gd name="connsiteX61" fmla="*/ 496383 w 607639"/>
                <a:gd name="connsiteY61" fmla="*/ 109147 h 566217"/>
                <a:gd name="connsiteX62" fmla="*/ 496205 w 607639"/>
                <a:gd name="connsiteY62" fmla="*/ 111191 h 566217"/>
                <a:gd name="connsiteX63" fmla="*/ 496383 w 607639"/>
                <a:gd name="connsiteY63" fmla="*/ 113236 h 566217"/>
                <a:gd name="connsiteX64" fmla="*/ 497006 w 607639"/>
                <a:gd name="connsiteY64" fmla="*/ 115013 h 566217"/>
                <a:gd name="connsiteX65" fmla="*/ 497896 w 607639"/>
                <a:gd name="connsiteY65" fmla="*/ 116880 h 566217"/>
                <a:gd name="connsiteX66" fmla="*/ 499142 w 607639"/>
                <a:gd name="connsiteY66" fmla="*/ 118391 h 566217"/>
                <a:gd name="connsiteX67" fmla="*/ 506351 w 607639"/>
                <a:gd name="connsiteY67" fmla="*/ 121324 h 566217"/>
                <a:gd name="connsiteX68" fmla="*/ 513561 w 607639"/>
                <a:gd name="connsiteY68" fmla="*/ 118391 h 566217"/>
                <a:gd name="connsiteX69" fmla="*/ 516498 w 607639"/>
                <a:gd name="connsiteY69" fmla="*/ 111191 h 566217"/>
                <a:gd name="connsiteX70" fmla="*/ 513561 w 607639"/>
                <a:gd name="connsiteY70" fmla="*/ 103992 h 566217"/>
                <a:gd name="connsiteX71" fmla="*/ 499142 w 607639"/>
                <a:gd name="connsiteY71" fmla="*/ 103992 h 566217"/>
                <a:gd name="connsiteX72" fmla="*/ 374712 w 607639"/>
                <a:gd name="connsiteY72" fmla="*/ 101059 h 566217"/>
                <a:gd name="connsiteX73" fmla="*/ 364566 w 607639"/>
                <a:gd name="connsiteY73" fmla="*/ 111191 h 566217"/>
                <a:gd name="connsiteX74" fmla="*/ 374712 w 607639"/>
                <a:gd name="connsiteY74" fmla="*/ 121324 h 566217"/>
                <a:gd name="connsiteX75" fmla="*/ 455707 w 607639"/>
                <a:gd name="connsiteY75" fmla="*/ 121324 h 566217"/>
                <a:gd name="connsiteX76" fmla="*/ 465854 w 607639"/>
                <a:gd name="connsiteY76" fmla="*/ 111191 h 566217"/>
                <a:gd name="connsiteX77" fmla="*/ 455707 w 607639"/>
                <a:gd name="connsiteY77" fmla="*/ 101059 h 566217"/>
                <a:gd name="connsiteX78" fmla="*/ 162007 w 607639"/>
                <a:gd name="connsiteY78" fmla="*/ 82209 h 566217"/>
                <a:gd name="connsiteX79" fmla="*/ 162007 w 607639"/>
                <a:gd name="connsiteY79" fmla="*/ 181568 h 566217"/>
                <a:gd name="connsiteX80" fmla="*/ 162096 w 607639"/>
                <a:gd name="connsiteY80" fmla="*/ 181657 h 566217"/>
                <a:gd name="connsiteX81" fmla="*/ 165033 w 607639"/>
                <a:gd name="connsiteY81" fmla="*/ 189123 h 566217"/>
                <a:gd name="connsiteX82" fmla="*/ 231878 w 607639"/>
                <a:gd name="connsiteY82" fmla="*/ 255866 h 566217"/>
                <a:gd name="connsiteX83" fmla="*/ 177227 w 607639"/>
                <a:gd name="connsiteY83" fmla="*/ 273018 h 566217"/>
                <a:gd name="connsiteX84" fmla="*/ 81009 w 607639"/>
                <a:gd name="connsiteY84" fmla="*/ 176947 h 566217"/>
                <a:gd name="connsiteX85" fmla="*/ 162007 w 607639"/>
                <a:gd name="connsiteY85" fmla="*/ 82209 h 566217"/>
                <a:gd name="connsiteX86" fmla="*/ 182271 w 607639"/>
                <a:gd name="connsiteY86" fmla="*/ 81150 h 566217"/>
                <a:gd name="connsiteX87" fmla="*/ 185209 w 607639"/>
                <a:gd name="connsiteY87" fmla="*/ 81239 h 566217"/>
                <a:gd name="connsiteX88" fmla="*/ 188503 w 607639"/>
                <a:gd name="connsiteY88" fmla="*/ 81594 h 566217"/>
                <a:gd name="connsiteX89" fmla="*/ 195268 w 607639"/>
                <a:gd name="connsiteY89" fmla="*/ 82661 h 566217"/>
                <a:gd name="connsiteX90" fmla="*/ 197315 w 607639"/>
                <a:gd name="connsiteY90" fmla="*/ 83017 h 566217"/>
                <a:gd name="connsiteX91" fmla="*/ 205505 w 607639"/>
                <a:gd name="connsiteY91" fmla="*/ 85150 h 566217"/>
                <a:gd name="connsiteX92" fmla="*/ 205950 w 607639"/>
                <a:gd name="connsiteY92" fmla="*/ 85239 h 566217"/>
                <a:gd name="connsiteX93" fmla="*/ 269064 w 607639"/>
                <a:gd name="connsiteY93" fmla="*/ 148255 h 566217"/>
                <a:gd name="connsiteX94" fmla="*/ 269153 w 607639"/>
                <a:gd name="connsiteY94" fmla="*/ 148788 h 566217"/>
                <a:gd name="connsiteX95" fmla="*/ 271290 w 607639"/>
                <a:gd name="connsiteY95" fmla="*/ 156876 h 566217"/>
                <a:gd name="connsiteX96" fmla="*/ 271646 w 607639"/>
                <a:gd name="connsiteY96" fmla="*/ 158921 h 566217"/>
                <a:gd name="connsiteX97" fmla="*/ 272714 w 607639"/>
                <a:gd name="connsiteY97" fmla="*/ 165764 h 566217"/>
                <a:gd name="connsiteX98" fmla="*/ 272981 w 607639"/>
                <a:gd name="connsiteY98" fmla="*/ 168875 h 566217"/>
                <a:gd name="connsiteX99" fmla="*/ 273159 w 607639"/>
                <a:gd name="connsiteY99" fmla="*/ 171897 h 566217"/>
                <a:gd name="connsiteX100" fmla="*/ 182271 w 607639"/>
                <a:gd name="connsiteY100" fmla="*/ 171897 h 566217"/>
                <a:gd name="connsiteX101" fmla="*/ 177210 w 607639"/>
                <a:gd name="connsiteY101" fmla="*/ 60617 h 566217"/>
                <a:gd name="connsiteX102" fmla="*/ 174451 w 607639"/>
                <a:gd name="connsiteY102" fmla="*/ 60795 h 566217"/>
                <a:gd name="connsiteX103" fmla="*/ 171869 w 607639"/>
                <a:gd name="connsiteY103" fmla="*/ 60795 h 566217"/>
                <a:gd name="connsiteX104" fmla="*/ 167508 w 607639"/>
                <a:gd name="connsiteY104" fmla="*/ 61062 h 566217"/>
                <a:gd name="connsiteX105" fmla="*/ 167419 w 607639"/>
                <a:gd name="connsiteY105" fmla="*/ 61151 h 566217"/>
                <a:gd name="connsiteX106" fmla="*/ 60791 w 607639"/>
                <a:gd name="connsiteY106" fmla="*/ 176964 h 566217"/>
                <a:gd name="connsiteX107" fmla="*/ 177210 w 607639"/>
                <a:gd name="connsiteY107" fmla="*/ 293221 h 566217"/>
                <a:gd name="connsiteX108" fmla="*/ 253487 w 607639"/>
                <a:gd name="connsiteY108" fmla="*/ 264601 h 566217"/>
                <a:gd name="connsiteX109" fmla="*/ 254377 w 607639"/>
                <a:gd name="connsiteY109" fmla="*/ 264068 h 566217"/>
                <a:gd name="connsiteX110" fmla="*/ 254733 w 607639"/>
                <a:gd name="connsiteY110" fmla="*/ 263535 h 566217"/>
                <a:gd name="connsiteX111" fmla="*/ 293184 w 607639"/>
                <a:gd name="connsiteY111" fmla="*/ 186652 h 566217"/>
                <a:gd name="connsiteX112" fmla="*/ 293362 w 607639"/>
                <a:gd name="connsiteY112" fmla="*/ 186474 h 566217"/>
                <a:gd name="connsiteX113" fmla="*/ 293540 w 607639"/>
                <a:gd name="connsiteY113" fmla="*/ 182297 h 566217"/>
                <a:gd name="connsiteX114" fmla="*/ 293540 w 607639"/>
                <a:gd name="connsiteY114" fmla="*/ 179630 h 566217"/>
                <a:gd name="connsiteX115" fmla="*/ 293718 w 607639"/>
                <a:gd name="connsiteY115" fmla="*/ 176964 h 566217"/>
                <a:gd name="connsiteX116" fmla="*/ 293540 w 607639"/>
                <a:gd name="connsiteY116" fmla="*/ 173320 h 566217"/>
                <a:gd name="connsiteX117" fmla="*/ 293184 w 607639"/>
                <a:gd name="connsiteY117" fmla="*/ 167898 h 566217"/>
                <a:gd name="connsiteX118" fmla="*/ 292383 w 607639"/>
                <a:gd name="connsiteY118" fmla="*/ 160698 h 566217"/>
                <a:gd name="connsiteX119" fmla="*/ 291760 w 607639"/>
                <a:gd name="connsiteY119" fmla="*/ 156432 h 566217"/>
                <a:gd name="connsiteX120" fmla="*/ 290068 w 607639"/>
                <a:gd name="connsiteY120" fmla="*/ 148522 h 566217"/>
                <a:gd name="connsiteX121" fmla="*/ 289178 w 607639"/>
                <a:gd name="connsiteY121" fmla="*/ 145144 h 566217"/>
                <a:gd name="connsiteX122" fmla="*/ 286508 w 607639"/>
                <a:gd name="connsiteY122" fmla="*/ 137145 h 566217"/>
                <a:gd name="connsiteX123" fmla="*/ 285351 w 607639"/>
                <a:gd name="connsiteY123" fmla="*/ 133856 h 566217"/>
                <a:gd name="connsiteX124" fmla="*/ 282058 w 607639"/>
                <a:gd name="connsiteY124" fmla="*/ 126657 h 566217"/>
                <a:gd name="connsiteX125" fmla="*/ 280278 w 607639"/>
                <a:gd name="connsiteY125" fmla="*/ 122924 h 566217"/>
                <a:gd name="connsiteX126" fmla="*/ 276896 w 607639"/>
                <a:gd name="connsiteY126" fmla="*/ 117057 h 566217"/>
                <a:gd name="connsiteX127" fmla="*/ 274136 w 607639"/>
                <a:gd name="connsiteY127" fmla="*/ 112613 h 566217"/>
                <a:gd name="connsiteX128" fmla="*/ 271199 w 607639"/>
                <a:gd name="connsiteY128" fmla="*/ 108525 h 566217"/>
                <a:gd name="connsiteX129" fmla="*/ 267105 w 607639"/>
                <a:gd name="connsiteY129" fmla="*/ 103014 h 566217"/>
                <a:gd name="connsiteX130" fmla="*/ 266571 w 607639"/>
                <a:gd name="connsiteY130" fmla="*/ 102481 h 566217"/>
                <a:gd name="connsiteX131" fmla="*/ 259540 w 607639"/>
                <a:gd name="connsiteY131" fmla="*/ 94659 h 566217"/>
                <a:gd name="connsiteX132" fmla="*/ 251351 w 607639"/>
                <a:gd name="connsiteY132" fmla="*/ 87371 h 566217"/>
                <a:gd name="connsiteX133" fmla="*/ 251262 w 607639"/>
                <a:gd name="connsiteY133" fmla="*/ 87193 h 566217"/>
                <a:gd name="connsiteX134" fmla="*/ 245388 w 607639"/>
                <a:gd name="connsiteY134" fmla="*/ 82838 h 566217"/>
                <a:gd name="connsiteX135" fmla="*/ 241739 w 607639"/>
                <a:gd name="connsiteY135" fmla="*/ 80171 h 566217"/>
                <a:gd name="connsiteX136" fmla="*/ 236843 w 607639"/>
                <a:gd name="connsiteY136" fmla="*/ 77238 h 566217"/>
                <a:gd name="connsiteX137" fmla="*/ 231414 w 607639"/>
                <a:gd name="connsiteY137" fmla="*/ 74039 h 566217"/>
                <a:gd name="connsiteX138" fmla="*/ 227231 w 607639"/>
                <a:gd name="connsiteY138" fmla="*/ 72083 h 566217"/>
                <a:gd name="connsiteX139" fmla="*/ 220466 w 607639"/>
                <a:gd name="connsiteY139" fmla="*/ 69061 h 566217"/>
                <a:gd name="connsiteX140" fmla="*/ 216817 w 607639"/>
                <a:gd name="connsiteY140" fmla="*/ 67728 h 566217"/>
                <a:gd name="connsiteX141" fmla="*/ 209252 w 607639"/>
                <a:gd name="connsiteY141" fmla="*/ 65239 h 566217"/>
                <a:gd name="connsiteX142" fmla="*/ 205513 w 607639"/>
                <a:gd name="connsiteY142" fmla="*/ 64262 h 566217"/>
                <a:gd name="connsiteX143" fmla="*/ 197770 w 607639"/>
                <a:gd name="connsiteY143" fmla="*/ 62573 h 566217"/>
                <a:gd name="connsiteX144" fmla="*/ 193498 w 607639"/>
                <a:gd name="connsiteY144" fmla="*/ 61951 h 566217"/>
                <a:gd name="connsiteX145" fmla="*/ 186199 w 607639"/>
                <a:gd name="connsiteY145" fmla="*/ 61062 h 566217"/>
                <a:gd name="connsiteX146" fmla="*/ 181037 w 607639"/>
                <a:gd name="connsiteY146" fmla="*/ 60795 h 566217"/>
                <a:gd name="connsiteX147" fmla="*/ 177210 w 607639"/>
                <a:gd name="connsiteY147" fmla="*/ 60617 h 566217"/>
                <a:gd name="connsiteX148" fmla="*/ 431587 w 607639"/>
                <a:gd name="connsiteY148" fmla="*/ 51374 h 566217"/>
                <a:gd name="connsiteX149" fmla="*/ 428294 w 607639"/>
                <a:gd name="connsiteY149" fmla="*/ 53418 h 566217"/>
                <a:gd name="connsiteX150" fmla="*/ 425356 w 607639"/>
                <a:gd name="connsiteY150" fmla="*/ 60617 h 566217"/>
                <a:gd name="connsiteX151" fmla="*/ 428294 w 607639"/>
                <a:gd name="connsiteY151" fmla="*/ 67817 h 566217"/>
                <a:gd name="connsiteX152" fmla="*/ 435414 w 607639"/>
                <a:gd name="connsiteY152" fmla="*/ 70750 h 566217"/>
                <a:gd name="connsiteX153" fmla="*/ 442623 w 607639"/>
                <a:gd name="connsiteY153" fmla="*/ 67817 h 566217"/>
                <a:gd name="connsiteX154" fmla="*/ 445561 w 607639"/>
                <a:gd name="connsiteY154" fmla="*/ 60617 h 566217"/>
                <a:gd name="connsiteX155" fmla="*/ 442623 w 607639"/>
                <a:gd name="connsiteY155" fmla="*/ 53418 h 566217"/>
                <a:gd name="connsiteX156" fmla="*/ 431587 w 607639"/>
                <a:gd name="connsiteY156" fmla="*/ 51374 h 566217"/>
                <a:gd name="connsiteX157" fmla="*/ 476000 w 607639"/>
                <a:gd name="connsiteY157" fmla="*/ 50485 h 566217"/>
                <a:gd name="connsiteX158" fmla="*/ 465854 w 607639"/>
                <a:gd name="connsiteY158" fmla="*/ 60617 h 566217"/>
                <a:gd name="connsiteX159" fmla="*/ 476000 w 607639"/>
                <a:gd name="connsiteY159" fmla="*/ 70750 h 566217"/>
                <a:gd name="connsiteX160" fmla="*/ 506351 w 607639"/>
                <a:gd name="connsiteY160" fmla="*/ 70750 h 566217"/>
                <a:gd name="connsiteX161" fmla="*/ 516498 w 607639"/>
                <a:gd name="connsiteY161" fmla="*/ 60617 h 566217"/>
                <a:gd name="connsiteX162" fmla="*/ 506351 w 607639"/>
                <a:gd name="connsiteY162" fmla="*/ 50485 h 566217"/>
                <a:gd name="connsiteX163" fmla="*/ 374712 w 607639"/>
                <a:gd name="connsiteY163" fmla="*/ 50485 h 566217"/>
                <a:gd name="connsiteX164" fmla="*/ 364566 w 607639"/>
                <a:gd name="connsiteY164" fmla="*/ 60617 h 566217"/>
                <a:gd name="connsiteX165" fmla="*/ 374712 w 607639"/>
                <a:gd name="connsiteY165" fmla="*/ 70750 h 566217"/>
                <a:gd name="connsiteX166" fmla="*/ 394917 w 607639"/>
                <a:gd name="connsiteY166" fmla="*/ 70750 h 566217"/>
                <a:gd name="connsiteX167" fmla="*/ 405063 w 607639"/>
                <a:gd name="connsiteY167" fmla="*/ 60617 h 566217"/>
                <a:gd name="connsiteX168" fmla="*/ 394917 w 607639"/>
                <a:gd name="connsiteY168" fmla="*/ 50485 h 566217"/>
                <a:gd name="connsiteX169" fmla="*/ 45571 w 607639"/>
                <a:gd name="connsiteY169" fmla="*/ 0 h 566217"/>
                <a:gd name="connsiteX170" fmla="*/ 562069 w 607639"/>
                <a:gd name="connsiteY170" fmla="*/ 0 h 566217"/>
                <a:gd name="connsiteX171" fmla="*/ 607639 w 607639"/>
                <a:gd name="connsiteY171" fmla="*/ 45508 h 566217"/>
                <a:gd name="connsiteX172" fmla="*/ 607639 w 607639"/>
                <a:gd name="connsiteY172" fmla="*/ 343795 h 566217"/>
                <a:gd name="connsiteX173" fmla="*/ 0 w 607639"/>
                <a:gd name="connsiteY173" fmla="*/ 343795 h 566217"/>
                <a:gd name="connsiteX174" fmla="*/ 0 w 607639"/>
                <a:gd name="connsiteY174" fmla="*/ 45508 h 566217"/>
                <a:gd name="connsiteX175" fmla="*/ 45571 w 607639"/>
                <a:gd name="connsiteY175" fmla="*/ 0 h 566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</a:cxnLst>
              <a:rect l="l" t="t" r="r" b="b"/>
              <a:pathLst>
                <a:path w="607639" h="566217">
                  <a:moveTo>
                    <a:pt x="261053" y="444915"/>
                  </a:moveTo>
                  <a:lnTo>
                    <a:pt x="245922" y="505522"/>
                  </a:lnTo>
                  <a:lnTo>
                    <a:pt x="361718" y="505522"/>
                  </a:lnTo>
                  <a:lnTo>
                    <a:pt x="346498" y="444915"/>
                  </a:lnTo>
                  <a:close/>
                  <a:moveTo>
                    <a:pt x="0" y="364047"/>
                  </a:moveTo>
                  <a:lnTo>
                    <a:pt x="607639" y="364047"/>
                  </a:lnTo>
                  <a:lnTo>
                    <a:pt x="607639" y="399416"/>
                  </a:lnTo>
                  <a:cubicBezTo>
                    <a:pt x="607639" y="424476"/>
                    <a:pt x="587168" y="444915"/>
                    <a:pt x="562069" y="444915"/>
                  </a:cubicBezTo>
                  <a:lnTo>
                    <a:pt x="367414" y="444915"/>
                  </a:lnTo>
                  <a:lnTo>
                    <a:pt x="382634" y="505522"/>
                  </a:lnTo>
                  <a:lnTo>
                    <a:pt x="384859" y="505522"/>
                  </a:lnTo>
                  <a:cubicBezTo>
                    <a:pt x="412718" y="505522"/>
                    <a:pt x="435414" y="528271"/>
                    <a:pt x="435414" y="556086"/>
                  </a:cubicBezTo>
                  <a:cubicBezTo>
                    <a:pt x="435414" y="561685"/>
                    <a:pt x="430964" y="566217"/>
                    <a:pt x="425356" y="566217"/>
                  </a:cubicBezTo>
                  <a:lnTo>
                    <a:pt x="182283" y="566217"/>
                  </a:lnTo>
                  <a:cubicBezTo>
                    <a:pt x="176676" y="566217"/>
                    <a:pt x="172136" y="561685"/>
                    <a:pt x="172136" y="556086"/>
                  </a:cubicBezTo>
                  <a:cubicBezTo>
                    <a:pt x="172136" y="528271"/>
                    <a:pt x="194833" y="505522"/>
                    <a:pt x="222780" y="505522"/>
                  </a:cubicBezTo>
                  <a:lnTo>
                    <a:pt x="225006" y="505522"/>
                  </a:lnTo>
                  <a:lnTo>
                    <a:pt x="240225" y="444915"/>
                  </a:lnTo>
                  <a:lnTo>
                    <a:pt x="45571" y="444915"/>
                  </a:lnTo>
                  <a:cubicBezTo>
                    <a:pt x="20471" y="444915"/>
                    <a:pt x="0" y="424476"/>
                    <a:pt x="0" y="399416"/>
                  </a:cubicBezTo>
                  <a:close/>
                  <a:moveTo>
                    <a:pt x="344273" y="273045"/>
                  </a:moveTo>
                  <a:cubicBezTo>
                    <a:pt x="338754" y="273045"/>
                    <a:pt x="334215" y="277578"/>
                    <a:pt x="334215" y="283089"/>
                  </a:cubicBezTo>
                  <a:lnTo>
                    <a:pt x="334215" y="313486"/>
                  </a:lnTo>
                  <a:cubicBezTo>
                    <a:pt x="334215" y="318997"/>
                    <a:pt x="338754" y="323530"/>
                    <a:pt x="344273" y="323530"/>
                  </a:cubicBezTo>
                  <a:cubicBezTo>
                    <a:pt x="349880" y="323530"/>
                    <a:pt x="354419" y="318997"/>
                    <a:pt x="354419" y="313486"/>
                  </a:cubicBezTo>
                  <a:lnTo>
                    <a:pt x="354419" y="283089"/>
                  </a:lnTo>
                  <a:cubicBezTo>
                    <a:pt x="354419" y="277578"/>
                    <a:pt x="349880" y="273045"/>
                    <a:pt x="344273" y="273045"/>
                  </a:cubicBezTo>
                  <a:close/>
                  <a:moveTo>
                    <a:pt x="425356" y="252780"/>
                  </a:moveTo>
                  <a:cubicBezTo>
                    <a:pt x="419749" y="252780"/>
                    <a:pt x="415210" y="257313"/>
                    <a:pt x="415210" y="262913"/>
                  </a:cubicBezTo>
                  <a:lnTo>
                    <a:pt x="415210" y="313486"/>
                  </a:lnTo>
                  <a:cubicBezTo>
                    <a:pt x="415210" y="318997"/>
                    <a:pt x="419749" y="323530"/>
                    <a:pt x="425356" y="323530"/>
                  </a:cubicBezTo>
                  <a:cubicBezTo>
                    <a:pt x="430964" y="323530"/>
                    <a:pt x="435414" y="318997"/>
                    <a:pt x="435414" y="313486"/>
                  </a:cubicBezTo>
                  <a:lnTo>
                    <a:pt x="435414" y="262913"/>
                  </a:lnTo>
                  <a:cubicBezTo>
                    <a:pt x="435414" y="257313"/>
                    <a:pt x="430964" y="252780"/>
                    <a:pt x="425356" y="252780"/>
                  </a:cubicBezTo>
                  <a:close/>
                  <a:moveTo>
                    <a:pt x="384859" y="232515"/>
                  </a:moveTo>
                  <a:cubicBezTo>
                    <a:pt x="379252" y="232515"/>
                    <a:pt x="374712" y="237048"/>
                    <a:pt x="374712" y="242648"/>
                  </a:cubicBezTo>
                  <a:lnTo>
                    <a:pt x="374712" y="313486"/>
                  </a:lnTo>
                  <a:cubicBezTo>
                    <a:pt x="374712" y="318997"/>
                    <a:pt x="379252" y="323530"/>
                    <a:pt x="384859" y="323530"/>
                  </a:cubicBezTo>
                  <a:cubicBezTo>
                    <a:pt x="390466" y="323530"/>
                    <a:pt x="394917" y="318997"/>
                    <a:pt x="394917" y="313486"/>
                  </a:cubicBezTo>
                  <a:lnTo>
                    <a:pt x="394917" y="242648"/>
                  </a:lnTo>
                  <a:cubicBezTo>
                    <a:pt x="394917" y="237048"/>
                    <a:pt x="390466" y="232515"/>
                    <a:pt x="384859" y="232515"/>
                  </a:cubicBezTo>
                  <a:close/>
                  <a:moveTo>
                    <a:pt x="506351" y="222471"/>
                  </a:moveTo>
                  <a:cubicBezTo>
                    <a:pt x="500744" y="222471"/>
                    <a:pt x="496205" y="227004"/>
                    <a:pt x="496205" y="232515"/>
                  </a:cubicBezTo>
                  <a:lnTo>
                    <a:pt x="496205" y="313486"/>
                  </a:lnTo>
                  <a:cubicBezTo>
                    <a:pt x="496205" y="318997"/>
                    <a:pt x="500744" y="323530"/>
                    <a:pt x="506351" y="323530"/>
                  </a:cubicBezTo>
                  <a:cubicBezTo>
                    <a:pt x="511959" y="323530"/>
                    <a:pt x="516498" y="318997"/>
                    <a:pt x="516498" y="313486"/>
                  </a:cubicBezTo>
                  <a:lnTo>
                    <a:pt x="516498" y="232515"/>
                  </a:lnTo>
                  <a:cubicBezTo>
                    <a:pt x="516498" y="227004"/>
                    <a:pt x="511959" y="222471"/>
                    <a:pt x="506351" y="222471"/>
                  </a:cubicBezTo>
                  <a:close/>
                  <a:moveTo>
                    <a:pt x="196595" y="192079"/>
                  </a:moveTo>
                  <a:lnTo>
                    <a:pt x="272100" y="192079"/>
                  </a:lnTo>
                  <a:cubicBezTo>
                    <a:pt x="268984" y="211437"/>
                    <a:pt x="260080" y="228929"/>
                    <a:pt x="247258" y="242604"/>
                  </a:cubicBezTo>
                  <a:close/>
                  <a:moveTo>
                    <a:pt x="465854" y="182030"/>
                  </a:moveTo>
                  <a:cubicBezTo>
                    <a:pt x="460247" y="182030"/>
                    <a:pt x="455707" y="186563"/>
                    <a:pt x="455707" y="192074"/>
                  </a:cubicBezTo>
                  <a:lnTo>
                    <a:pt x="455707" y="313486"/>
                  </a:lnTo>
                  <a:cubicBezTo>
                    <a:pt x="455707" y="318997"/>
                    <a:pt x="460247" y="323530"/>
                    <a:pt x="465854" y="323530"/>
                  </a:cubicBezTo>
                  <a:cubicBezTo>
                    <a:pt x="471461" y="323530"/>
                    <a:pt x="476000" y="318997"/>
                    <a:pt x="476000" y="313486"/>
                  </a:cubicBezTo>
                  <a:lnTo>
                    <a:pt x="476000" y="192074"/>
                  </a:lnTo>
                  <a:cubicBezTo>
                    <a:pt x="476000" y="186563"/>
                    <a:pt x="471461" y="182030"/>
                    <a:pt x="465854" y="182030"/>
                  </a:cubicBezTo>
                  <a:close/>
                  <a:moveTo>
                    <a:pt x="499142" y="103992"/>
                  </a:moveTo>
                  <a:cubicBezTo>
                    <a:pt x="498786" y="104525"/>
                    <a:pt x="498252" y="105058"/>
                    <a:pt x="497896" y="105503"/>
                  </a:cubicBezTo>
                  <a:cubicBezTo>
                    <a:pt x="497540" y="106125"/>
                    <a:pt x="497273" y="106747"/>
                    <a:pt x="497006" y="107369"/>
                  </a:cubicBezTo>
                  <a:cubicBezTo>
                    <a:pt x="496739" y="107992"/>
                    <a:pt x="496561" y="108614"/>
                    <a:pt x="496383" y="109147"/>
                  </a:cubicBezTo>
                  <a:cubicBezTo>
                    <a:pt x="496294" y="109858"/>
                    <a:pt x="496205" y="110569"/>
                    <a:pt x="496205" y="111191"/>
                  </a:cubicBezTo>
                  <a:cubicBezTo>
                    <a:pt x="496205" y="111813"/>
                    <a:pt x="496294" y="112524"/>
                    <a:pt x="496383" y="113236"/>
                  </a:cubicBezTo>
                  <a:cubicBezTo>
                    <a:pt x="496561" y="113858"/>
                    <a:pt x="496739" y="114480"/>
                    <a:pt x="497006" y="115013"/>
                  </a:cubicBezTo>
                  <a:cubicBezTo>
                    <a:pt x="497273" y="115635"/>
                    <a:pt x="497540" y="116258"/>
                    <a:pt x="497896" y="116880"/>
                  </a:cubicBezTo>
                  <a:cubicBezTo>
                    <a:pt x="498252" y="117413"/>
                    <a:pt x="498786" y="117857"/>
                    <a:pt x="499142" y="118391"/>
                  </a:cubicBezTo>
                  <a:cubicBezTo>
                    <a:pt x="501100" y="120168"/>
                    <a:pt x="503681" y="121324"/>
                    <a:pt x="506351" y="121324"/>
                  </a:cubicBezTo>
                  <a:cubicBezTo>
                    <a:pt x="509021" y="121324"/>
                    <a:pt x="511603" y="120168"/>
                    <a:pt x="513561" y="118391"/>
                  </a:cubicBezTo>
                  <a:cubicBezTo>
                    <a:pt x="515341" y="116435"/>
                    <a:pt x="516498" y="113947"/>
                    <a:pt x="516498" y="111191"/>
                  </a:cubicBezTo>
                  <a:cubicBezTo>
                    <a:pt x="516498" y="108436"/>
                    <a:pt x="515341" y="105947"/>
                    <a:pt x="513561" y="103992"/>
                  </a:cubicBezTo>
                  <a:cubicBezTo>
                    <a:pt x="509644" y="100259"/>
                    <a:pt x="502880" y="100259"/>
                    <a:pt x="499142" y="103992"/>
                  </a:cubicBezTo>
                  <a:close/>
                  <a:moveTo>
                    <a:pt x="374712" y="101059"/>
                  </a:moveTo>
                  <a:cubicBezTo>
                    <a:pt x="369105" y="101059"/>
                    <a:pt x="364566" y="105592"/>
                    <a:pt x="364566" y="111191"/>
                  </a:cubicBezTo>
                  <a:cubicBezTo>
                    <a:pt x="364566" y="116791"/>
                    <a:pt x="369105" y="121324"/>
                    <a:pt x="374712" y="121324"/>
                  </a:cubicBezTo>
                  <a:lnTo>
                    <a:pt x="455707" y="121324"/>
                  </a:lnTo>
                  <a:cubicBezTo>
                    <a:pt x="461315" y="121324"/>
                    <a:pt x="465854" y="116791"/>
                    <a:pt x="465854" y="111191"/>
                  </a:cubicBezTo>
                  <a:cubicBezTo>
                    <a:pt x="465854" y="105592"/>
                    <a:pt x="461315" y="101059"/>
                    <a:pt x="455707" y="101059"/>
                  </a:cubicBezTo>
                  <a:close/>
                  <a:moveTo>
                    <a:pt x="162007" y="82209"/>
                  </a:moveTo>
                  <a:lnTo>
                    <a:pt x="162007" y="181568"/>
                  </a:lnTo>
                  <a:lnTo>
                    <a:pt x="162096" y="181657"/>
                  </a:lnTo>
                  <a:cubicBezTo>
                    <a:pt x="162007" y="184323"/>
                    <a:pt x="162986" y="187078"/>
                    <a:pt x="165033" y="189123"/>
                  </a:cubicBezTo>
                  <a:lnTo>
                    <a:pt x="231878" y="255866"/>
                  </a:lnTo>
                  <a:cubicBezTo>
                    <a:pt x="216391" y="266619"/>
                    <a:pt x="197521" y="273018"/>
                    <a:pt x="177227" y="273018"/>
                  </a:cubicBezTo>
                  <a:cubicBezTo>
                    <a:pt x="124178" y="273018"/>
                    <a:pt x="81009" y="229915"/>
                    <a:pt x="81009" y="176947"/>
                  </a:cubicBezTo>
                  <a:cubicBezTo>
                    <a:pt x="81009" y="129134"/>
                    <a:pt x="116257" y="89497"/>
                    <a:pt x="162007" y="82209"/>
                  </a:cubicBezTo>
                  <a:close/>
                  <a:moveTo>
                    <a:pt x="182271" y="81150"/>
                  </a:moveTo>
                  <a:cubicBezTo>
                    <a:pt x="183250" y="81150"/>
                    <a:pt x="184230" y="81150"/>
                    <a:pt x="185209" y="81239"/>
                  </a:cubicBezTo>
                  <a:cubicBezTo>
                    <a:pt x="186277" y="81328"/>
                    <a:pt x="187434" y="81417"/>
                    <a:pt x="188503" y="81594"/>
                  </a:cubicBezTo>
                  <a:cubicBezTo>
                    <a:pt x="190728" y="81861"/>
                    <a:pt x="193043" y="82217"/>
                    <a:pt x="195268" y="82661"/>
                  </a:cubicBezTo>
                  <a:cubicBezTo>
                    <a:pt x="195891" y="82750"/>
                    <a:pt x="196603" y="82839"/>
                    <a:pt x="197315" y="83017"/>
                  </a:cubicBezTo>
                  <a:cubicBezTo>
                    <a:pt x="200075" y="83550"/>
                    <a:pt x="202835" y="84261"/>
                    <a:pt x="205505" y="85150"/>
                  </a:cubicBezTo>
                  <a:cubicBezTo>
                    <a:pt x="205594" y="85150"/>
                    <a:pt x="205772" y="85150"/>
                    <a:pt x="205950" y="85239"/>
                  </a:cubicBezTo>
                  <a:cubicBezTo>
                    <a:pt x="235949" y="94571"/>
                    <a:pt x="259628" y="118302"/>
                    <a:pt x="269064" y="148255"/>
                  </a:cubicBezTo>
                  <a:cubicBezTo>
                    <a:pt x="269064" y="148433"/>
                    <a:pt x="269153" y="148610"/>
                    <a:pt x="269153" y="148788"/>
                  </a:cubicBezTo>
                  <a:cubicBezTo>
                    <a:pt x="270044" y="151455"/>
                    <a:pt x="270667" y="154121"/>
                    <a:pt x="271290" y="156876"/>
                  </a:cubicBezTo>
                  <a:cubicBezTo>
                    <a:pt x="271468" y="157587"/>
                    <a:pt x="271557" y="158209"/>
                    <a:pt x="271646" y="158921"/>
                  </a:cubicBezTo>
                  <a:cubicBezTo>
                    <a:pt x="272091" y="161143"/>
                    <a:pt x="272447" y="163453"/>
                    <a:pt x="272714" y="165764"/>
                  </a:cubicBezTo>
                  <a:cubicBezTo>
                    <a:pt x="272803" y="166742"/>
                    <a:pt x="272892" y="167809"/>
                    <a:pt x="272981" y="168875"/>
                  </a:cubicBezTo>
                  <a:cubicBezTo>
                    <a:pt x="273070" y="169853"/>
                    <a:pt x="273159" y="170831"/>
                    <a:pt x="273159" y="171897"/>
                  </a:cubicBezTo>
                  <a:lnTo>
                    <a:pt x="182271" y="171897"/>
                  </a:lnTo>
                  <a:close/>
                  <a:moveTo>
                    <a:pt x="177210" y="60617"/>
                  </a:moveTo>
                  <a:cubicBezTo>
                    <a:pt x="176320" y="60617"/>
                    <a:pt x="175430" y="60795"/>
                    <a:pt x="174451" y="60795"/>
                  </a:cubicBezTo>
                  <a:cubicBezTo>
                    <a:pt x="173561" y="60795"/>
                    <a:pt x="172759" y="60706"/>
                    <a:pt x="171869" y="60795"/>
                  </a:cubicBezTo>
                  <a:lnTo>
                    <a:pt x="167508" y="61062"/>
                  </a:lnTo>
                  <a:lnTo>
                    <a:pt x="167419" y="61151"/>
                  </a:lnTo>
                  <a:cubicBezTo>
                    <a:pt x="107786" y="66128"/>
                    <a:pt x="60791" y="116080"/>
                    <a:pt x="60791" y="176964"/>
                  </a:cubicBezTo>
                  <a:cubicBezTo>
                    <a:pt x="60791" y="241048"/>
                    <a:pt x="113037" y="293221"/>
                    <a:pt x="177210" y="293221"/>
                  </a:cubicBezTo>
                  <a:cubicBezTo>
                    <a:pt x="206403" y="293221"/>
                    <a:pt x="233016" y="282378"/>
                    <a:pt x="253487" y="264601"/>
                  </a:cubicBezTo>
                  <a:cubicBezTo>
                    <a:pt x="253754" y="264424"/>
                    <a:pt x="254110" y="264335"/>
                    <a:pt x="254377" y="264068"/>
                  </a:cubicBezTo>
                  <a:cubicBezTo>
                    <a:pt x="254466" y="263890"/>
                    <a:pt x="254555" y="263713"/>
                    <a:pt x="254733" y="263535"/>
                  </a:cubicBezTo>
                  <a:cubicBezTo>
                    <a:pt x="276273" y="244247"/>
                    <a:pt x="290602" y="217138"/>
                    <a:pt x="293184" y="186652"/>
                  </a:cubicBezTo>
                  <a:lnTo>
                    <a:pt x="293362" y="186474"/>
                  </a:lnTo>
                  <a:lnTo>
                    <a:pt x="293540" y="182297"/>
                  </a:lnTo>
                  <a:cubicBezTo>
                    <a:pt x="293629" y="181408"/>
                    <a:pt x="293540" y="180519"/>
                    <a:pt x="293540" y="179630"/>
                  </a:cubicBezTo>
                  <a:cubicBezTo>
                    <a:pt x="293540" y="178741"/>
                    <a:pt x="293718" y="177853"/>
                    <a:pt x="293718" y="176964"/>
                  </a:cubicBezTo>
                  <a:cubicBezTo>
                    <a:pt x="293718" y="175719"/>
                    <a:pt x="293540" y="174475"/>
                    <a:pt x="293540" y="173320"/>
                  </a:cubicBezTo>
                  <a:cubicBezTo>
                    <a:pt x="293451" y="171453"/>
                    <a:pt x="293362" y="169676"/>
                    <a:pt x="293184" y="167898"/>
                  </a:cubicBezTo>
                  <a:cubicBezTo>
                    <a:pt x="293006" y="165498"/>
                    <a:pt x="292739" y="163098"/>
                    <a:pt x="292383" y="160698"/>
                  </a:cubicBezTo>
                  <a:cubicBezTo>
                    <a:pt x="292205" y="159276"/>
                    <a:pt x="292027" y="157854"/>
                    <a:pt x="291760" y="156432"/>
                  </a:cubicBezTo>
                  <a:cubicBezTo>
                    <a:pt x="291314" y="153766"/>
                    <a:pt x="290691" y="151188"/>
                    <a:pt x="290068" y="148522"/>
                  </a:cubicBezTo>
                  <a:cubicBezTo>
                    <a:pt x="289712" y="147366"/>
                    <a:pt x="289445" y="146211"/>
                    <a:pt x="289178" y="145144"/>
                  </a:cubicBezTo>
                  <a:cubicBezTo>
                    <a:pt x="288377" y="142389"/>
                    <a:pt x="287487" y="139722"/>
                    <a:pt x="286508" y="137145"/>
                  </a:cubicBezTo>
                  <a:cubicBezTo>
                    <a:pt x="286152" y="136078"/>
                    <a:pt x="285707" y="134923"/>
                    <a:pt x="285351" y="133856"/>
                  </a:cubicBezTo>
                  <a:cubicBezTo>
                    <a:pt x="284283" y="131367"/>
                    <a:pt x="283215" y="129057"/>
                    <a:pt x="282058" y="126657"/>
                  </a:cubicBezTo>
                  <a:cubicBezTo>
                    <a:pt x="281435" y="125412"/>
                    <a:pt x="280901" y="124168"/>
                    <a:pt x="280278" y="122924"/>
                  </a:cubicBezTo>
                  <a:cubicBezTo>
                    <a:pt x="279210" y="120968"/>
                    <a:pt x="278053" y="119013"/>
                    <a:pt x="276896" y="117057"/>
                  </a:cubicBezTo>
                  <a:cubicBezTo>
                    <a:pt x="276006" y="115546"/>
                    <a:pt x="275116" y="114035"/>
                    <a:pt x="274136" y="112613"/>
                  </a:cubicBezTo>
                  <a:cubicBezTo>
                    <a:pt x="273246" y="111191"/>
                    <a:pt x="272178" y="109858"/>
                    <a:pt x="271199" y="108525"/>
                  </a:cubicBezTo>
                  <a:cubicBezTo>
                    <a:pt x="269864" y="106658"/>
                    <a:pt x="268529" y="104792"/>
                    <a:pt x="267105" y="103014"/>
                  </a:cubicBezTo>
                  <a:cubicBezTo>
                    <a:pt x="266927" y="102836"/>
                    <a:pt x="266749" y="102659"/>
                    <a:pt x="266571" y="102481"/>
                  </a:cubicBezTo>
                  <a:cubicBezTo>
                    <a:pt x="264346" y="99814"/>
                    <a:pt x="262032" y="97148"/>
                    <a:pt x="259540" y="94659"/>
                  </a:cubicBezTo>
                  <a:cubicBezTo>
                    <a:pt x="256958" y="92082"/>
                    <a:pt x="254199" y="89682"/>
                    <a:pt x="251351" y="87371"/>
                  </a:cubicBezTo>
                  <a:cubicBezTo>
                    <a:pt x="251351" y="87282"/>
                    <a:pt x="251262" y="87282"/>
                    <a:pt x="251262" y="87193"/>
                  </a:cubicBezTo>
                  <a:cubicBezTo>
                    <a:pt x="249393" y="85682"/>
                    <a:pt x="247346" y="84260"/>
                    <a:pt x="245388" y="82838"/>
                  </a:cubicBezTo>
                  <a:cubicBezTo>
                    <a:pt x="244142" y="81949"/>
                    <a:pt x="242985" y="81060"/>
                    <a:pt x="241739" y="80171"/>
                  </a:cubicBezTo>
                  <a:cubicBezTo>
                    <a:pt x="240136" y="79105"/>
                    <a:pt x="238445" y="78216"/>
                    <a:pt x="236843" y="77238"/>
                  </a:cubicBezTo>
                  <a:cubicBezTo>
                    <a:pt x="235063" y="76172"/>
                    <a:pt x="233283" y="75105"/>
                    <a:pt x="231414" y="74039"/>
                  </a:cubicBezTo>
                  <a:cubicBezTo>
                    <a:pt x="230079" y="73328"/>
                    <a:pt x="228655" y="72705"/>
                    <a:pt x="227231" y="72083"/>
                  </a:cubicBezTo>
                  <a:cubicBezTo>
                    <a:pt x="225006" y="71017"/>
                    <a:pt x="222780" y="69950"/>
                    <a:pt x="220466" y="69061"/>
                  </a:cubicBezTo>
                  <a:cubicBezTo>
                    <a:pt x="219309" y="68617"/>
                    <a:pt x="218063" y="68172"/>
                    <a:pt x="216817" y="67728"/>
                  </a:cubicBezTo>
                  <a:cubicBezTo>
                    <a:pt x="214325" y="66839"/>
                    <a:pt x="211833" y="65950"/>
                    <a:pt x="209252" y="65239"/>
                  </a:cubicBezTo>
                  <a:cubicBezTo>
                    <a:pt x="208006" y="64884"/>
                    <a:pt x="206759" y="64617"/>
                    <a:pt x="205513" y="64262"/>
                  </a:cubicBezTo>
                  <a:cubicBezTo>
                    <a:pt x="202932" y="63639"/>
                    <a:pt x="200440" y="63017"/>
                    <a:pt x="197770" y="62573"/>
                  </a:cubicBezTo>
                  <a:cubicBezTo>
                    <a:pt x="196346" y="62306"/>
                    <a:pt x="194922" y="62128"/>
                    <a:pt x="193498" y="61951"/>
                  </a:cubicBezTo>
                  <a:cubicBezTo>
                    <a:pt x="191095" y="61595"/>
                    <a:pt x="188691" y="61329"/>
                    <a:pt x="186199" y="61062"/>
                  </a:cubicBezTo>
                  <a:cubicBezTo>
                    <a:pt x="184508" y="60973"/>
                    <a:pt x="182728" y="60884"/>
                    <a:pt x="181037" y="60795"/>
                  </a:cubicBezTo>
                  <a:cubicBezTo>
                    <a:pt x="179702" y="60795"/>
                    <a:pt x="178456" y="60617"/>
                    <a:pt x="177210" y="60617"/>
                  </a:cubicBezTo>
                  <a:close/>
                  <a:moveTo>
                    <a:pt x="431587" y="51374"/>
                  </a:moveTo>
                  <a:cubicBezTo>
                    <a:pt x="430252" y="51818"/>
                    <a:pt x="429273" y="52529"/>
                    <a:pt x="428294" y="53418"/>
                  </a:cubicBezTo>
                  <a:cubicBezTo>
                    <a:pt x="426424" y="55373"/>
                    <a:pt x="425356" y="58040"/>
                    <a:pt x="425356" y="60617"/>
                  </a:cubicBezTo>
                  <a:cubicBezTo>
                    <a:pt x="425356" y="63284"/>
                    <a:pt x="426424" y="65862"/>
                    <a:pt x="428294" y="67817"/>
                  </a:cubicBezTo>
                  <a:cubicBezTo>
                    <a:pt x="430163" y="69683"/>
                    <a:pt x="432833" y="70750"/>
                    <a:pt x="435414" y="70750"/>
                  </a:cubicBezTo>
                  <a:cubicBezTo>
                    <a:pt x="438084" y="70750"/>
                    <a:pt x="440754" y="69683"/>
                    <a:pt x="442623" y="67817"/>
                  </a:cubicBezTo>
                  <a:cubicBezTo>
                    <a:pt x="444493" y="65862"/>
                    <a:pt x="445561" y="63284"/>
                    <a:pt x="445561" y="60617"/>
                  </a:cubicBezTo>
                  <a:cubicBezTo>
                    <a:pt x="445561" y="58040"/>
                    <a:pt x="444493" y="55373"/>
                    <a:pt x="442623" y="53418"/>
                  </a:cubicBezTo>
                  <a:cubicBezTo>
                    <a:pt x="439775" y="50663"/>
                    <a:pt x="435325" y="49685"/>
                    <a:pt x="431587" y="51374"/>
                  </a:cubicBezTo>
                  <a:close/>
                  <a:moveTo>
                    <a:pt x="476000" y="50485"/>
                  </a:moveTo>
                  <a:cubicBezTo>
                    <a:pt x="470393" y="50485"/>
                    <a:pt x="465854" y="55018"/>
                    <a:pt x="465854" y="60617"/>
                  </a:cubicBezTo>
                  <a:cubicBezTo>
                    <a:pt x="465854" y="66217"/>
                    <a:pt x="470393" y="70750"/>
                    <a:pt x="476000" y="70750"/>
                  </a:cubicBezTo>
                  <a:lnTo>
                    <a:pt x="506351" y="70750"/>
                  </a:lnTo>
                  <a:cubicBezTo>
                    <a:pt x="511959" y="70750"/>
                    <a:pt x="516498" y="66217"/>
                    <a:pt x="516498" y="60617"/>
                  </a:cubicBezTo>
                  <a:cubicBezTo>
                    <a:pt x="516498" y="55018"/>
                    <a:pt x="511959" y="50485"/>
                    <a:pt x="506351" y="50485"/>
                  </a:cubicBezTo>
                  <a:close/>
                  <a:moveTo>
                    <a:pt x="374712" y="50485"/>
                  </a:moveTo>
                  <a:cubicBezTo>
                    <a:pt x="369105" y="50485"/>
                    <a:pt x="364566" y="55018"/>
                    <a:pt x="364566" y="60617"/>
                  </a:cubicBezTo>
                  <a:cubicBezTo>
                    <a:pt x="364566" y="66217"/>
                    <a:pt x="369105" y="70750"/>
                    <a:pt x="374712" y="70750"/>
                  </a:cubicBezTo>
                  <a:lnTo>
                    <a:pt x="394917" y="70750"/>
                  </a:lnTo>
                  <a:cubicBezTo>
                    <a:pt x="400524" y="70750"/>
                    <a:pt x="405063" y="66217"/>
                    <a:pt x="405063" y="60617"/>
                  </a:cubicBezTo>
                  <a:cubicBezTo>
                    <a:pt x="405063" y="55018"/>
                    <a:pt x="400524" y="50485"/>
                    <a:pt x="394917" y="50485"/>
                  </a:cubicBezTo>
                  <a:close/>
                  <a:moveTo>
                    <a:pt x="45571" y="0"/>
                  </a:moveTo>
                  <a:lnTo>
                    <a:pt x="562069" y="0"/>
                  </a:lnTo>
                  <a:cubicBezTo>
                    <a:pt x="587168" y="0"/>
                    <a:pt x="607639" y="20354"/>
                    <a:pt x="607639" y="45508"/>
                  </a:cubicBezTo>
                  <a:lnTo>
                    <a:pt x="607639" y="343795"/>
                  </a:lnTo>
                  <a:lnTo>
                    <a:pt x="0" y="343795"/>
                  </a:lnTo>
                  <a:lnTo>
                    <a:pt x="0" y="45508"/>
                  </a:lnTo>
                  <a:cubicBezTo>
                    <a:pt x="0" y="20354"/>
                    <a:pt x="20471" y="0"/>
                    <a:pt x="45571" y="0"/>
                  </a:cubicBezTo>
                  <a:close/>
                </a:path>
              </a:pathLst>
            </a:custGeom>
            <a:gradFill>
              <a:gsLst>
                <a:gs pos="33000">
                  <a:srgbClr val="4EBCF7"/>
                </a:gs>
                <a:gs pos="99000">
                  <a:srgbClr val="0870D3"/>
                </a:gs>
              </a:gsLst>
              <a:lin ang="10800000" scaled="0"/>
            </a:gradFill>
            <a:ln>
              <a:noFill/>
            </a:ln>
            <a:effectLst/>
          </p:spPr>
        </p:sp>
        <p:sp>
          <p:nvSpPr>
            <p:cNvPr id="25" name="矩形 24"/>
            <p:cNvSpPr/>
            <p:nvPr/>
          </p:nvSpPr>
          <p:spPr>
            <a:xfrm>
              <a:off x="1082791" y="386741"/>
              <a:ext cx="3523722" cy="5232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2800" kern="0" dirty="0">
                  <a:solidFill>
                    <a:srgbClr val="0870D3"/>
                  </a:solidFill>
                  <a:effectLst>
                    <a:outerShdw blurRad="76200" dist="127000" dir="8100000" algn="tr" rotWithShape="0">
                      <a:prstClr val="black">
                        <a:alpha val="40000"/>
                      </a:prstClr>
                    </a:outerShdw>
                  </a:effectLst>
                  <a:latin typeface="思源黑体 CN Bold" panose="020B0800000000000000" pitchFamily="34" charset="-122"/>
                  <a:ea typeface="思源黑体 CN Bold" panose="020B0800000000000000" pitchFamily="34" charset="-122"/>
                  <a:cs typeface="+mn-ea"/>
                  <a:sym typeface="+mn-lt"/>
                </a:rPr>
                <a:t>ENTER YOUR TITLE</a:t>
              </a:r>
              <a:endParaRPr lang="zh-CN" altLang="en-US" sz="2800" kern="0" dirty="0">
                <a:solidFill>
                  <a:srgbClr val="0870D3"/>
                </a:solidFill>
                <a:effectLst>
                  <a:outerShdw blurRad="76200" dist="127000" dir="8100000" algn="tr" rotWithShape="0">
                    <a:prstClr val="black">
                      <a:alpha val="40000"/>
                    </a:prstClr>
                  </a:outerShdw>
                </a:effectLst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endParaRPr>
            </a:p>
          </p:txBody>
        </p: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3000">
        <p:fade/>
      </p:transition>
    </mc:Choice>
    <mc:Fallback xmlns="">
      <p:transition spd="med" advClick="0" advTm="3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9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/>
          <p:cNvPicPr>
            <a:picLocks noChangeAspect="1"/>
          </p:cNvPicPr>
          <p:nvPr/>
        </p:nvPicPr>
        <p:blipFill rotWithShape="1"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16" r="11588"/>
          <a:stretch>
            <a:fillRect/>
          </a:stretch>
        </p:blipFill>
        <p:spPr>
          <a:xfrm rot="10800000">
            <a:off x="0" y="-22731"/>
            <a:ext cx="12192000" cy="6858000"/>
          </a:xfrm>
          <a:prstGeom prst="rect">
            <a:avLst/>
          </a:prstGeom>
        </p:spPr>
      </p:pic>
      <p:grpSp>
        <p:nvGrpSpPr>
          <p:cNvPr id="4" name="组合 3"/>
          <p:cNvGrpSpPr/>
          <p:nvPr/>
        </p:nvGrpSpPr>
        <p:grpSpPr>
          <a:xfrm>
            <a:off x="3184451" y="2463918"/>
            <a:ext cx="5592011" cy="1992006"/>
            <a:chOff x="2723242" y="3147470"/>
            <a:chExt cx="5592011" cy="1992006"/>
          </a:xfrm>
        </p:grpSpPr>
        <p:sp>
          <p:nvSpPr>
            <p:cNvPr id="6" name="文本框 5"/>
            <p:cNvSpPr txBox="1"/>
            <p:nvPr/>
          </p:nvSpPr>
          <p:spPr>
            <a:xfrm>
              <a:off x="2723242" y="3147470"/>
              <a:ext cx="2441694" cy="100110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kumimoji="1" lang="zh-CN" altLang="en-US" sz="4400" b="1" dirty="0">
                  <a:solidFill>
                    <a:srgbClr val="0870D3"/>
                  </a:solidFill>
                  <a:effectLst/>
                  <a:latin typeface="思源黑体 CN Bold" panose="020B0800000000000000" pitchFamily="34" charset="-122"/>
                  <a:ea typeface="思源黑体 CN Bold" panose="020B0800000000000000" pitchFamily="34" charset="-122"/>
                  <a:cs typeface="+mn-ea"/>
                  <a:sym typeface="+mn-lt"/>
                </a:rPr>
                <a:t>总结计划</a:t>
              </a:r>
            </a:p>
          </p:txBody>
        </p:sp>
        <p:sp>
          <p:nvSpPr>
            <p:cNvPr id="7" name="Content Placeholder 2"/>
            <p:cNvSpPr txBox="1"/>
            <p:nvPr/>
          </p:nvSpPr>
          <p:spPr>
            <a:xfrm>
              <a:off x="2723242" y="4089821"/>
              <a:ext cx="5592011" cy="1049655"/>
            </a:xfrm>
            <a:prstGeom prst="rect">
              <a:avLst/>
            </a:prstGeom>
          </p:spPr>
          <p:txBody>
            <a:bodyPr vert="horz" lIns="121920" tIns="60960" rIns="121920" bIns="60960" rtlCol="0">
              <a:noAutofit/>
            </a:bodyPr>
            <a:lstStyle>
              <a:lvl1pPr marL="342900" indent="-3429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20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05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»"/>
                <a:defRPr sz="105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50000"/>
                </a:lnSpc>
                <a:buNone/>
              </a:pPr>
              <a:r>
                <a:rPr lang="en-US" altLang="zh-CN" sz="1800" b="1" dirty="0">
                  <a:solidFill>
                    <a:srgbClr val="0870D3"/>
                  </a:solidFill>
                  <a:effectLst/>
                  <a:latin typeface="思源黑体 CN Bold" panose="020B0800000000000000" pitchFamily="34" charset="-122"/>
                  <a:ea typeface="思源黑体 CN Bold" panose="020B0800000000000000" pitchFamily="34" charset="-122"/>
                  <a:cs typeface="+mn-ea"/>
                  <a:sym typeface="+mn-lt"/>
                </a:rPr>
                <a:t>Efficiently pontificate B2B imperatives for principle-centered schemas. </a:t>
              </a:r>
            </a:p>
          </p:txBody>
        </p:sp>
      </p:grpSp>
      <p:sp>
        <p:nvSpPr>
          <p:cNvPr id="10" name="菱形 9"/>
          <p:cNvSpPr/>
          <p:nvPr/>
        </p:nvSpPr>
        <p:spPr>
          <a:xfrm>
            <a:off x="1375687" y="2338397"/>
            <a:ext cx="1597445" cy="1597445"/>
          </a:xfrm>
          <a:prstGeom prst="diamond">
            <a:avLst/>
          </a:prstGeom>
          <a:gradFill>
            <a:gsLst>
              <a:gs pos="0">
                <a:srgbClr val="0870D3"/>
              </a:gs>
              <a:gs pos="100000">
                <a:srgbClr val="4EBCF7"/>
              </a:gs>
            </a:gsLst>
            <a:lin ang="9000000" scaled="0"/>
          </a:gradFill>
          <a:ln>
            <a:noFill/>
          </a:ln>
          <a:effectLst>
            <a:outerShdw blurRad="177800" dist="762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3200" dirty="0">
                <a:effectLst/>
                <a:latin typeface="思源黑体 CN Bold" panose="020B0800000000000000" pitchFamily="34" charset="-122"/>
                <a:ea typeface="思源黑体 CN Bold" panose="020B0800000000000000" pitchFamily="34" charset="-122"/>
              </a:rPr>
              <a:t>03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3000">
        <p:fade/>
      </p:transition>
    </mc:Choice>
    <mc:Fallback xmlns="">
      <p:transition spd="med" advClick="0" advTm="3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sḻîḓé"/>
          <p:cNvSpPr/>
          <p:nvPr/>
        </p:nvSpPr>
        <p:spPr>
          <a:xfrm>
            <a:off x="0" y="1435100"/>
            <a:ext cx="12192000" cy="2088029"/>
          </a:xfrm>
          <a:prstGeom prst="rect">
            <a:avLst/>
          </a:prstGeom>
          <a:blipFill dpi="0" rotWithShape="1">
            <a:blip r:embed="rId3"/>
            <a:srcRect/>
            <a:tile tx="0" ty="266700" sx="100000" sy="100000" flip="none" algn="b"/>
          </a:blipFill>
          <a:ln w="381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en-US"/>
            </a:defPPr>
            <a:lvl1pPr marL="0" algn="l" defTabSz="609600" rtl="0" eaLnBrk="1" latinLnBrk="0" hangingPunct="1">
              <a:defRPr sz="2400" kern="1200">
                <a:solidFill>
                  <a:schemeClr val="lt1"/>
                </a:solidFill>
              </a:defRPr>
            </a:lvl1pPr>
            <a:lvl2pPr marL="609600" algn="l" defTabSz="609600" rtl="0" eaLnBrk="1" latinLnBrk="0" hangingPunct="1">
              <a:defRPr sz="2400" kern="1200">
                <a:solidFill>
                  <a:schemeClr val="lt1"/>
                </a:solidFill>
              </a:defRPr>
            </a:lvl2pPr>
            <a:lvl3pPr marL="1219200" algn="l" defTabSz="609600" rtl="0" eaLnBrk="1" latinLnBrk="0" hangingPunct="1">
              <a:defRPr sz="2400" kern="1200">
                <a:solidFill>
                  <a:schemeClr val="lt1"/>
                </a:solidFill>
              </a:defRPr>
            </a:lvl3pPr>
            <a:lvl4pPr marL="1828800" algn="l" defTabSz="609600" rtl="0" eaLnBrk="1" latinLnBrk="0" hangingPunct="1">
              <a:defRPr sz="2400" kern="1200">
                <a:solidFill>
                  <a:schemeClr val="lt1"/>
                </a:solidFill>
              </a:defRPr>
            </a:lvl4pPr>
            <a:lvl5pPr marL="2438400" algn="l" defTabSz="609600" rtl="0" eaLnBrk="1" latinLnBrk="0" hangingPunct="1">
              <a:defRPr sz="2400" kern="1200">
                <a:solidFill>
                  <a:schemeClr val="lt1"/>
                </a:solidFill>
              </a:defRPr>
            </a:lvl5pPr>
            <a:lvl6pPr marL="3048000" algn="l" defTabSz="609600" rtl="0" eaLnBrk="1" latinLnBrk="0" hangingPunct="1">
              <a:defRPr sz="2400" kern="1200">
                <a:solidFill>
                  <a:schemeClr val="lt1"/>
                </a:solidFill>
              </a:defRPr>
            </a:lvl6pPr>
            <a:lvl7pPr marL="3657600" algn="l" defTabSz="609600" rtl="0" eaLnBrk="1" latinLnBrk="0" hangingPunct="1">
              <a:defRPr sz="2400" kern="1200">
                <a:solidFill>
                  <a:schemeClr val="lt1"/>
                </a:solidFill>
              </a:defRPr>
            </a:lvl7pPr>
            <a:lvl8pPr marL="4267200" algn="l" defTabSz="609600" rtl="0" eaLnBrk="1" latinLnBrk="0" hangingPunct="1">
              <a:defRPr sz="2400" kern="1200">
                <a:solidFill>
                  <a:schemeClr val="lt1"/>
                </a:solidFill>
              </a:defRPr>
            </a:lvl8pPr>
            <a:lvl9pPr marL="4876800" algn="l" defTabSz="609600" rtl="0" eaLnBrk="1" latinLnBrk="0" hangingPunct="1">
              <a:defRPr sz="2400" kern="1200">
                <a:solidFill>
                  <a:schemeClr val="lt1"/>
                </a:solidFill>
              </a:defRPr>
            </a:lvl9pPr>
          </a:lstStyle>
          <a:p>
            <a:pPr algn="ctr" defTabSz="914400"/>
            <a:endParaRPr lang="zh-CN" altLang="en-US" sz="1800" dirty="0">
              <a:latin typeface="思源黑体 CN Normal" panose="020B0400000000000000" pitchFamily="34" charset="-122"/>
              <a:ea typeface="思源黑体 CN Normal" panose="020B0400000000000000" pitchFamily="34" charset="-122"/>
            </a:endParaRPr>
          </a:p>
        </p:txBody>
      </p:sp>
      <p:sp>
        <p:nvSpPr>
          <p:cNvPr id="5" name="îsľíḑe"/>
          <p:cNvSpPr/>
          <p:nvPr/>
        </p:nvSpPr>
        <p:spPr>
          <a:xfrm>
            <a:off x="5004921" y="3900767"/>
            <a:ext cx="2169459" cy="555812"/>
          </a:xfrm>
          <a:prstGeom prst="roundRect">
            <a:avLst>
              <a:gd name="adj" fmla="val 50000"/>
            </a:avLst>
          </a:prstGeom>
          <a:gradFill>
            <a:gsLst>
              <a:gs pos="38000">
                <a:srgbClr val="0870D3"/>
              </a:gs>
              <a:gs pos="100000">
                <a:srgbClr val="4EBCF7"/>
              </a:gs>
            </a:gsLst>
            <a:lin ang="10800000" scaled="0"/>
          </a:gradFill>
          <a:ln>
            <a:noFill/>
          </a:ln>
          <a:effectLst>
            <a:outerShdw blurRad="762000" dist="2540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360000" bIns="45720" numCol="1" spcCol="0" rtlCol="0" fromWordArt="0" anchor="ctr" anchorCtr="0" forceAA="0" compatLnSpc="1">
            <a:noAutofit/>
          </a:bodyPr>
          <a:lstStyle/>
          <a:p>
            <a:pPr algn="r" defTabSz="914400"/>
            <a:r>
              <a:rPr lang="en-US" altLang="zh-CN" sz="1400" b="1" dirty="0">
                <a:latin typeface="思源黑体 CN Normal" panose="020B0400000000000000" pitchFamily="34" charset="-122"/>
                <a:ea typeface="思源黑体 CN Normal" panose="020B0400000000000000" pitchFamily="34" charset="-122"/>
                <a:cs typeface="Open Sans" panose="020B0606030504020204" charset="0"/>
              </a:rPr>
              <a:t>…Text</a:t>
            </a:r>
            <a:endParaRPr lang="id-ID" altLang="zh-CN" sz="1400" b="1" dirty="0">
              <a:latin typeface="思源黑体 CN Normal" panose="020B0400000000000000" pitchFamily="34" charset="-122"/>
              <a:ea typeface="思源黑体 CN Normal" panose="020B0400000000000000" pitchFamily="34" charset="-122"/>
              <a:cs typeface="Open Sans" panose="020B0606030504020204" charset="0"/>
            </a:endParaRPr>
          </a:p>
        </p:txBody>
      </p:sp>
      <p:cxnSp>
        <p:nvCxnSpPr>
          <p:cNvPr id="6" name="直接连接符 5"/>
          <p:cNvCxnSpPr/>
          <p:nvPr/>
        </p:nvCxnSpPr>
        <p:spPr>
          <a:xfrm>
            <a:off x="660400" y="5390030"/>
            <a:ext cx="10858500" cy="0"/>
          </a:xfrm>
          <a:prstGeom prst="line">
            <a:avLst/>
          </a:prstGeom>
          <a:ln w="6350" cap="rnd">
            <a:solidFill>
              <a:schemeClr val="bg1">
                <a:lumMod val="75000"/>
              </a:schemeClr>
            </a:solidFill>
            <a:prstDash val="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îṧḷide"/>
          <p:cNvSpPr/>
          <p:nvPr/>
        </p:nvSpPr>
        <p:spPr>
          <a:xfrm>
            <a:off x="1876668" y="5067301"/>
            <a:ext cx="645459" cy="645459"/>
          </a:xfrm>
          <a:prstGeom prst="ellipse">
            <a:avLst/>
          </a:prstGeom>
          <a:gradFill>
            <a:gsLst>
              <a:gs pos="38000">
                <a:srgbClr val="0870D3"/>
              </a:gs>
              <a:gs pos="100000">
                <a:srgbClr val="4EBCF7"/>
              </a:gs>
            </a:gsLst>
            <a:lin ang="10800000" scaled="0"/>
          </a:gradFill>
          <a:ln>
            <a:noFill/>
          </a:ln>
          <a:effectLst>
            <a:outerShdw blurRad="762000" dist="2540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360000" bIns="45720" numCol="1" spcCol="0" rtlCol="0" fromWordArt="0" anchor="ctr" anchorCtr="0" forceAA="0" compatLnSpc="1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r" defTabSz="914400"/>
            <a:endParaRPr lang="zh-CN" altLang="en-US" sz="1400" b="1" dirty="0">
              <a:latin typeface="思源黑体 CN Normal" panose="020B0400000000000000" pitchFamily="34" charset="-122"/>
              <a:ea typeface="思源黑体 CN Normal" panose="020B0400000000000000" pitchFamily="34" charset="-122"/>
              <a:cs typeface="Open Sans" panose="020B0606030504020204" charset="0"/>
            </a:endParaRPr>
          </a:p>
        </p:txBody>
      </p:sp>
      <p:sp>
        <p:nvSpPr>
          <p:cNvPr id="31" name="îSľïḋé"/>
          <p:cNvSpPr/>
          <p:nvPr/>
        </p:nvSpPr>
        <p:spPr>
          <a:xfrm>
            <a:off x="2046995" y="5273623"/>
            <a:ext cx="304804" cy="232812"/>
          </a:xfrm>
          <a:custGeom>
            <a:avLst/>
            <a:gdLst>
              <a:gd name="connsiteX0" fmla="*/ 485230 w 574281"/>
              <a:gd name="connsiteY0" fmla="*/ 162077 h 438642"/>
              <a:gd name="connsiteX1" fmla="*/ 574281 w 574281"/>
              <a:gd name="connsiteY1" fmla="*/ 282448 h 438642"/>
              <a:gd name="connsiteX2" fmla="*/ 532628 w 574281"/>
              <a:gd name="connsiteY2" fmla="*/ 371292 h 438642"/>
              <a:gd name="connsiteX3" fmla="*/ 545555 w 574281"/>
              <a:gd name="connsiteY3" fmla="*/ 438642 h 438642"/>
              <a:gd name="connsiteX4" fmla="*/ 480921 w 574281"/>
              <a:gd name="connsiteY4" fmla="*/ 404251 h 438642"/>
              <a:gd name="connsiteX5" fmla="*/ 393306 w 574281"/>
              <a:gd name="connsiteY5" fmla="*/ 421446 h 438642"/>
              <a:gd name="connsiteX6" fmla="*/ 266910 w 574281"/>
              <a:gd name="connsiteY6" fmla="*/ 382756 h 438642"/>
              <a:gd name="connsiteX7" fmla="*/ 312872 w 574281"/>
              <a:gd name="connsiteY7" fmla="*/ 377024 h 438642"/>
              <a:gd name="connsiteX8" fmla="*/ 393306 w 574281"/>
              <a:gd name="connsiteY8" fmla="*/ 392787 h 438642"/>
              <a:gd name="connsiteX9" fmla="*/ 505338 w 574281"/>
              <a:gd name="connsiteY9" fmla="*/ 358395 h 438642"/>
              <a:gd name="connsiteX10" fmla="*/ 546991 w 574281"/>
              <a:gd name="connsiteY10" fmla="*/ 282448 h 438642"/>
              <a:gd name="connsiteX11" fmla="*/ 505338 w 574281"/>
              <a:gd name="connsiteY11" fmla="*/ 206500 h 438642"/>
              <a:gd name="connsiteX12" fmla="*/ 489539 w 574281"/>
              <a:gd name="connsiteY12" fmla="*/ 196469 h 438642"/>
              <a:gd name="connsiteX13" fmla="*/ 485230 w 574281"/>
              <a:gd name="connsiteY13" fmla="*/ 162077 h 438642"/>
              <a:gd name="connsiteX14" fmla="*/ 347379 w 574281"/>
              <a:gd name="connsiteY14" fmla="*/ 143322 h 438642"/>
              <a:gd name="connsiteX15" fmla="*/ 312928 w 574281"/>
              <a:gd name="connsiteY15" fmla="*/ 177719 h 438642"/>
              <a:gd name="connsiteX16" fmla="*/ 347379 w 574281"/>
              <a:gd name="connsiteY16" fmla="*/ 212117 h 438642"/>
              <a:gd name="connsiteX17" fmla="*/ 381830 w 574281"/>
              <a:gd name="connsiteY17" fmla="*/ 177719 h 438642"/>
              <a:gd name="connsiteX18" fmla="*/ 347379 w 574281"/>
              <a:gd name="connsiteY18" fmla="*/ 143322 h 438642"/>
              <a:gd name="connsiteX19" fmla="*/ 235414 w 574281"/>
              <a:gd name="connsiteY19" fmla="*/ 143322 h 438642"/>
              <a:gd name="connsiteX20" fmla="*/ 200963 w 574281"/>
              <a:gd name="connsiteY20" fmla="*/ 177719 h 438642"/>
              <a:gd name="connsiteX21" fmla="*/ 235414 w 574281"/>
              <a:gd name="connsiteY21" fmla="*/ 212117 h 438642"/>
              <a:gd name="connsiteX22" fmla="*/ 269865 w 574281"/>
              <a:gd name="connsiteY22" fmla="*/ 177719 h 438642"/>
              <a:gd name="connsiteX23" fmla="*/ 235414 w 574281"/>
              <a:gd name="connsiteY23" fmla="*/ 143322 h 438642"/>
              <a:gd name="connsiteX24" fmla="*/ 124884 w 574281"/>
              <a:gd name="connsiteY24" fmla="*/ 143322 h 438642"/>
              <a:gd name="connsiteX25" fmla="*/ 90433 w 574281"/>
              <a:gd name="connsiteY25" fmla="*/ 177719 h 438642"/>
              <a:gd name="connsiteX26" fmla="*/ 124884 w 574281"/>
              <a:gd name="connsiteY26" fmla="*/ 212117 h 438642"/>
              <a:gd name="connsiteX27" fmla="*/ 159335 w 574281"/>
              <a:gd name="connsiteY27" fmla="*/ 177719 h 438642"/>
              <a:gd name="connsiteX28" fmla="*/ 124884 w 574281"/>
              <a:gd name="connsiteY28" fmla="*/ 143322 h 438642"/>
              <a:gd name="connsiteX29" fmla="*/ 235414 w 574281"/>
              <a:gd name="connsiteY29" fmla="*/ 0 h 438642"/>
              <a:gd name="connsiteX30" fmla="*/ 466522 w 574281"/>
              <a:gd name="connsiteY30" fmla="*/ 143322 h 438642"/>
              <a:gd name="connsiteX31" fmla="*/ 470828 w 574281"/>
              <a:gd name="connsiteY31" fmla="*/ 177719 h 438642"/>
              <a:gd name="connsiteX32" fmla="*/ 470828 w 574281"/>
              <a:gd name="connsiteY32" fmla="*/ 182019 h 438642"/>
              <a:gd name="connsiteX33" fmla="*/ 294268 w 574281"/>
              <a:gd name="connsiteY33" fmla="*/ 358305 h 438642"/>
              <a:gd name="connsiteX34" fmla="*/ 248333 w 574281"/>
              <a:gd name="connsiteY34" fmla="*/ 362605 h 438642"/>
              <a:gd name="connsiteX35" fmla="*/ 235414 w 574281"/>
              <a:gd name="connsiteY35" fmla="*/ 364038 h 438642"/>
              <a:gd name="connsiteX36" fmla="*/ 122013 w 574281"/>
              <a:gd name="connsiteY36" fmla="*/ 341106 h 438642"/>
              <a:gd name="connsiteX37" fmla="*/ 35886 w 574281"/>
              <a:gd name="connsiteY37" fmla="*/ 385536 h 438642"/>
              <a:gd name="connsiteX38" fmla="*/ 53112 w 574281"/>
              <a:gd name="connsiteY38" fmla="*/ 298110 h 438642"/>
              <a:gd name="connsiteX39" fmla="*/ 0 w 574281"/>
              <a:gd name="connsiteY39" fmla="*/ 182019 h 438642"/>
              <a:gd name="connsiteX40" fmla="*/ 235414 w 574281"/>
              <a:gd name="connsiteY40" fmla="*/ 0 h 4386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574281" h="438642">
                <a:moveTo>
                  <a:pt x="485230" y="162077"/>
                </a:moveTo>
                <a:cubicBezTo>
                  <a:pt x="538373" y="186438"/>
                  <a:pt x="574281" y="230860"/>
                  <a:pt x="574281" y="282448"/>
                </a:cubicBezTo>
                <a:cubicBezTo>
                  <a:pt x="574281" y="315406"/>
                  <a:pt x="558482" y="346932"/>
                  <a:pt x="532628" y="371292"/>
                </a:cubicBezTo>
                <a:lnTo>
                  <a:pt x="545555" y="438642"/>
                </a:lnTo>
                <a:lnTo>
                  <a:pt x="480921" y="404251"/>
                </a:lnTo>
                <a:cubicBezTo>
                  <a:pt x="455067" y="415715"/>
                  <a:pt x="424905" y="421446"/>
                  <a:pt x="393306" y="421446"/>
                </a:cubicBezTo>
                <a:cubicBezTo>
                  <a:pt x="344471" y="421446"/>
                  <a:pt x="299945" y="407117"/>
                  <a:pt x="266910" y="382756"/>
                </a:cubicBezTo>
                <a:cubicBezTo>
                  <a:pt x="282710" y="381323"/>
                  <a:pt x="298509" y="379890"/>
                  <a:pt x="312872" y="377024"/>
                </a:cubicBezTo>
                <a:cubicBezTo>
                  <a:pt x="337289" y="387055"/>
                  <a:pt x="364579" y="392787"/>
                  <a:pt x="393306" y="392787"/>
                </a:cubicBezTo>
                <a:cubicBezTo>
                  <a:pt x="436395" y="392787"/>
                  <a:pt x="475175" y="379890"/>
                  <a:pt x="505338" y="358395"/>
                </a:cubicBezTo>
                <a:cubicBezTo>
                  <a:pt x="532628" y="336901"/>
                  <a:pt x="546991" y="309674"/>
                  <a:pt x="546991" y="282448"/>
                </a:cubicBezTo>
                <a:cubicBezTo>
                  <a:pt x="546991" y="255221"/>
                  <a:pt x="532628" y="227994"/>
                  <a:pt x="505338" y="206500"/>
                </a:cubicBezTo>
                <a:cubicBezTo>
                  <a:pt x="501029" y="203634"/>
                  <a:pt x="495284" y="199335"/>
                  <a:pt x="489539" y="196469"/>
                </a:cubicBezTo>
                <a:cubicBezTo>
                  <a:pt x="489539" y="185005"/>
                  <a:pt x="488102" y="173541"/>
                  <a:pt x="485230" y="162077"/>
                </a:cubicBezTo>
                <a:close/>
                <a:moveTo>
                  <a:pt x="347379" y="143322"/>
                </a:moveTo>
                <a:cubicBezTo>
                  <a:pt x="327283" y="143322"/>
                  <a:pt x="312928" y="159088"/>
                  <a:pt x="312928" y="177719"/>
                </a:cubicBezTo>
                <a:cubicBezTo>
                  <a:pt x="312928" y="196351"/>
                  <a:pt x="327283" y="212117"/>
                  <a:pt x="347379" y="212117"/>
                </a:cubicBezTo>
                <a:cubicBezTo>
                  <a:pt x="366040" y="212117"/>
                  <a:pt x="381830" y="196351"/>
                  <a:pt x="381830" y="177719"/>
                </a:cubicBezTo>
                <a:cubicBezTo>
                  <a:pt x="381830" y="159088"/>
                  <a:pt x="366040" y="143322"/>
                  <a:pt x="347379" y="143322"/>
                </a:cubicBezTo>
                <a:close/>
                <a:moveTo>
                  <a:pt x="235414" y="143322"/>
                </a:moveTo>
                <a:cubicBezTo>
                  <a:pt x="216753" y="143322"/>
                  <a:pt x="200963" y="159088"/>
                  <a:pt x="200963" y="177719"/>
                </a:cubicBezTo>
                <a:cubicBezTo>
                  <a:pt x="200963" y="196351"/>
                  <a:pt x="216753" y="212117"/>
                  <a:pt x="235414" y="212117"/>
                </a:cubicBezTo>
                <a:cubicBezTo>
                  <a:pt x="254075" y="212117"/>
                  <a:pt x="269865" y="196351"/>
                  <a:pt x="269865" y="177719"/>
                </a:cubicBezTo>
                <a:cubicBezTo>
                  <a:pt x="269865" y="159088"/>
                  <a:pt x="254075" y="143322"/>
                  <a:pt x="235414" y="143322"/>
                </a:cubicBezTo>
                <a:close/>
                <a:moveTo>
                  <a:pt x="124884" y="143322"/>
                </a:moveTo>
                <a:cubicBezTo>
                  <a:pt x="106223" y="143322"/>
                  <a:pt x="90433" y="159088"/>
                  <a:pt x="90433" y="177719"/>
                </a:cubicBezTo>
                <a:cubicBezTo>
                  <a:pt x="90433" y="196351"/>
                  <a:pt x="106223" y="212117"/>
                  <a:pt x="124884" y="212117"/>
                </a:cubicBezTo>
                <a:cubicBezTo>
                  <a:pt x="143545" y="212117"/>
                  <a:pt x="159335" y="196351"/>
                  <a:pt x="159335" y="177719"/>
                </a:cubicBezTo>
                <a:cubicBezTo>
                  <a:pt x="159335" y="159088"/>
                  <a:pt x="143545" y="143322"/>
                  <a:pt x="124884" y="143322"/>
                </a:cubicBezTo>
                <a:close/>
                <a:moveTo>
                  <a:pt x="235414" y="0"/>
                </a:moveTo>
                <a:cubicBezTo>
                  <a:pt x="348815" y="0"/>
                  <a:pt x="443555" y="61629"/>
                  <a:pt x="466522" y="143322"/>
                </a:cubicBezTo>
                <a:cubicBezTo>
                  <a:pt x="469393" y="154788"/>
                  <a:pt x="470828" y="166254"/>
                  <a:pt x="470828" y="177719"/>
                </a:cubicBezTo>
                <a:cubicBezTo>
                  <a:pt x="470828" y="179153"/>
                  <a:pt x="470828" y="180586"/>
                  <a:pt x="470828" y="182019"/>
                </a:cubicBezTo>
                <a:cubicBezTo>
                  <a:pt x="470828" y="266579"/>
                  <a:pt x="396185" y="338240"/>
                  <a:pt x="294268" y="358305"/>
                </a:cubicBezTo>
                <a:cubicBezTo>
                  <a:pt x="279913" y="361172"/>
                  <a:pt x="264123" y="362605"/>
                  <a:pt x="248333" y="362605"/>
                </a:cubicBezTo>
                <a:cubicBezTo>
                  <a:pt x="244027" y="364038"/>
                  <a:pt x="239720" y="364038"/>
                  <a:pt x="235414" y="364038"/>
                </a:cubicBezTo>
                <a:cubicBezTo>
                  <a:pt x="195221" y="364038"/>
                  <a:pt x="156464" y="355439"/>
                  <a:pt x="122013" y="341106"/>
                </a:cubicBezTo>
                <a:lnTo>
                  <a:pt x="35886" y="385536"/>
                </a:lnTo>
                <a:lnTo>
                  <a:pt x="53112" y="298110"/>
                </a:lnTo>
                <a:cubicBezTo>
                  <a:pt x="20096" y="266579"/>
                  <a:pt x="0" y="226449"/>
                  <a:pt x="0" y="182019"/>
                </a:cubicBezTo>
                <a:cubicBezTo>
                  <a:pt x="0" y="81694"/>
                  <a:pt x="106223" y="0"/>
                  <a:pt x="23541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762000" dist="2540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360000" bIns="45720" numCol="1" spcCol="0" rtlCol="0" fromWordArt="0" anchor="ctr" anchorCtr="0" forceAA="0" compatLnSpc="1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r" defTabSz="914400"/>
            <a:endParaRPr lang="zh-CN" altLang="en-US" sz="1400" b="1" dirty="0">
              <a:latin typeface="思源黑体 CN Normal" panose="020B0400000000000000" pitchFamily="34" charset="-122"/>
              <a:ea typeface="思源黑体 CN Normal" panose="020B0400000000000000" pitchFamily="34" charset="-122"/>
              <a:cs typeface="Open Sans" panose="020B0606030504020204" charset="0"/>
            </a:endParaRPr>
          </a:p>
        </p:txBody>
      </p:sp>
      <p:sp>
        <p:nvSpPr>
          <p:cNvPr id="29" name="íṧ1ïďè"/>
          <p:cNvSpPr/>
          <p:nvPr/>
        </p:nvSpPr>
        <p:spPr bwMode="auto">
          <a:xfrm>
            <a:off x="1418534" y="5820336"/>
            <a:ext cx="1561726" cy="4303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 fontScale="850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altLang="zh-CN" sz="1200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Supporting text here.</a:t>
            </a:r>
          </a:p>
        </p:txBody>
      </p:sp>
      <p:sp>
        <p:nvSpPr>
          <p:cNvPr id="26" name="íṣļïḋê"/>
          <p:cNvSpPr/>
          <p:nvPr/>
        </p:nvSpPr>
        <p:spPr>
          <a:xfrm>
            <a:off x="3821795" y="5067301"/>
            <a:ext cx="645459" cy="645459"/>
          </a:xfrm>
          <a:prstGeom prst="ellipse">
            <a:avLst/>
          </a:prstGeom>
          <a:gradFill>
            <a:gsLst>
              <a:gs pos="38000">
                <a:srgbClr val="0870D3"/>
              </a:gs>
              <a:gs pos="100000">
                <a:srgbClr val="4EBCF7"/>
              </a:gs>
            </a:gsLst>
            <a:lin ang="10800000" scaled="0"/>
          </a:gradFill>
          <a:ln>
            <a:noFill/>
          </a:ln>
          <a:effectLst>
            <a:outerShdw blurRad="762000" dist="2540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360000" bIns="45720" numCol="1" spcCol="0" rtlCol="0" fromWordArt="0" anchor="ctr" anchorCtr="0" forceAA="0" compatLnSpc="1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r" defTabSz="914400"/>
            <a:endParaRPr lang="zh-CN" altLang="en-US" sz="1400" b="1" dirty="0">
              <a:latin typeface="思源黑体 CN Normal" panose="020B0400000000000000" pitchFamily="34" charset="-122"/>
              <a:ea typeface="思源黑体 CN Normal" panose="020B0400000000000000" pitchFamily="34" charset="-122"/>
              <a:cs typeface="Open Sans" panose="020B0606030504020204" charset="0"/>
            </a:endParaRPr>
          </a:p>
        </p:txBody>
      </p:sp>
      <p:sp>
        <p:nvSpPr>
          <p:cNvPr id="27" name="í$liḑè"/>
          <p:cNvSpPr/>
          <p:nvPr/>
        </p:nvSpPr>
        <p:spPr>
          <a:xfrm>
            <a:off x="3992121" y="5261716"/>
            <a:ext cx="304804" cy="256627"/>
          </a:xfrm>
          <a:custGeom>
            <a:avLst/>
            <a:gdLst>
              <a:gd name="connsiteX0" fmla="*/ 54158 w 604539"/>
              <a:gd name="connsiteY0" fmla="*/ 287695 h 508988"/>
              <a:gd name="connsiteX1" fmla="*/ 242194 w 604539"/>
              <a:gd name="connsiteY1" fmla="*/ 287695 h 508988"/>
              <a:gd name="connsiteX2" fmla="*/ 264990 w 604539"/>
              <a:gd name="connsiteY2" fmla="*/ 306729 h 508988"/>
              <a:gd name="connsiteX3" fmla="*/ 295264 w 604539"/>
              <a:gd name="connsiteY3" fmla="*/ 478149 h 508988"/>
              <a:gd name="connsiteX4" fmla="*/ 296591 w 604539"/>
              <a:gd name="connsiteY4" fmla="*/ 485739 h 508988"/>
              <a:gd name="connsiteX5" fmla="*/ 273433 w 604539"/>
              <a:gd name="connsiteY5" fmla="*/ 508988 h 508988"/>
              <a:gd name="connsiteX6" fmla="*/ 273071 w 604539"/>
              <a:gd name="connsiteY6" fmla="*/ 508988 h 508988"/>
              <a:gd name="connsiteX7" fmla="*/ 23160 w 604539"/>
              <a:gd name="connsiteY7" fmla="*/ 508988 h 508988"/>
              <a:gd name="connsiteX8" fmla="*/ 5430 w 604539"/>
              <a:gd name="connsiteY8" fmla="*/ 500676 h 508988"/>
              <a:gd name="connsiteX9" fmla="*/ 364 w 604539"/>
              <a:gd name="connsiteY9" fmla="*/ 481763 h 508988"/>
              <a:gd name="connsiteX10" fmla="*/ 31241 w 604539"/>
              <a:gd name="connsiteY10" fmla="*/ 306729 h 508988"/>
              <a:gd name="connsiteX11" fmla="*/ 54158 w 604539"/>
              <a:gd name="connsiteY11" fmla="*/ 287695 h 508988"/>
              <a:gd name="connsiteX12" fmla="*/ 362106 w 604539"/>
              <a:gd name="connsiteY12" fmla="*/ 287554 h 508988"/>
              <a:gd name="connsiteX13" fmla="*/ 550142 w 604539"/>
              <a:gd name="connsiteY13" fmla="*/ 287554 h 508988"/>
              <a:gd name="connsiteX14" fmla="*/ 572938 w 604539"/>
              <a:gd name="connsiteY14" fmla="*/ 306710 h 508988"/>
              <a:gd name="connsiteX15" fmla="*/ 603212 w 604539"/>
              <a:gd name="connsiteY15" fmla="*/ 478147 h 508988"/>
              <a:gd name="connsiteX16" fmla="*/ 604539 w 604539"/>
              <a:gd name="connsiteY16" fmla="*/ 485736 h 508988"/>
              <a:gd name="connsiteX17" fmla="*/ 581381 w 604539"/>
              <a:gd name="connsiteY17" fmla="*/ 508988 h 508988"/>
              <a:gd name="connsiteX18" fmla="*/ 581019 w 604539"/>
              <a:gd name="connsiteY18" fmla="*/ 508988 h 508988"/>
              <a:gd name="connsiteX19" fmla="*/ 331108 w 604539"/>
              <a:gd name="connsiteY19" fmla="*/ 508988 h 508988"/>
              <a:gd name="connsiteX20" fmla="*/ 313378 w 604539"/>
              <a:gd name="connsiteY20" fmla="*/ 500675 h 508988"/>
              <a:gd name="connsiteX21" fmla="*/ 308312 w 604539"/>
              <a:gd name="connsiteY21" fmla="*/ 481761 h 508988"/>
              <a:gd name="connsiteX22" fmla="*/ 339189 w 604539"/>
              <a:gd name="connsiteY22" fmla="*/ 306710 h 508988"/>
              <a:gd name="connsiteX23" fmla="*/ 362106 w 604539"/>
              <a:gd name="connsiteY23" fmla="*/ 287554 h 508988"/>
              <a:gd name="connsiteX24" fmla="*/ 208081 w 604539"/>
              <a:gd name="connsiteY24" fmla="*/ 54053 h 508988"/>
              <a:gd name="connsiteX25" fmla="*/ 396118 w 604539"/>
              <a:gd name="connsiteY25" fmla="*/ 54053 h 508988"/>
              <a:gd name="connsiteX26" fmla="*/ 419034 w 604539"/>
              <a:gd name="connsiteY26" fmla="*/ 73201 h 508988"/>
              <a:gd name="connsiteX27" fmla="*/ 449308 w 604539"/>
              <a:gd name="connsiteY27" fmla="*/ 244446 h 508988"/>
              <a:gd name="connsiteX28" fmla="*/ 450635 w 604539"/>
              <a:gd name="connsiteY28" fmla="*/ 252154 h 508988"/>
              <a:gd name="connsiteX29" fmla="*/ 427357 w 604539"/>
              <a:gd name="connsiteY29" fmla="*/ 275275 h 508988"/>
              <a:gd name="connsiteX30" fmla="*/ 427115 w 604539"/>
              <a:gd name="connsiteY30" fmla="*/ 275275 h 508988"/>
              <a:gd name="connsiteX31" fmla="*/ 177204 w 604539"/>
              <a:gd name="connsiteY31" fmla="*/ 275275 h 508988"/>
              <a:gd name="connsiteX32" fmla="*/ 159353 w 604539"/>
              <a:gd name="connsiteY32" fmla="*/ 266966 h 508988"/>
              <a:gd name="connsiteX33" fmla="*/ 154288 w 604539"/>
              <a:gd name="connsiteY33" fmla="*/ 248059 h 508988"/>
              <a:gd name="connsiteX34" fmla="*/ 185285 w 604539"/>
              <a:gd name="connsiteY34" fmla="*/ 73201 h 508988"/>
              <a:gd name="connsiteX35" fmla="*/ 208081 w 604539"/>
              <a:gd name="connsiteY35" fmla="*/ 54053 h 508988"/>
              <a:gd name="connsiteX36" fmla="*/ 518273 w 604539"/>
              <a:gd name="connsiteY36" fmla="*/ 0 h 508988"/>
              <a:gd name="connsiteX37" fmla="*/ 541548 w 604539"/>
              <a:gd name="connsiteY37" fmla="*/ 23244 h 508988"/>
              <a:gd name="connsiteX38" fmla="*/ 541548 w 604539"/>
              <a:gd name="connsiteY38" fmla="*/ 54075 h 508988"/>
              <a:gd name="connsiteX39" fmla="*/ 572422 w 604539"/>
              <a:gd name="connsiteY39" fmla="*/ 54075 h 508988"/>
              <a:gd name="connsiteX40" fmla="*/ 595577 w 604539"/>
              <a:gd name="connsiteY40" fmla="*/ 77199 h 508988"/>
              <a:gd name="connsiteX41" fmla="*/ 572422 w 604539"/>
              <a:gd name="connsiteY41" fmla="*/ 100322 h 508988"/>
              <a:gd name="connsiteX42" fmla="*/ 541548 w 604539"/>
              <a:gd name="connsiteY42" fmla="*/ 100322 h 508988"/>
              <a:gd name="connsiteX43" fmla="*/ 541548 w 604539"/>
              <a:gd name="connsiteY43" fmla="*/ 131274 h 508988"/>
              <a:gd name="connsiteX44" fmla="*/ 518273 w 604539"/>
              <a:gd name="connsiteY44" fmla="*/ 154397 h 508988"/>
              <a:gd name="connsiteX45" fmla="*/ 495117 w 604539"/>
              <a:gd name="connsiteY45" fmla="*/ 131274 h 508988"/>
              <a:gd name="connsiteX46" fmla="*/ 495117 w 604539"/>
              <a:gd name="connsiteY46" fmla="*/ 100322 h 508988"/>
              <a:gd name="connsiteX47" fmla="*/ 464244 w 604539"/>
              <a:gd name="connsiteY47" fmla="*/ 100322 h 508988"/>
              <a:gd name="connsiteX48" fmla="*/ 440968 w 604539"/>
              <a:gd name="connsiteY48" fmla="*/ 77199 h 508988"/>
              <a:gd name="connsiteX49" fmla="*/ 464244 w 604539"/>
              <a:gd name="connsiteY49" fmla="*/ 54075 h 508988"/>
              <a:gd name="connsiteX50" fmla="*/ 495117 w 604539"/>
              <a:gd name="connsiteY50" fmla="*/ 54075 h 508988"/>
              <a:gd name="connsiteX51" fmla="*/ 495117 w 604539"/>
              <a:gd name="connsiteY51" fmla="*/ 23244 h 508988"/>
              <a:gd name="connsiteX52" fmla="*/ 518273 w 604539"/>
              <a:gd name="connsiteY52" fmla="*/ 0 h 5089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</a:cxnLst>
            <a:rect l="l" t="t" r="r" b="b"/>
            <a:pathLst>
              <a:path w="604539" h="508988">
                <a:moveTo>
                  <a:pt x="54158" y="287695"/>
                </a:moveTo>
                <a:lnTo>
                  <a:pt x="242194" y="287695"/>
                </a:lnTo>
                <a:cubicBezTo>
                  <a:pt x="253411" y="287695"/>
                  <a:pt x="263060" y="295766"/>
                  <a:pt x="264990" y="306729"/>
                </a:cubicBezTo>
                <a:lnTo>
                  <a:pt x="295264" y="478149"/>
                </a:lnTo>
                <a:cubicBezTo>
                  <a:pt x="296109" y="480559"/>
                  <a:pt x="296591" y="483088"/>
                  <a:pt x="296591" y="485739"/>
                </a:cubicBezTo>
                <a:cubicBezTo>
                  <a:pt x="296591" y="498628"/>
                  <a:pt x="286218" y="508988"/>
                  <a:pt x="273433" y="508988"/>
                </a:cubicBezTo>
                <a:lnTo>
                  <a:pt x="273071" y="508988"/>
                </a:lnTo>
                <a:lnTo>
                  <a:pt x="23160" y="508988"/>
                </a:lnTo>
                <a:cubicBezTo>
                  <a:pt x="16285" y="508988"/>
                  <a:pt x="9772" y="505977"/>
                  <a:pt x="5430" y="500676"/>
                </a:cubicBezTo>
                <a:cubicBezTo>
                  <a:pt x="967" y="495496"/>
                  <a:pt x="-842" y="488509"/>
                  <a:pt x="364" y="481763"/>
                </a:cubicBezTo>
                <a:lnTo>
                  <a:pt x="31241" y="306729"/>
                </a:lnTo>
                <a:cubicBezTo>
                  <a:pt x="33171" y="295766"/>
                  <a:pt x="42820" y="287695"/>
                  <a:pt x="54158" y="287695"/>
                </a:cubicBezTo>
                <a:close/>
                <a:moveTo>
                  <a:pt x="362106" y="287554"/>
                </a:moveTo>
                <a:lnTo>
                  <a:pt x="550142" y="287554"/>
                </a:lnTo>
                <a:cubicBezTo>
                  <a:pt x="561359" y="287554"/>
                  <a:pt x="571008" y="295747"/>
                  <a:pt x="572938" y="306710"/>
                </a:cubicBezTo>
                <a:lnTo>
                  <a:pt x="603212" y="478147"/>
                </a:lnTo>
                <a:cubicBezTo>
                  <a:pt x="604057" y="480556"/>
                  <a:pt x="604539" y="483086"/>
                  <a:pt x="604539" y="485736"/>
                </a:cubicBezTo>
                <a:cubicBezTo>
                  <a:pt x="604539" y="498627"/>
                  <a:pt x="594166" y="508988"/>
                  <a:pt x="581381" y="508988"/>
                </a:cubicBezTo>
                <a:lnTo>
                  <a:pt x="581019" y="508988"/>
                </a:lnTo>
                <a:lnTo>
                  <a:pt x="331108" y="508988"/>
                </a:lnTo>
                <a:cubicBezTo>
                  <a:pt x="324233" y="508988"/>
                  <a:pt x="317720" y="505976"/>
                  <a:pt x="313378" y="500675"/>
                </a:cubicBezTo>
                <a:cubicBezTo>
                  <a:pt x="308915" y="495495"/>
                  <a:pt x="307106" y="488507"/>
                  <a:pt x="308312" y="481761"/>
                </a:cubicBezTo>
                <a:lnTo>
                  <a:pt x="339189" y="306710"/>
                </a:lnTo>
                <a:cubicBezTo>
                  <a:pt x="341119" y="295747"/>
                  <a:pt x="350768" y="287554"/>
                  <a:pt x="362106" y="287554"/>
                </a:cubicBezTo>
                <a:close/>
                <a:moveTo>
                  <a:pt x="208081" y="54053"/>
                </a:moveTo>
                <a:lnTo>
                  <a:pt x="396118" y="54053"/>
                </a:lnTo>
                <a:cubicBezTo>
                  <a:pt x="407455" y="54053"/>
                  <a:pt x="417104" y="62122"/>
                  <a:pt x="419034" y="73201"/>
                </a:cubicBezTo>
                <a:lnTo>
                  <a:pt x="449308" y="244446"/>
                </a:lnTo>
                <a:cubicBezTo>
                  <a:pt x="450153" y="246855"/>
                  <a:pt x="450635" y="249504"/>
                  <a:pt x="450635" y="252154"/>
                </a:cubicBezTo>
                <a:cubicBezTo>
                  <a:pt x="450635" y="264919"/>
                  <a:pt x="440262" y="275275"/>
                  <a:pt x="427357" y="275275"/>
                </a:cubicBezTo>
                <a:lnTo>
                  <a:pt x="427115" y="275275"/>
                </a:lnTo>
                <a:lnTo>
                  <a:pt x="177204" y="275275"/>
                </a:lnTo>
                <a:cubicBezTo>
                  <a:pt x="170329" y="275275"/>
                  <a:pt x="163816" y="272265"/>
                  <a:pt x="159353" y="266966"/>
                </a:cubicBezTo>
                <a:cubicBezTo>
                  <a:pt x="155011" y="261788"/>
                  <a:pt x="153202" y="254803"/>
                  <a:pt x="154288" y="248059"/>
                </a:cubicBezTo>
                <a:lnTo>
                  <a:pt x="185285" y="73201"/>
                </a:lnTo>
                <a:cubicBezTo>
                  <a:pt x="187215" y="62122"/>
                  <a:pt x="196864" y="54053"/>
                  <a:pt x="208081" y="54053"/>
                </a:cubicBezTo>
                <a:close/>
                <a:moveTo>
                  <a:pt x="518273" y="0"/>
                </a:moveTo>
                <a:cubicBezTo>
                  <a:pt x="531177" y="0"/>
                  <a:pt x="541548" y="10358"/>
                  <a:pt x="541548" y="23244"/>
                </a:cubicBezTo>
                <a:lnTo>
                  <a:pt x="541548" y="54075"/>
                </a:lnTo>
                <a:lnTo>
                  <a:pt x="572422" y="54075"/>
                </a:lnTo>
                <a:cubicBezTo>
                  <a:pt x="585205" y="54075"/>
                  <a:pt x="595577" y="64433"/>
                  <a:pt x="595577" y="77199"/>
                </a:cubicBezTo>
                <a:cubicBezTo>
                  <a:pt x="595577" y="89965"/>
                  <a:pt x="585205" y="100322"/>
                  <a:pt x="572422" y="100322"/>
                </a:cubicBezTo>
                <a:lnTo>
                  <a:pt x="541548" y="100322"/>
                </a:lnTo>
                <a:lnTo>
                  <a:pt x="541548" y="131274"/>
                </a:lnTo>
                <a:cubicBezTo>
                  <a:pt x="541548" y="144040"/>
                  <a:pt x="531177" y="154397"/>
                  <a:pt x="518273" y="154397"/>
                </a:cubicBezTo>
                <a:cubicBezTo>
                  <a:pt x="505489" y="154397"/>
                  <a:pt x="495117" y="144040"/>
                  <a:pt x="495117" y="131274"/>
                </a:cubicBezTo>
                <a:lnTo>
                  <a:pt x="495117" y="100322"/>
                </a:lnTo>
                <a:lnTo>
                  <a:pt x="464244" y="100322"/>
                </a:lnTo>
                <a:cubicBezTo>
                  <a:pt x="451340" y="100322"/>
                  <a:pt x="440968" y="89965"/>
                  <a:pt x="440968" y="77199"/>
                </a:cubicBezTo>
                <a:cubicBezTo>
                  <a:pt x="440968" y="64433"/>
                  <a:pt x="451340" y="54075"/>
                  <a:pt x="464244" y="54075"/>
                </a:cubicBezTo>
                <a:lnTo>
                  <a:pt x="495117" y="54075"/>
                </a:lnTo>
                <a:lnTo>
                  <a:pt x="495117" y="23244"/>
                </a:lnTo>
                <a:cubicBezTo>
                  <a:pt x="495117" y="10358"/>
                  <a:pt x="505489" y="0"/>
                  <a:pt x="51827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762000" dist="2540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360000" bIns="45720" numCol="1" spcCol="0" rtlCol="0" fromWordArt="0" anchor="ctr" anchorCtr="0" forceAA="0" compatLnSpc="1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r" defTabSz="914400"/>
            <a:endParaRPr lang="zh-CN" altLang="en-US" sz="1400" b="1" dirty="0">
              <a:latin typeface="思源黑体 CN Normal" panose="020B0400000000000000" pitchFamily="34" charset="-122"/>
              <a:ea typeface="思源黑体 CN Normal" panose="020B0400000000000000" pitchFamily="34" charset="-122"/>
              <a:cs typeface="Open Sans" panose="020B0606030504020204" charset="0"/>
            </a:endParaRPr>
          </a:p>
        </p:txBody>
      </p:sp>
      <p:sp>
        <p:nvSpPr>
          <p:cNvPr id="25" name="íS1îḋé"/>
          <p:cNvSpPr/>
          <p:nvPr/>
        </p:nvSpPr>
        <p:spPr bwMode="auto">
          <a:xfrm>
            <a:off x="3363661" y="5820336"/>
            <a:ext cx="1561726" cy="4303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 fontScale="850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altLang="zh-CN" sz="1200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Supporting text here.</a:t>
            </a:r>
          </a:p>
        </p:txBody>
      </p:sp>
      <p:sp>
        <p:nvSpPr>
          <p:cNvPr id="22" name="ïŝḻîḍè"/>
          <p:cNvSpPr/>
          <p:nvPr/>
        </p:nvSpPr>
        <p:spPr>
          <a:xfrm>
            <a:off x="5766922" y="5067301"/>
            <a:ext cx="645459" cy="645459"/>
          </a:xfrm>
          <a:prstGeom prst="ellipse">
            <a:avLst/>
          </a:prstGeom>
          <a:gradFill>
            <a:gsLst>
              <a:gs pos="38000">
                <a:srgbClr val="0870D3"/>
              </a:gs>
              <a:gs pos="100000">
                <a:srgbClr val="4EBCF7"/>
              </a:gs>
            </a:gsLst>
            <a:lin ang="10800000" scaled="0"/>
          </a:gradFill>
          <a:ln>
            <a:noFill/>
          </a:ln>
          <a:effectLst>
            <a:outerShdw blurRad="762000" dist="2540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360000" bIns="45720" numCol="1" spcCol="0" rtlCol="0" fromWordArt="0" anchor="ctr" anchorCtr="0" forceAA="0" compatLnSpc="1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r" defTabSz="914400"/>
            <a:endParaRPr lang="zh-CN" altLang="en-US" sz="1400" b="1" dirty="0">
              <a:latin typeface="思源黑体 CN Normal" panose="020B0400000000000000" pitchFamily="34" charset="-122"/>
              <a:ea typeface="思源黑体 CN Normal" panose="020B0400000000000000" pitchFamily="34" charset="-122"/>
              <a:cs typeface="Open Sans" panose="020B0606030504020204" charset="0"/>
            </a:endParaRPr>
          </a:p>
        </p:txBody>
      </p:sp>
      <p:sp>
        <p:nvSpPr>
          <p:cNvPr id="23" name="ïsḻiḋê"/>
          <p:cNvSpPr/>
          <p:nvPr/>
        </p:nvSpPr>
        <p:spPr>
          <a:xfrm>
            <a:off x="5937249" y="5267203"/>
            <a:ext cx="304804" cy="245653"/>
          </a:xfrm>
          <a:custGeom>
            <a:avLst/>
            <a:gdLst>
              <a:gd name="connsiteX0" fmla="*/ 50882 w 608344"/>
              <a:gd name="connsiteY0" fmla="*/ 115887 h 490289"/>
              <a:gd name="connsiteX1" fmla="*/ 50882 w 608344"/>
              <a:gd name="connsiteY1" fmla="*/ 201112 h 490289"/>
              <a:gd name="connsiteX2" fmla="*/ 438489 w 608344"/>
              <a:gd name="connsiteY2" fmla="*/ 201112 h 490289"/>
              <a:gd name="connsiteX3" fmla="*/ 438489 w 608344"/>
              <a:gd name="connsiteY3" fmla="*/ 162825 h 490289"/>
              <a:gd name="connsiteX4" fmla="*/ 219567 w 608344"/>
              <a:gd name="connsiteY4" fmla="*/ 162825 h 490289"/>
              <a:gd name="connsiteX5" fmla="*/ 174400 w 608344"/>
              <a:gd name="connsiteY5" fmla="*/ 135399 h 490289"/>
              <a:gd name="connsiteX6" fmla="*/ 165459 w 608344"/>
              <a:gd name="connsiteY6" fmla="*/ 118372 h 490289"/>
              <a:gd name="connsiteX7" fmla="*/ 164260 w 608344"/>
              <a:gd name="connsiteY7" fmla="*/ 115887 h 490289"/>
              <a:gd name="connsiteX8" fmla="*/ 50697 w 608344"/>
              <a:gd name="connsiteY8" fmla="*/ 64991 h 490289"/>
              <a:gd name="connsiteX9" fmla="*/ 164445 w 608344"/>
              <a:gd name="connsiteY9" fmla="*/ 64991 h 490289"/>
              <a:gd name="connsiteX10" fmla="*/ 210718 w 608344"/>
              <a:gd name="connsiteY10" fmla="*/ 94995 h 490289"/>
              <a:gd name="connsiteX11" fmla="*/ 219567 w 608344"/>
              <a:gd name="connsiteY11" fmla="*/ 112022 h 490289"/>
              <a:gd name="connsiteX12" fmla="*/ 438674 w 608344"/>
              <a:gd name="connsiteY12" fmla="*/ 112022 h 490289"/>
              <a:gd name="connsiteX13" fmla="*/ 489371 w 608344"/>
              <a:gd name="connsiteY13" fmla="*/ 162641 h 490289"/>
              <a:gd name="connsiteX14" fmla="*/ 489371 w 608344"/>
              <a:gd name="connsiteY14" fmla="*/ 445560 h 490289"/>
              <a:gd name="connsiteX15" fmla="*/ 444665 w 608344"/>
              <a:gd name="connsiteY15" fmla="*/ 490289 h 490289"/>
              <a:gd name="connsiteX16" fmla="*/ 44798 w 608344"/>
              <a:gd name="connsiteY16" fmla="*/ 490289 h 490289"/>
              <a:gd name="connsiteX17" fmla="*/ 0 w 608344"/>
              <a:gd name="connsiteY17" fmla="*/ 445560 h 490289"/>
              <a:gd name="connsiteX18" fmla="*/ 0 w 608344"/>
              <a:gd name="connsiteY18" fmla="*/ 115611 h 490289"/>
              <a:gd name="connsiteX19" fmla="*/ 50697 w 608344"/>
              <a:gd name="connsiteY19" fmla="*/ 64991 h 490289"/>
              <a:gd name="connsiteX20" fmla="*/ 261904 w 608344"/>
              <a:gd name="connsiteY20" fmla="*/ 0 h 490289"/>
              <a:gd name="connsiteX21" fmla="*/ 519660 w 608344"/>
              <a:gd name="connsiteY21" fmla="*/ 0 h 490289"/>
              <a:gd name="connsiteX22" fmla="*/ 608344 w 608344"/>
              <a:gd name="connsiteY22" fmla="*/ 88635 h 490289"/>
              <a:gd name="connsiteX23" fmla="*/ 608344 w 608344"/>
              <a:gd name="connsiteY23" fmla="*/ 335764 h 490289"/>
              <a:gd name="connsiteX24" fmla="*/ 578107 w 608344"/>
              <a:gd name="connsiteY24" fmla="*/ 365953 h 490289"/>
              <a:gd name="connsiteX25" fmla="*/ 547961 w 608344"/>
              <a:gd name="connsiteY25" fmla="*/ 335764 h 490289"/>
              <a:gd name="connsiteX26" fmla="*/ 547961 w 608344"/>
              <a:gd name="connsiteY26" fmla="*/ 88635 h 490289"/>
              <a:gd name="connsiteX27" fmla="*/ 519660 w 608344"/>
              <a:gd name="connsiteY27" fmla="*/ 60379 h 490289"/>
              <a:gd name="connsiteX28" fmla="*/ 261904 w 608344"/>
              <a:gd name="connsiteY28" fmla="*/ 60379 h 490289"/>
              <a:gd name="connsiteX29" fmla="*/ 231666 w 608344"/>
              <a:gd name="connsiteY29" fmla="*/ 30190 h 490289"/>
              <a:gd name="connsiteX30" fmla="*/ 261904 w 608344"/>
              <a:gd name="connsiteY30" fmla="*/ 0 h 490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608344" h="490289">
                <a:moveTo>
                  <a:pt x="50882" y="115887"/>
                </a:moveTo>
                <a:lnTo>
                  <a:pt x="50882" y="201112"/>
                </a:lnTo>
                <a:lnTo>
                  <a:pt x="438489" y="201112"/>
                </a:lnTo>
                <a:lnTo>
                  <a:pt x="438489" y="162825"/>
                </a:lnTo>
                <a:lnTo>
                  <a:pt x="219567" y="162825"/>
                </a:lnTo>
                <a:cubicBezTo>
                  <a:pt x="200578" y="162825"/>
                  <a:pt x="183065" y="152241"/>
                  <a:pt x="174400" y="135399"/>
                </a:cubicBezTo>
                <a:lnTo>
                  <a:pt x="165459" y="118372"/>
                </a:lnTo>
                <a:cubicBezTo>
                  <a:pt x="165090" y="117544"/>
                  <a:pt x="164629" y="116715"/>
                  <a:pt x="164260" y="115887"/>
                </a:cubicBezTo>
                <a:close/>
                <a:moveTo>
                  <a:pt x="50697" y="64991"/>
                </a:moveTo>
                <a:lnTo>
                  <a:pt x="164445" y="64991"/>
                </a:lnTo>
                <a:cubicBezTo>
                  <a:pt x="184447" y="64991"/>
                  <a:pt x="202514" y="76772"/>
                  <a:pt x="210718" y="94995"/>
                </a:cubicBezTo>
                <a:lnTo>
                  <a:pt x="219567" y="112022"/>
                </a:lnTo>
                <a:lnTo>
                  <a:pt x="438674" y="112022"/>
                </a:lnTo>
                <a:cubicBezTo>
                  <a:pt x="466696" y="112022"/>
                  <a:pt x="489371" y="134662"/>
                  <a:pt x="489371" y="162641"/>
                </a:cubicBezTo>
                <a:lnTo>
                  <a:pt x="489371" y="445560"/>
                </a:lnTo>
                <a:cubicBezTo>
                  <a:pt x="489371" y="470225"/>
                  <a:pt x="469369" y="490289"/>
                  <a:pt x="444665" y="490289"/>
                </a:cubicBezTo>
                <a:lnTo>
                  <a:pt x="44798" y="490289"/>
                </a:lnTo>
                <a:cubicBezTo>
                  <a:pt x="20002" y="490289"/>
                  <a:pt x="0" y="470225"/>
                  <a:pt x="0" y="445560"/>
                </a:cubicBezTo>
                <a:lnTo>
                  <a:pt x="0" y="115611"/>
                </a:lnTo>
                <a:cubicBezTo>
                  <a:pt x="0" y="87632"/>
                  <a:pt x="22675" y="64991"/>
                  <a:pt x="50697" y="64991"/>
                </a:cubicBezTo>
                <a:close/>
                <a:moveTo>
                  <a:pt x="261904" y="0"/>
                </a:moveTo>
                <a:lnTo>
                  <a:pt x="519660" y="0"/>
                </a:lnTo>
                <a:cubicBezTo>
                  <a:pt x="568611" y="0"/>
                  <a:pt x="608344" y="39762"/>
                  <a:pt x="608344" y="88635"/>
                </a:cubicBezTo>
                <a:lnTo>
                  <a:pt x="608344" y="335764"/>
                </a:lnTo>
                <a:cubicBezTo>
                  <a:pt x="608344" y="352423"/>
                  <a:pt x="594885" y="365953"/>
                  <a:pt x="578107" y="365953"/>
                </a:cubicBezTo>
                <a:cubicBezTo>
                  <a:pt x="561421" y="365953"/>
                  <a:pt x="547961" y="352423"/>
                  <a:pt x="547961" y="335764"/>
                </a:cubicBezTo>
                <a:lnTo>
                  <a:pt x="547961" y="88635"/>
                </a:lnTo>
                <a:cubicBezTo>
                  <a:pt x="547961" y="72988"/>
                  <a:pt x="535240" y="60379"/>
                  <a:pt x="519660" y="60379"/>
                </a:cubicBezTo>
                <a:lnTo>
                  <a:pt x="261904" y="60379"/>
                </a:lnTo>
                <a:cubicBezTo>
                  <a:pt x="245218" y="60379"/>
                  <a:pt x="231666" y="46849"/>
                  <a:pt x="231666" y="30190"/>
                </a:cubicBezTo>
                <a:cubicBezTo>
                  <a:pt x="231666" y="13530"/>
                  <a:pt x="245218" y="0"/>
                  <a:pt x="26190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762000" dist="2540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360000" bIns="45720" numCol="1" spcCol="0" rtlCol="0" fromWordArt="0" anchor="ctr" anchorCtr="0" forceAA="0" compatLnSpc="1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r" defTabSz="914400"/>
            <a:endParaRPr lang="zh-CN" altLang="en-US" sz="1400" b="1" dirty="0">
              <a:latin typeface="思源黑体 CN Normal" panose="020B0400000000000000" pitchFamily="34" charset="-122"/>
              <a:ea typeface="思源黑体 CN Normal" panose="020B0400000000000000" pitchFamily="34" charset="-122"/>
              <a:cs typeface="Open Sans" panose="020B0606030504020204" charset="0"/>
            </a:endParaRPr>
          </a:p>
        </p:txBody>
      </p:sp>
      <p:sp>
        <p:nvSpPr>
          <p:cNvPr id="21" name="íṣliďê"/>
          <p:cNvSpPr/>
          <p:nvPr/>
        </p:nvSpPr>
        <p:spPr bwMode="auto">
          <a:xfrm>
            <a:off x="5308788" y="5820336"/>
            <a:ext cx="1561726" cy="4303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 fontScale="850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altLang="zh-CN" sz="1200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Supporting text here.</a:t>
            </a:r>
          </a:p>
        </p:txBody>
      </p:sp>
      <p:sp>
        <p:nvSpPr>
          <p:cNvPr id="18" name="îṧļïḓê"/>
          <p:cNvSpPr/>
          <p:nvPr/>
        </p:nvSpPr>
        <p:spPr>
          <a:xfrm>
            <a:off x="7712049" y="5067301"/>
            <a:ext cx="645459" cy="645459"/>
          </a:xfrm>
          <a:prstGeom prst="ellipse">
            <a:avLst/>
          </a:prstGeom>
          <a:gradFill>
            <a:gsLst>
              <a:gs pos="38000">
                <a:srgbClr val="0870D3"/>
              </a:gs>
              <a:gs pos="100000">
                <a:srgbClr val="4EBCF7"/>
              </a:gs>
            </a:gsLst>
            <a:lin ang="10800000" scaled="0"/>
          </a:gradFill>
          <a:ln>
            <a:noFill/>
          </a:ln>
          <a:effectLst>
            <a:outerShdw blurRad="762000" dist="2540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360000" bIns="45720" numCol="1" spcCol="0" rtlCol="0" fromWordArt="0" anchor="ctr" anchorCtr="0" forceAA="0" compatLnSpc="1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r" defTabSz="914400"/>
            <a:endParaRPr lang="zh-CN" altLang="en-US" sz="1400" b="1" dirty="0">
              <a:latin typeface="思源黑体 CN Normal" panose="020B0400000000000000" pitchFamily="34" charset="-122"/>
              <a:ea typeface="思源黑体 CN Normal" panose="020B0400000000000000" pitchFamily="34" charset="-122"/>
              <a:cs typeface="Open Sans" panose="020B0606030504020204" charset="0"/>
            </a:endParaRPr>
          </a:p>
        </p:txBody>
      </p:sp>
      <p:sp>
        <p:nvSpPr>
          <p:cNvPr id="19" name="iṩľïḑe"/>
          <p:cNvSpPr/>
          <p:nvPr/>
        </p:nvSpPr>
        <p:spPr>
          <a:xfrm>
            <a:off x="7887905" y="5237626"/>
            <a:ext cx="293745" cy="304804"/>
          </a:xfrm>
          <a:custGeom>
            <a:avLst/>
            <a:gdLst>
              <a:gd name="connsiteX0" fmla="*/ 533304 w 585797"/>
              <a:gd name="connsiteY0" fmla="*/ 452325 h 607851"/>
              <a:gd name="connsiteX1" fmla="*/ 568750 w 585797"/>
              <a:gd name="connsiteY1" fmla="*/ 460265 h 607851"/>
              <a:gd name="connsiteX2" fmla="*/ 585772 w 585797"/>
              <a:gd name="connsiteY2" fmla="*/ 480255 h 607851"/>
              <a:gd name="connsiteX3" fmla="*/ 571088 w 585797"/>
              <a:gd name="connsiteY3" fmla="*/ 502112 h 607851"/>
              <a:gd name="connsiteX4" fmla="*/ 273212 w 585797"/>
              <a:gd name="connsiteY4" fmla="*/ 604395 h 607851"/>
              <a:gd name="connsiteX5" fmla="*/ 252917 w 585797"/>
              <a:gd name="connsiteY5" fmla="*/ 607851 h 607851"/>
              <a:gd name="connsiteX6" fmla="*/ 236924 w 585797"/>
              <a:gd name="connsiteY6" fmla="*/ 605703 h 607851"/>
              <a:gd name="connsiteX7" fmla="*/ 16205 w 585797"/>
              <a:gd name="connsiteY7" fmla="*/ 547322 h 607851"/>
              <a:gd name="connsiteX8" fmla="*/ 25 w 585797"/>
              <a:gd name="connsiteY8" fmla="*/ 527239 h 607851"/>
              <a:gd name="connsiteX9" fmla="*/ 14428 w 585797"/>
              <a:gd name="connsiteY9" fmla="*/ 505755 h 607851"/>
              <a:gd name="connsiteX10" fmla="*/ 50716 w 585797"/>
              <a:gd name="connsiteY10" fmla="*/ 492678 h 607851"/>
              <a:gd name="connsiteX11" fmla="*/ 226449 w 585797"/>
              <a:gd name="connsiteY11" fmla="*/ 539196 h 607851"/>
              <a:gd name="connsiteX12" fmla="*/ 252917 w 585797"/>
              <a:gd name="connsiteY12" fmla="*/ 542652 h 607851"/>
              <a:gd name="connsiteX13" fmla="*/ 286492 w 585797"/>
              <a:gd name="connsiteY13" fmla="*/ 537047 h 607851"/>
              <a:gd name="connsiteX14" fmla="*/ 533215 w 585797"/>
              <a:gd name="connsiteY14" fmla="*/ 346476 h 607851"/>
              <a:gd name="connsiteX15" fmla="*/ 568751 w 585797"/>
              <a:gd name="connsiteY15" fmla="*/ 354414 h 607851"/>
              <a:gd name="connsiteX16" fmla="*/ 585772 w 585797"/>
              <a:gd name="connsiteY16" fmla="*/ 374490 h 607851"/>
              <a:gd name="connsiteX17" fmla="*/ 571089 w 585797"/>
              <a:gd name="connsiteY17" fmla="*/ 396248 h 607851"/>
              <a:gd name="connsiteX18" fmla="*/ 273237 w 585797"/>
              <a:gd name="connsiteY18" fmla="*/ 498500 h 607851"/>
              <a:gd name="connsiteX19" fmla="*/ 252944 w 585797"/>
              <a:gd name="connsiteY19" fmla="*/ 501861 h 607851"/>
              <a:gd name="connsiteX20" fmla="*/ 236952 w 585797"/>
              <a:gd name="connsiteY20" fmla="*/ 499807 h 607851"/>
              <a:gd name="connsiteX21" fmla="*/ 16251 w 585797"/>
              <a:gd name="connsiteY21" fmla="*/ 441444 h 607851"/>
              <a:gd name="connsiteX22" fmla="*/ 73 w 585797"/>
              <a:gd name="connsiteY22" fmla="*/ 421367 h 607851"/>
              <a:gd name="connsiteX23" fmla="*/ 14474 w 585797"/>
              <a:gd name="connsiteY23" fmla="*/ 399983 h 607851"/>
              <a:gd name="connsiteX24" fmla="*/ 50759 w 585797"/>
              <a:gd name="connsiteY24" fmla="*/ 386910 h 607851"/>
              <a:gd name="connsiteX25" fmla="*/ 226478 w 585797"/>
              <a:gd name="connsiteY25" fmla="*/ 433413 h 607851"/>
              <a:gd name="connsiteX26" fmla="*/ 252944 w 585797"/>
              <a:gd name="connsiteY26" fmla="*/ 436775 h 607851"/>
              <a:gd name="connsiteX27" fmla="*/ 286517 w 585797"/>
              <a:gd name="connsiteY27" fmla="*/ 431172 h 607851"/>
              <a:gd name="connsiteX28" fmla="*/ 463638 w 585797"/>
              <a:gd name="connsiteY28" fmla="*/ 224963 h 607851"/>
              <a:gd name="connsiteX29" fmla="*/ 568751 w 585797"/>
              <a:gd name="connsiteY29" fmla="*/ 248492 h 607851"/>
              <a:gd name="connsiteX30" fmla="*/ 585772 w 585797"/>
              <a:gd name="connsiteY30" fmla="*/ 268566 h 607851"/>
              <a:gd name="connsiteX31" fmla="*/ 571089 w 585797"/>
              <a:gd name="connsiteY31" fmla="*/ 290321 h 607851"/>
              <a:gd name="connsiteX32" fmla="*/ 273237 w 585797"/>
              <a:gd name="connsiteY32" fmla="*/ 392560 h 607851"/>
              <a:gd name="connsiteX33" fmla="*/ 252944 w 585797"/>
              <a:gd name="connsiteY33" fmla="*/ 396014 h 607851"/>
              <a:gd name="connsiteX34" fmla="*/ 236952 w 585797"/>
              <a:gd name="connsiteY34" fmla="*/ 393960 h 607851"/>
              <a:gd name="connsiteX35" fmla="*/ 16251 w 585797"/>
              <a:gd name="connsiteY35" fmla="*/ 335511 h 607851"/>
              <a:gd name="connsiteX36" fmla="*/ 73 w 585797"/>
              <a:gd name="connsiteY36" fmla="*/ 315437 h 607851"/>
              <a:gd name="connsiteX37" fmla="*/ 14474 w 585797"/>
              <a:gd name="connsiteY37" fmla="*/ 294056 h 607851"/>
              <a:gd name="connsiteX38" fmla="*/ 138011 w 585797"/>
              <a:gd name="connsiteY38" fmla="*/ 249613 h 607851"/>
              <a:gd name="connsiteX39" fmla="*/ 180094 w 585797"/>
              <a:gd name="connsiteY39" fmla="*/ 263618 h 607851"/>
              <a:gd name="connsiteX40" fmla="*/ 181497 w 585797"/>
              <a:gd name="connsiteY40" fmla="*/ 263711 h 607851"/>
              <a:gd name="connsiteX41" fmla="*/ 182806 w 585797"/>
              <a:gd name="connsiteY41" fmla="*/ 263711 h 607851"/>
              <a:gd name="connsiteX42" fmla="*/ 378444 w 585797"/>
              <a:gd name="connsiteY42" fmla="*/ 263711 h 607851"/>
              <a:gd name="connsiteX43" fmla="*/ 463638 w 585797"/>
              <a:gd name="connsiteY43" fmla="*/ 224963 h 607851"/>
              <a:gd name="connsiteX44" fmla="*/ 282669 w 585797"/>
              <a:gd name="connsiteY44" fmla="*/ 0 h 607851"/>
              <a:gd name="connsiteX45" fmla="*/ 376661 w 585797"/>
              <a:gd name="connsiteY45" fmla="*/ 77792 h 607851"/>
              <a:gd name="connsiteX46" fmla="*/ 378438 w 585797"/>
              <a:gd name="connsiteY46" fmla="*/ 77699 h 607851"/>
              <a:gd name="connsiteX47" fmla="*/ 451106 w 585797"/>
              <a:gd name="connsiteY47" fmla="*/ 150354 h 607851"/>
              <a:gd name="connsiteX48" fmla="*/ 378438 w 585797"/>
              <a:gd name="connsiteY48" fmla="*/ 222916 h 607851"/>
              <a:gd name="connsiteX49" fmla="*/ 182785 w 585797"/>
              <a:gd name="connsiteY49" fmla="*/ 222916 h 607851"/>
              <a:gd name="connsiteX50" fmla="*/ 134620 w 585797"/>
              <a:gd name="connsiteY50" fmla="*/ 170806 h 607851"/>
              <a:gd name="connsiteX51" fmla="*/ 186900 w 585797"/>
              <a:gd name="connsiteY51" fmla="*/ 118602 h 607851"/>
              <a:gd name="connsiteX52" fmla="*/ 189893 w 585797"/>
              <a:gd name="connsiteY52" fmla="*/ 118976 h 607851"/>
              <a:gd name="connsiteX53" fmla="*/ 186900 w 585797"/>
              <a:gd name="connsiteY53" fmla="*/ 95629 h 607851"/>
              <a:gd name="connsiteX54" fmla="*/ 282669 w 585797"/>
              <a:gd name="connsiteY54" fmla="*/ 0 h 6078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585797" h="607851">
                <a:moveTo>
                  <a:pt x="533304" y="452325"/>
                </a:moveTo>
                <a:lnTo>
                  <a:pt x="568750" y="460265"/>
                </a:lnTo>
                <a:cubicBezTo>
                  <a:pt x="578290" y="462413"/>
                  <a:pt x="585210" y="470540"/>
                  <a:pt x="585772" y="480255"/>
                </a:cubicBezTo>
                <a:cubicBezTo>
                  <a:pt x="586239" y="489969"/>
                  <a:pt x="580254" y="498936"/>
                  <a:pt x="571088" y="502112"/>
                </a:cubicBezTo>
                <a:lnTo>
                  <a:pt x="273212" y="604395"/>
                </a:lnTo>
                <a:cubicBezTo>
                  <a:pt x="266665" y="606730"/>
                  <a:pt x="259838" y="607851"/>
                  <a:pt x="252917" y="607851"/>
                </a:cubicBezTo>
                <a:cubicBezTo>
                  <a:pt x="247586" y="607851"/>
                  <a:pt x="242162" y="607104"/>
                  <a:pt x="236924" y="605703"/>
                </a:cubicBezTo>
                <a:lnTo>
                  <a:pt x="16205" y="547322"/>
                </a:lnTo>
                <a:cubicBezTo>
                  <a:pt x="6946" y="544894"/>
                  <a:pt x="399" y="536674"/>
                  <a:pt x="25" y="527239"/>
                </a:cubicBezTo>
                <a:cubicBezTo>
                  <a:pt x="-442" y="517712"/>
                  <a:pt x="5450" y="509025"/>
                  <a:pt x="14428" y="505755"/>
                </a:cubicBezTo>
                <a:lnTo>
                  <a:pt x="50716" y="492678"/>
                </a:lnTo>
                <a:lnTo>
                  <a:pt x="226449" y="539196"/>
                </a:lnTo>
                <a:cubicBezTo>
                  <a:pt x="235147" y="541531"/>
                  <a:pt x="244032" y="542652"/>
                  <a:pt x="252917" y="542652"/>
                </a:cubicBezTo>
                <a:cubicBezTo>
                  <a:pt x="264420" y="542652"/>
                  <a:pt x="275643" y="540784"/>
                  <a:pt x="286492" y="537047"/>
                </a:cubicBezTo>
                <a:close/>
                <a:moveTo>
                  <a:pt x="533215" y="346476"/>
                </a:moveTo>
                <a:lnTo>
                  <a:pt x="568751" y="354414"/>
                </a:lnTo>
                <a:cubicBezTo>
                  <a:pt x="578290" y="356561"/>
                  <a:pt x="585211" y="364779"/>
                  <a:pt x="585772" y="374490"/>
                </a:cubicBezTo>
                <a:cubicBezTo>
                  <a:pt x="586239" y="384202"/>
                  <a:pt x="580254" y="393073"/>
                  <a:pt x="571089" y="396248"/>
                </a:cubicBezTo>
                <a:lnTo>
                  <a:pt x="273237" y="498500"/>
                </a:lnTo>
                <a:cubicBezTo>
                  <a:pt x="266691" y="500741"/>
                  <a:pt x="259864" y="501861"/>
                  <a:pt x="252944" y="501861"/>
                </a:cubicBezTo>
                <a:cubicBezTo>
                  <a:pt x="247613" y="501861"/>
                  <a:pt x="242189" y="501208"/>
                  <a:pt x="236952" y="499807"/>
                </a:cubicBezTo>
                <a:lnTo>
                  <a:pt x="16251" y="441444"/>
                </a:lnTo>
                <a:cubicBezTo>
                  <a:pt x="7087" y="439016"/>
                  <a:pt x="447" y="430892"/>
                  <a:pt x="73" y="421367"/>
                </a:cubicBezTo>
                <a:cubicBezTo>
                  <a:pt x="-301" y="411843"/>
                  <a:pt x="5497" y="403158"/>
                  <a:pt x="14474" y="399983"/>
                </a:cubicBezTo>
                <a:lnTo>
                  <a:pt x="50759" y="386910"/>
                </a:lnTo>
                <a:lnTo>
                  <a:pt x="226478" y="433413"/>
                </a:lnTo>
                <a:cubicBezTo>
                  <a:pt x="235176" y="435655"/>
                  <a:pt x="244060" y="436775"/>
                  <a:pt x="252944" y="436775"/>
                </a:cubicBezTo>
                <a:cubicBezTo>
                  <a:pt x="264446" y="436775"/>
                  <a:pt x="275762" y="434907"/>
                  <a:pt x="286517" y="431172"/>
                </a:cubicBezTo>
                <a:close/>
                <a:moveTo>
                  <a:pt x="463638" y="224963"/>
                </a:moveTo>
                <a:lnTo>
                  <a:pt x="568751" y="248492"/>
                </a:lnTo>
                <a:cubicBezTo>
                  <a:pt x="578290" y="250640"/>
                  <a:pt x="585211" y="258856"/>
                  <a:pt x="585772" y="268566"/>
                </a:cubicBezTo>
                <a:cubicBezTo>
                  <a:pt x="586239" y="278277"/>
                  <a:pt x="580254" y="287147"/>
                  <a:pt x="571089" y="290321"/>
                </a:cubicBezTo>
                <a:lnTo>
                  <a:pt x="273237" y="392560"/>
                </a:lnTo>
                <a:cubicBezTo>
                  <a:pt x="266691" y="394894"/>
                  <a:pt x="259864" y="396014"/>
                  <a:pt x="252944" y="396014"/>
                </a:cubicBezTo>
                <a:cubicBezTo>
                  <a:pt x="247613" y="396014"/>
                  <a:pt x="242189" y="395267"/>
                  <a:pt x="236952" y="393960"/>
                </a:cubicBezTo>
                <a:lnTo>
                  <a:pt x="16251" y="335511"/>
                </a:lnTo>
                <a:cubicBezTo>
                  <a:pt x="7087" y="333084"/>
                  <a:pt x="447" y="324961"/>
                  <a:pt x="73" y="315437"/>
                </a:cubicBezTo>
                <a:cubicBezTo>
                  <a:pt x="-301" y="305914"/>
                  <a:pt x="5497" y="297230"/>
                  <a:pt x="14474" y="294056"/>
                </a:cubicBezTo>
                <a:lnTo>
                  <a:pt x="138011" y="249613"/>
                </a:lnTo>
                <a:cubicBezTo>
                  <a:pt x="150449" y="257362"/>
                  <a:pt x="164570" y="262591"/>
                  <a:pt x="180094" y="263618"/>
                </a:cubicBezTo>
                <a:lnTo>
                  <a:pt x="181497" y="263711"/>
                </a:lnTo>
                <a:lnTo>
                  <a:pt x="182806" y="263711"/>
                </a:lnTo>
                <a:lnTo>
                  <a:pt x="378444" y="263711"/>
                </a:lnTo>
                <a:cubicBezTo>
                  <a:pt x="412391" y="263711"/>
                  <a:pt x="442784" y="248679"/>
                  <a:pt x="463638" y="224963"/>
                </a:cubicBezTo>
                <a:close/>
                <a:moveTo>
                  <a:pt x="282669" y="0"/>
                </a:moveTo>
                <a:cubicBezTo>
                  <a:pt x="329431" y="0"/>
                  <a:pt x="368337" y="33526"/>
                  <a:pt x="376661" y="77792"/>
                </a:cubicBezTo>
                <a:cubicBezTo>
                  <a:pt x="377222" y="77792"/>
                  <a:pt x="377877" y="77699"/>
                  <a:pt x="378438" y="77699"/>
                </a:cubicBezTo>
                <a:cubicBezTo>
                  <a:pt x="418560" y="77699"/>
                  <a:pt x="451106" y="110198"/>
                  <a:pt x="451106" y="150354"/>
                </a:cubicBezTo>
                <a:cubicBezTo>
                  <a:pt x="451106" y="190417"/>
                  <a:pt x="418560" y="222916"/>
                  <a:pt x="378438" y="222916"/>
                </a:cubicBezTo>
                <a:lnTo>
                  <a:pt x="182785" y="222916"/>
                </a:lnTo>
                <a:cubicBezTo>
                  <a:pt x="155570" y="221142"/>
                  <a:pt x="134620" y="198449"/>
                  <a:pt x="134620" y="170806"/>
                </a:cubicBezTo>
                <a:cubicBezTo>
                  <a:pt x="134620" y="141949"/>
                  <a:pt x="158095" y="118602"/>
                  <a:pt x="186900" y="118602"/>
                </a:cubicBezTo>
                <a:cubicBezTo>
                  <a:pt x="187929" y="118602"/>
                  <a:pt x="188864" y="118883"/>
                  <a:pt x="189893" y="118976"/>
                </a:cubicBezTo>
                <a:cubicBezTo>
                  <a:pt x="188023" y="111505"/>
                  <a:pt x="186900" y="103660"/>
                  <a:pt x="186900" y="95629"/>
                </a:cubicBezTo>
                <a:cubicBezTo>
                  <a:pt x="186900" y="42772"/>
                  <a:pt x="229734" y="0"/>
                  <a:pt x="28266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762000" dist="2540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360000" bIns="45720" numCol="1" spcCol="0" rtlCol="0" fromWordArt="0" anchor="ctr" anchorCtr="0" forceAA="0" compatLnSpc="1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r" defTabSz="914400"/>
            <a:endParaRPr lang="zh-CN" altLang="en-US" sz="1400" b="1" dirty="0">
              <a:latin typeface="思源黑体 CN Normal" panose="020B0400000000000000" pitchFamily="34" charset="-122"/>
              <a:ea typeface="思源黑体 CN Normal" panose="020B0400000000000000" pitchFamily="34" charset="-122"/>
              <a:cs typeface="Open Sans" panose="020B0606030504020204" charset="0"/>
            </a:endParaRPr>
          </a:p>
        </p:txBody>
      </p:sp>
      <p:sp>
        <p:nvSpPr>
          <p:cNvPr id="17" name="îṥļíde"/>
          <p:cNvSpPr/>
          <p:nvPr/>
        </p:nvSpPr>
        <p:spPr bwMode="auto">
          <a:xfrm>
            <a:off x="7253915" y="5820336"/>
            <a:ext cx="1561726" cy="4303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 fontScale="850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altLang="zh-CN" sz="1200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Supporting text here.</a:t>
            </a:r>
          </a:p>
        </p:txBody>
      </p:sp>
      <p:sp>
        <p:nvSpPr>
          <p:cNvPr id="14" name="íş1ide"/>
          <p:cNvSpPr/>
          <p:nvPr/>
        </p:nvSpPr>
        <p:spPr>
          <a:xfrm>
            <a:off x="9657174" y="5067301"/>
            <a:ext cx="645459" cy="645459"/>
          </a:xfrm>
          <a:prstGeom prst="ellipse">
            <a:avLst/>
          </a:prstGeom>
          <a:gradFill>
            <a:gsLst>
              <a:gs pos="38000">
                <a:srgbClr val="0870D3"/>
              </a:gs>
              <a:gs pos="100000">
                <a:srgbClr val="4EBCF7"/>
              </a:gs>
            </a:gsLst>
            <a:lin ang="10800000" scaled="0"/>
          </a:gradFill>
          <a:ln>
            <a:noFill/>
          </a:ln>
          <a:effectLst>
            <a:outerShdw blurRad="762000" dist="2540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360000" bIns="45720" numCol="1" spcCol="0" rtlCol="0" fromWordArt="0" anchor="ctr" anchorCtr="0" forceAA="0" compatLnSpc="1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r" defTabSz="914400"/>
            <a:endParaRPr lang="zh-CN" altLang="en-US" sz="1400" b="1" dirty="0">
              <a:latin typeface="思源黑体 CN Normal" panose="020B0400000000000000" pitchFamily="34" charset="-122"/>
              <a:ea typeface="思源黑体 CN Normal" panose="020B0400000000000000" pitchFamily="34" charset="-122"/>
              <a:cs typeface="Open Sans" panose="020B0606030504020204" charset="0"/>
            </a:endParaRPr>
          </a:p>
        </p:txBody>
      </p:sp>
      <p:sp>
        <p:nvSpPr>
          <p:cNvPr id="15" name="ï$1iḑê"/>
          <p:cNvSpPr/>
          <p:nvPr/>
        </p:nvSpPr>
        <p:spPr>
          <a:xfrm>
            <a:off x="9827501" y="5237839"/>
            <a:ext cx="304804" cy="304379"/>
          </a:xfrm>
          <a:custGeom>
            <a:avLst/>
            <a:gdLst>
              <a:gd name="T0" fmla="*/ 5645 w 6302"/>
              <a:gd name="T1" fmla="*/ 4726 h 6302"/>
              <a:gd name="T2" fmla="*/ 5645 w 6302"/>
              <a:gd name="T3" fmla="*/ 3212 h 6302"/>
              <a:gd name="T4" fmla="*/ 3282 w 6302"/>
              <a:gd name="T5" fmla="*/ 3212 h 6302"/>
              <a:gd name="T6" fmla="*/ 3282 w 6302"/>
              <a:gd name="T7" fmla="*/ 2101 h 6302"/>
              <a:gd name="T8" fmla="*/ 4857 w 6302"/>
              <a:gd name="T9" fmla="*/ 2101 h 6302"/>
              <a:gd name="T10" fmla="*/ 4857 w 6302"/>
              <a:gd name="T11" fmla="*/ 0 h 6302"/>
              <a:gd name="T12" fmla="*/ 1444 w 6302"/>
              <a:gd name="T13" fmla="*/ 0 h 6302"/>
              <a:gd name="T14" fmla="*/ 1444 w 6302"/>
              <a:gd name="T15" fmla="*/ 2101 h 6302"/>
              <a:gd name="T16" fmla="*/ 3019 w 6302"/>
              <a:gd name="T17" fmla="*/ 2101 h 6302"/>
              <a:gd name="T18" fmla="*/ 3019 w 6302"/>
              <a:gd name="T19" fmla="*/ 3212 h 6302"/>
              <a:gd name="T20" fmla="*/ 656 w 6302"/>
              <a:gd name="T21" fmla="*/ 3212 h 6302"/>
              <a:gd name="T22" fmla="*/ 656 w 6302"/>
              <a:gd name="T23" fmla="*/ 4726 h 6302"/>
              <a:gd name="T24" fmla="*/ 0 w 6302"/>
              <a:gd name="T25" fmla="*/ 4726 h 6302"/>
              <a:gd name="T26" fmla="*/ 0 w 6302"/>
              <a:gd name="T27" fmla="*/ 6302 h 6302"/>
              <a:gd name="T28" fmla="*/ 1575 w 6302"/>
              <a:gd name="T29" fmla="*/ 6302 h 6302"/>
              <a:gd name="T30" fmla="*/ 1575 w 6302"/>
              <a:gd name="T31" fmla="*/ 4726 h 6302"/>
              <a:gd name="T32" fmla="*/ 919 w 6302"/>
              <a:gd name="T33" fmla="*/ 4726 h 6302"/>
              <a:gd name="T34" fmla="*/ 919 w 6302"/>
              <a:gd name="T35" fmla="*/ 3475 h 6302"/>
              <a:gd name="T36" fmla="*/ 3019 w 6302"/>
              <a:gd name="T37" fmla="*/ 3475 h 6302"/>
              <a:gd name="T38" fmla="*/ 3019 w 6302"/>
              <a:gd name="T39" fmla="*/ 4726 h 6302"/>
              <a:gd name="T40" fmla="*/ 2363 w 6302"/>
              <a:gd name="T41" fmla="*/ 4726 h 6302"/>
              <a:gd name="T42" fmla="*/ 2363 w 6302"/>
              <a:gd name="T43" fmla="*/ 6302 h 6302"/>
              <a:gd name="T44" fmla="*/ 3938 w 6302"/>
              <a:gd name="T45" fmla="*/ 6302 h 6302"/>
              <a:gd name="T46" fmla="*/ 3938 w 6302"/>
              <a:gd name="T47" fmla="*/ 4726 h 6302"/>
              <a:gd name="T48" fmla="*/ 3282 w 6302"/>
              <a:gd name="T49" fmla="*/ 4726 h 6302"/>
              <a:gd name="T50" fmla="*/ 3282 w 6302"/>
              <a:gd name="T51" fmla="*/ 3475 h 6302"/>
              <a:gd name="T52" fmla="*/ 5383 w 6302"/>
              <a:gd name="T53" fmla="*/ 3475 h 6302"/>
              <a:gd name="T54" fmla="*/ 5383 w 6302"/>
              <a:gd name="T55" fmla="*/ 4726 h 6302"/>
              <a:gd name="T56" fmla="*/ 4726 w 6302"/>
              <a:gd name="T57" fmla="*/ 4726 h 6302"/>
              <a:gd name="T58" fmla="*/ 4726 w 6302"/>
              <a:gd name="T59" fmla="*/ 6302 h 6302"/>
              <a:gd name="T60" fmla="*/ 6302 w 6302"/>
              <a:gd name="T61" fmla="*/ 6302 h 6302"/>
              <a:gd name="T62" fmla="*/ 6302 w 6302"/>
              <a:gd name="T63" fmla="*/ 4726 h 6302"/>
              <a:gd name="T64" fmla="*/ 5645 w 6302"/>
              <a:gd name="T65" fmla="*/ 4726 h 63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6302" h="6302">
                <a:moveTo>
                  <a:pt x="5645" y="4726"/>
                </a:moveTo>
                <a:lnTo>
                  <a:pt x="5645" y="3212"/>
                </a:lnTo>
                <a:lnTo>
                  <a:pt x="3282" y="3212"/>
                </a:lnTo>
                <a:lnTo>
                  <a:pt x="3282" y="2101"/>
                </a:lnTo>
                <a:lnTo>
                  <a:pt x="4857" y="2101"/>
                </a:lnTo>
                <a:lnTo>
                  <a:pt x="4857" y="0"/>
                </a:lnTo>
                <a:lnTo>
                  <a:pt x="1444" y="0"/>
                </a:lnTo>
                <a:lnTo>
                  <a:pt x="1444" y="2101"/>
                </a:lnTo>
                <a:lnTo>
                  <a:pt x="3019" y="2101"/>
                </a:lnTo>
                <a:lnTo>
                  <a:pt x="3019" y="3212"/>
                </a:lnTo>
                <a:lnTo>
                  <a:pt x="656" y="3212"/>
                </a:lnTo>
                <a:lnTo>
                  <a:pt x="656" y="4726"/>
                </a:lnTo>
                <a:lnTo>
                  <a:pt x="0" y="4726"/>
                </a:lnTo>
                <a:lnTo>
                  <a:pt x="0" y="6302"/>
                </a:lnTo>
                <a:lnTo>
                  <a:pt x="1575" y="6302"/>
                </a:lnTo>
                <a:lnTo>
                  <a:pt x="1575" y="4726"/>
                </a:lnTo>
                <a:lnTo>
                  <a:pt x="919" y="4726"/>
                </a:lnTo>
                <a:lnTo>
                  <a:pt x="919" y="3475"/>
                </a:lnTo>
                <a:lnTo>
                  <a:pt x="3019" y="3475"/>
                </a:lnTo>
                <a:lnTo>
                  <a:pt x="3019" y="4726"/>
                </a:lnTo>
                <a:lnTo>
                  <a:pt x="2363" y="4726"/>
                </a:lnTo>
                <a:lnTo>
                  <a:pt x="2363" y="6302"/>
                </a:lnTo>
                <a:lnTo>
                  <a:pt x="3938" y="6302"/>
                </a:lnTo>
                <a:lnTo>
                  <a:pt x="3938" y="4726"/>
                </a:lnTo>
                <a:lnTo>
                  <a:pt x="3282" y="4726"/>
                </a:lnTo>
                <a:lnTo>
                  <a:pt x="3282" y="3475"/>
                </a:lnTo>
                <a:lnTo>
                  <a:pt x="5383" y="3475"/>
                </a:lnTo>
                <a:lnTo>
                  <a:pt x="5383" y="4726"/>
                </a:lnTo>
                <a:lnTo>
                  <a:pt x="4726" y="4726"/>
                </a:lnTo>
                <a:lnTo>
                  <a:pt x="4726" y="6302"/>
                </a:lnTo>
                <a:lnTo>
                  <a:pt x="6302" y="6302"/>
                </a:lnTo>
                <a:lnTo>
                  <a:pt x="6302" y="4726"/>
                </a:lnTo>
                <a:lnTo>
                  <a:pt x="5645" y="472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762000" dist="2540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360000" bIns="45720" numCol="1" spcCol="0" rtlCol="0" fromWordArt="0" anchor="ctr" anchorCtr="0" forceAA="0" compatLnSpc="1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r" defTabSz="914400"/>
            <a:endParaRPr lang="zh-CN" altLang="en-US" sz="1400" b="1" dirty="0">
              <a:latin typeface="思源黑体 CN Normal" panose="020B0400000000000000" pitchFamily="34" charset="-122"/>
              <a:ea typeface="思源黑体 CN Normal" panose="020B0400000000000000" pitchFamily="34" charset="-122"/>
              <a:cs typeface="Open Sans" panose="020B0606030504020204" charset="0"/>
            </a:endParaRPr>
          </a:p>
        </p:txBody>
      </p:sp>
      <p:sp>
        <p:nvSpPr>
          <p:cNvPr id="13" name="iṡ1idè"/>
          <p:cNvSpPr/>
          <p:nvPr/>
        </p:nvSpPr>
        <p:spPr bwMode="auto">
          <a:xfrm>
            <a:off x="9199040" y="5820336"/>
            <a:ext cx="1561726" cy="4303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 fontScale="850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altLang="zh-CN" sz="1200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Supporting text here.</a:t>
            </a:r>
          </a:p>
        </p:txBody>
      </p:sp>
      <p:grpSp>
        <p:nvGrpSpPr>
          <p:cNvPr id="28" name="组合 27"/>
          <p:cNvGrpSpPr/>
          <p:nvPr/>
        </p:nvGrpSpPr>
        <p:grpSpPr>
          <a:xfrm>
            <a:off x="445680" y="386741"/>
            <a:ext cx="4160833" cy="523220"/>
            <a:chOff x="445680" y="386741"/>
            <a:chExt cx="4160833" cy="523220"/>
          </a:xfrm>
        </p:grpSpPr>
        <p:sp>
          <p:nvSpPr>
            <p:cNvPr id="32" name="analytics_237488"/>
            <p:cNvSpPr>
              <a:spLocks noChangeAspect="1"/>
            </p:cNvSpPr>
            <p:nvPr/>
          </p:nvSpPr>
          <p:spPr bwMode="auto">
            <a:xfrm>
              <a:off x="445680" y="386741"/>
              <a:ext cx="454475" cy="423493"/>
            </a:xfrm>
            <a:custGeom>
              <a:avLst/>
              <a:gdLst>
                <a:gd name="connsiteX0" fmla="*/ 261053 w 607639"/>
                <a:gd name="connsiteY0" fmla="*/ 444915 h 566217"/>
                <a:gd name="connsiteX1" fmla="*/ 245922 w 607639"/>
                <a:gd name="connsiteY1" fmla="*/ 505522 h 566217"/>
                <a:gd name="connsiteX2" fmla="*/ 361718 w 607639"/>
                <a:gd name="connsiteY2" fmla="*/ 505522 h 566217"/>
                <a:gd name="connsiteX3" fmla="*/ 346498 w 607639"/>
                <a:gd name="connsiteY3" fmla="*/ 444915 h 566217"/>
                <a:gd name="connsiteX4" fmla="*/ 0 w 607639"/>
                <a:gd name="connsiteY4" fmla="*/ 364047 h 566217"/>
                <a:gd name="connsiteX5" fmla="*/ 607639 w 607639"/>
                <a:gd name="connsiteY5" fmla="*/ 364047 h 566217"/>
                <a:gd name="connsiteX6" fmla="*/ 607639 w 607639"/>
                <a:gd name="connsiteY6" fmla="*/ 399416 h 566217"/>
                <a:gd name="connsiteX7" fmla="*/ 562069 w 607639"/>
                <a:gd name="connsiteY7" fmla="*/ 444915 h 566217"/>
                <a:gd name="connsiteX8" fmla="*/ 367414 w 607639"/>
                <a:gd name="connsiteY8" fmla="*/ 444915 h 566217"/>
                <a:gd name="connsiteX9" fmla="*/ 382634 w 607639"/>
                <a:gd name="connsiteY9" fmla="*/ 505522 h 566217"/>
                <a:gd name="connsiteX10" fmla="*/ 384859 w 607639"/>
                <a:gd name="connsiteY10" fmla="*/ 505522 h 566217"/>
                <a:gd name="connsiteX11" fmla="*/ 435414 w 607639"/>
                <a:gd name="connsiteY11" fmla="*/ 556086 h 566217"/>
                <a:gd name="connsiteX12" fmla="*/ 425356 w 607639"/>
                <a:gd name="connsiteY12" fmla="*/ 566217 h 566217"/>
                <a:gd name="connsiteX13" fmla="*/ 182283 w 607639"/>
                <a:gd name="connsiteY13" fmla="*/ 566217 h 566217"/>
                <a:gd name="connsiteX14" fmla="*/ 172136 w 607639"/>
                <a:gd name="connsiteY14" fmla="*/ 556086 h 566217"/>
                <a:gd name="connsiteX15" fmla="*/ 222780 w 607639"/>
                <a:gd name="connsiteY15" fmla="*/ 505522 h 566217"/>
                <a:gd name="connsiteX16" fmla="*/ 225006 w 607639"/>
                <a:gd name="connsiteY16" fmla="*/ 505522 h 566217"/>
                <a:gd name="connsiteX17" fmla="*/ 240225 w 607639"/>
                <a:gd name="connsiteY17" fmla="*/ 444915 h 566217"/>
                <a:gd name="connsiteX18" fmla="*/ 45571 w 607639"/>
                <a:gd name="connsiteY18" fmla="*/ 444915 h 566217"/>
                <a:gd name="connsiteX19" fmla="*/ 0 w 607639"/>
                <a:gd name="connsiteY19" fmla="*/ 399416 h 566217"/>
                <a:gd name="connsiteX20" fmla="*/ 344273 w 607639"/>
                <a:gd name="connsiteY20" fmla="*/ 273045 h 566217"/>
                <a:gd name="connsiteX21" fmla="*/ 334215 w 607639"/>
                <a:gd name="connsiteY21" fmla="*/ 283089 h 566217"/>
                <a:gd name="connsiteX22" fmla="*/ 334215 w 607639"/>
                <a:gd name="connsiteY22" fmla="*/ 313486 h 566217"/>
                <a:gd name="connsiteX23" fmla="*/ 344273 w 607639"/>
                <a:gd name="connsiteY23" fmla="*/ 323530 h 566217"/>
                <a:gd name="connsiteX24" fmla="*/ 354419 w 607639"/>
                <a:gd name="connsiteY24" fmla="*/ 313486 h 566217"/>
                <a:gd name="connsiteX25" fmla="*/ 354419 w 607639"/>
                <a:gd name="connsiteY25" fmla="*/ 283089 h 566217"/>
                <a:gd name="connsiteX26" fmla="*/ 344273 w 607639"/>
                <a:gd name="connsiteY26" fmla="*/ 273045 h 566217"/>
                <a:gd name="connsiteX27" fmla="*/ 425356 w 607639"/>
                <a:gd name="connsiteY27" fmla="*/ 252780 h 566217"/>
                <a:gd name="connsiteX28" fmla="*/ 415210 w 607639"/>
                <a:gd name="connsiteY28" fmla="*/ 262913 h 566217"/>
                <a:gd name="connsiteX29" fmla="*/ 415210 w 607639"/>
                <a:gd name="connsiteY29" fmla="*/ 313486 h 566217"/>
                <a:gd name="connsiteX30" fmla="*/ 425356 w 607639"/>
                <a:gd name="connsiteY30" fmla="*/ 323530 h 566217"/>
                <a:gd name="connsiteX31" fmla="*/ 435414 w 607639"/>
                <a:gd name="connsiteY31" fmla="*/ 313486 h 566217"/>
                <a:gd name="connsiteX32" fmla="*/ 435414 w 607639"/>
                <a:gd name="connsiteY32" fmla="*/ 262913 h 566217"/>
                <a:gd name="connsiteX33" fmla="*/ 425356 w 607639"/>
                <a:gd name="connsiteY33" fmla="*/ 252780 h 566217"/>
                <a:gd name="connsiteX34" fmla="*/ 384859 w 607639"/>
                <a:gd name="connsiteY34" fmla="*/ 232515 h 566217"/>
                <a:gd name="connsiteX35" fmla="*/ 374712 w 607639"/>
                <a:gd name="connsiteY35" fmla="*/ 242648 h 566217"/>
                <a:gd name="connsiteX36" fmla="*/ 374712 w 607639"/>
                <a:gd name="connsiteY36" fmla="*/ 313486 h 566217"/>
                <a:gd name="connsiteX37" fmla="*/ 384859 w 607639"/>
                <a:gd name="connsiteY37" fmla="*/ 323530 h 566217"/>
                <a:gd name="connsiteX38" fmla="*/ 394917 w 607639"/>
                <a:gd name="connsiteY38" fmla="*/ 313486 h 566217"/>
                <a:gd name="connsiteX39" fmla="*/ 394917 w 607639"/>
                <a:gd name="connsiteY39" fmla="*/ 242648 h 566217"/>
                <a:gd name="connsiteX40" fmla="*/ 384859 w 607639"/>
                <a:gd name="connsiteY40" fmla="*/ 232515 h 566217"/>
                <a:gd name="connsiteX41" fmla="*/ 506351 w 607639"/>
                <a:gd name="connsiteY41" fmla="*/ 222471 h 566217"/>
                <a:gd name="connsiteX42" fmla="*/ 496205 w 607639"/>
                <a:gd name="connsiteY42" fmla="*/ 232515 h 566217"/>
                <a:gd name="connsiteX43" fmla="*/ 496205 w 607639"/>
                <a:gd name="connsiteY43" fmla="*/ 313486 h 566217"/>
                <a:gd name="connsiteX44" fmla="*/ 506351 w 607639"/>
                <a:gd name="connsiteY44" fmla="*/ 323530 h 566217"/>
                <a:gd name="connsiteX45" fmla="*/ 516498 w 607639"/>
                <a:gd name="connsiteY45" fmla="*/ 313486 h 566217"/>
                <a:gd name="connsiteX46" fmla="*/ 516498 w 607639"/>
                <a:gd name="connsiteY46" fmla="*/ 232515 h 566217"/>
                <a:gd name="connsiteX47" fmla="*/ 506351 w 607639"/>
                <a:gd name="connsiteY47" fmla="*/ 222471 h 566217"/>
                <a:gd name="connsiteX48" fmla="*/ 196595 w 607639"/>
                <a:gd name="connsiteY48" fmla="*/ 192079 h 566217"/>
                <a:gd name="connsiteX49" fmla="*/ 272100 w 607639"/>
                <a:gd name="connsiteY49" fmla="*/ 192079 h 566217"/>
                <a:gd name="connsiteX50" fmla="*/ 247258 w 607639"/>
                <a:gd name="connsiteY50" fmla="*/ 242604 h 566217"/>
                <a:gd name="connsiteX51" fmla="*/ 465854 w 607639"/>
                <a:gd name="connsiteY51" fmla="*/ 182030 h 566217"/>
                <a:gd name="connsiteX52" fmla="*/ 455707 w 607639"/>
                <a:gd name="connsiteY52" fmla="*/ 192074 h 566217"/>
                <a:gd name="connsiteX53" fmla="*/ 455707 w 607639"/>
                <a:gd name="connsiteY53" fmla="*/ 313486 h 566217"/>
                <a:gd name="connsiteX54" fmla="*/ 465854 w 607639"/>
                <a:gd name="connsiteY54" fmla="*/ 323530 h 566217"/>
                <a:gd name="connsiteX55" fmla="*/ 476000 w 607639"/>
                <a:gd name="connsiteY55" fmla="*/ 313486 h 566217"/>
                <a:gd name="connsiteX56" fmla="*/ 476000 w 607639"/>
                <a:gd name="connsiteY56" fmla="*/ 192074 h 566217"/>
                <a:gd name="connsiteX57" fmla="*/ 465854 w 607639"/>
                <a:gd name="connsiteY57" fmla="*/ 182030 h 566217"/>
                <a:gd name="connsiteX58" fmla="*/ 499142 w 607639"/>
                <a:gd name="connsiteY58" fmla="*/ 103992 h 566217"/>
                <a:gd name="connsiteX59" fmla="*/ 497896 w 607639"/>
                <a:gd name="connsiteY59" fmla="*/ 105503 h 566217"/>
                <a:gd name="connsiteX60" fmla="*/ 497006 w 607639"/>
                <a:gd name="connsiteY60" fmla="*/ 107369 h 566217"/>
                <a:gd name="connsiteX61" fmla="*/ 496383 w 607639"/>
                <a:gd name="connsiteY61" fmla="*/ 109147 h 566217"/>
                <a:gd name="connsiteX62" fmla="*/ 496205 w 607639"/>
                <a:gd name="connsiteY62" fmla="*/ 111191 h 566217"/>
                <a:gd name="connsiteX63" fmla="*/ 496383 w 607639"/>
                <a:gd name="connsiteY63" fmla="*/ 113236 h 566217"/>
                <a:gd name="connsiteX64" fmla="*/ 497006 w 607639"/>
                <a:gd name="connsiteY64" fmla="*/ 115013 h 566217"/>
                <a:gd name="connsiteX65" fmla="*/ 497896 w 607639"/>
                <a:gd name="connsiteY65" fmla="*/ 116880 h 566217"/>
                <a:gd name="connsiteX66" fmla="*/ 499142 w 607639"/>
                <a:gd name="connsiteY66" fmla="*/ 118391 h 566217"/>
                <a:gd name="connsiteX67" fmla="*/ 506351 w 607639"/>
                <a:gd name="connsiteY67" fmla="*/ 121324 h 566217"/>
                <a:gd name="connsiteX68" fmla="*/ 513561 w 607639"/>
                <a:gd name="connsiteY68" fmla="*/ 118391 h 566217"/>
                <a:gd name="connsiteX69" fmla="*/ 516498 w 607639"/>
                <a:gd name="connsiteY69" fmla="*/ 111191 h 566217"/>
                <a:gd name="connsiteX70" fmla="*/ 513561 w 607639"/>
                <a:gd name="connsiteY70" fmla="*/ 103992 h 566217"/>
                <a:gd name="connsiteX71" fmla="*/ 499142 w 607639"/>
                <a:gd name="connsiteY71" fmla="*/ 103992 h 566217"/>
                <a:gd name="connsiteX72" fmla="*/ 374712 w 607639"/>
                <a:gd name="connsiteY72" fmla="*/ 101059 h 566217"/>
                <a:gd name="connsiteX73" fmla="*/ 364566 w 607639"/>
                <a:gd name="connsiteY73" fmla="*/ 111191 h 566217"/>
                <a:gd name="connsiteX74" fmla="*/ 374712 w 607639"/>
                <a:gd name="connsiteY74" fmla="*/ 121324 h 566217"/>
                <a:gd name="connsiteX75" fmla="*/ 455707 w 607639"/>
                <a:gd name="connsiteY75" fmla="*/ 121324 h 566217"/>
                <a:gd name="connsiteX76" fmla="*/ 465854 w 607639"/>
                <a:gd name="connsiteY76" fmla="*/ 111191 h 566217"/>
                <a:gd name="connsiteX77" fmla="*/ 455707 w 607639"/>
                <a:gd name="connsiteY77" fmla="*/ 101059 h 566217"/>
                <a:gd name="connsiteX78" fmla="*/ 162007 w 607639"/>
                <a:gd name="connsiteY78" fmla="*/ 82209 h 566217"/>
                <a:gd name="connsiteX79" fmla="*/ 162007 w 607639"/>
                <a:gd name="connsiteY79" fmla="*/ 181568 h 566217"/>
                <a:gd name="connsiteX80" fmla="*/ 162096 w 607639"/>
                <a:gd name="connsiteY80" fmla="*/ 181657 h 566217"/>
                <a:gd name="connsiteX81" fmla="*/ 165033 w 607639"/>
                <a:gd name="connsiteY81" fmla="*/ 189123 h 566217"/>
                <a:gd name="connsiteX82" fmla="*/ 231878 w 607639"/>
                <a:gd name="connsiteY82" fmla="*/ 255866 h 566217"/>
                <a:gd name="connsiteX83" fmla="*/ 177227 w 607639"/>
                <a:gd name="connsiteY83" fmla="*/ 273018 h 566217"/>
                <a:gd name="connsiteX84" fmla="*/ 81009 w 607639"/>
                <a:gd name="connsiteY84" fmla="*/ 176947 h 566217"/>
                <a:gd name="connsiteX85" fmla="*/ 162007 w 607639"/>
                <a:gd name="connsiteY85" fmla="*/ 82209 h 566217"/>
                <a:gd name="connsiteX86" fmla="*/ 182271 w 607639"/>
                <a:gd name="connsiteY86" fmla="*/ 81150 h 566217"/>
                <a:gd name="connsiteX87" fmla="*/ 185209 w 607639"/>
                <a:gd name="connsiteY87" fmla="*/ 81239 h 566217"/>
                <a:gd name="connsiteX88" fmla="*/ 188503 w 607639"/>
                <a:gd name="connsiteY88" fmla="*/ 81594 h 566217"/>
                <a:gd name="connsiteX89" fmla="*/ 195268 w 607639"/>
                <a:gd name="connsiteY89" fmla="*/ 82661 h 566217"/>
                <a:gd name="connsiteX90" fmla="*/ 197315 w 607639"/>
                <a:gd name="connsiteY90" fmla="*/ 83017 h 566217"/>
                <a:gd name="connsiteX91" fmla="*/ 205505 w 607639"/>
                <a:gd name="connsiteY91" fmla="*/ 85150 h 566217"/>
                <a:gd name="connsiteX92" fmla="*/ 205950 w 607639"/>
                <a:gd name="connsiteY92" fmla="*/ 85239 h 566217"/>
                <a:gd name="connsiteX93" fmla="*/ 269064 w 607639"/>
                <a:gd name="connsiteY93" fmla="*/ 148255 h 566217"/>
                <a:gd name="connsiteX94" fmla="*/ 269153 w 607639"/>
                <a:gd name="connsiteY94" fmla="*/ 148788 h 566217"/>
                <a:gd name="connsiteX95" fmla="*/ 271290 w 607639"/>
                <a:gd name="connsiteY95" fmla="*/ 156876 h 566217"/>
                <a:gd name="connsiteX96" fmla="*/ 271646 w 607639"/>
                <a:gd name="connsiteY96" fmla="*/ 158921 h 566217"/>
                <a:gd name="connsiteX97" fmla="*/ 272714 w 607639"/>
                <a:gd name="connsiteY97" fmla="*/ 165764 h 566217"/>
                <a:gd name="connsiteX98" fmla="*/ 272981 w 607639"/>
                <a:gd name="connsiteY98" fmla="*/ 168875 h 566217"/>
                <a:gd name="connsiteX99" fmla="*/ 273159 w 607639"/>
                <a:gd name="connsiteY99" fmla="*/ 171897 h 566217"/>
                <a:gd name="connsiteX100" fmla="*/ 182271 w 607639"/>
                <a:gd name="connsiteY100" fmla="*/ 171897 h 566217"/>
                <a:gd name="connsiteX101" fmla="*/ 177210 w 607639"/>
                <a:gd name="connsiteY101" fmla="*/ 60617 h 566217"/>
                <a:gd name="connsiteX102" fmla="*/ 174451 w 607639"/>
                <a:gd name="connsiteY102" fmla="*/ 60795 h 566217"/>
                <a:gd name="connsiteX103" fmla="*/ 171869 w 607639"/>
                <a:gd name="connsiteY103" fmla="*/ 60795 h 566217"/>
                <a:gd name="connsiteX104" fmla="*/ 167508 w 607639"/>
                <a:gd name="connsiteY104" fmla="*/ 61062 h 566217"/>
                <a:gd name="connsiteX105" fmla="*/ 167419 w 607639"/>
                <a:gd name="connsiteY105" fmla="*/ 61151 h 566217"/>
                <a:gd name="connsiteX106" fmla="*/ 60791 w 607639"/>
                <a:gd name="connsiteY106" fmla="*/ 176964 h 566217"/>
                <a:gd name="connsiteX107" fmla="*/ 177210 w 607639"/>
                <a:gd name="connsiteY107" fmla="*/ 293221 h 566217"/>
                <a:gd name="connsiteX108" fmla="*/ 253487 w 607639"/>
                <a:gd name="connsiteY108" fmla="*/ 264601 h 566217"/>
                <a:gd name="connsiteX109" fmla="*/ 254377 w 607639"/>
                <a:gd name="connsiteY109" fmla="*/ 264068 h 566217"/>
                <a:gd name="connsiteX110" fmla="*/ 254733 w 607639"/>
                <a:gd name="connsiteY110" fmla="*/ 263535 h 566217"/>
                <a:gd name="connsiteX111" fmla="*/ 293184 w 607639"/>
                <a:gd name="connsiteY111" fmla="*/ 186652 h 566217"/>
                <a:gd name="connsiteX112" fmla="*/ 293362 w 607639"/>
                <a:gd name="connsiteY112" fmla="*/ 186474 h 566217"/>
                <a:gd name="connsiteX113" fmla="*/ 293540 w 607639"/>
                <a:gd name="connsiteY113" fmla="*/ 182297 h 566217"/>
                <a:gd name="connsiteX114" fmla="*/ 293540 w 607639"/>
                <a:gd name="connsiteY114" fmla="*/ 179630 h 566217"/>
                <a:gd name="connsiteX115" fmla="*/ 293718 w 607639"/>
                <a:gd name="connsiteY115" fmla="*/ 176964 h 566217"/>
                <a:gd name="connsiteX116" fmla="*/ 293540 w 607639"/>
                <a:gd name="connsiteY116" fmla="*/ 173320 h 566217"/>
                <a:gd name="connsiteX117" fmla="*/ 293184 w 607639"/>
                <a:gd name="connsiteY117" fmla="*/ 167898 h 566217"/>
                <a:gd name="connsiteX118" fmla="*/ 292383 w 607639"/>
                <a:gd name="connsiteY118" fmla="*/ 160698 h 566217"/>
                <a:gd name="connsiteX119" fmla="*/ 291760 w 607639"/>
                <a:gd name="connsiteY119" fmla="*/ 156432 h 566217"/>
                <a:gd name="connsiteX120" fmla="*/ 290068 w 607639"/>
                <a:gd name="connsiteY120" fmla="*/ 148522 h 566217"/>
                <a:gd name="connsiteX121" fmla="*/ 289178 w 607639"/>
                <a:gd name="connsiteY121" fmla="*/ 145144 h 566217"/>
                <a:gd name="connsiteX122" fmla="*/ 286508 w 607639"/>
                <a:gd name="connsiteY122" fmla="*/ 137145 h 566217"/>
                <a:gd name="connsiteX123" fmla="*/ 285351 w 607639"/>
                <a:gd name="connsiteY123" fmla="*/ 133856 h 566217"/>
                <a:gd name="connsiteX124" fmla="*/ 282058 w 607639"/>
                <a:gd name="connsiteY124" fmla="*/ 126657 h 566217"/>
                <a:gd name="connsiteX125" fmla="*/ 280278 w 607639"/>
                <a:gd name="connsiteY125" fmla="*/ 122924 h 566217"/>
                <a:gd name="connsiteX126" fmla="*/ 276896 w 607639"/>
                <a:gd name="connsiteY126" fmla="*/ 117057 h 566217"/>
                <a:gd name="connsiteX127" fmla="*/ 274136 w 607639"/>
                <a:gd name="connsiteY127" fmla="*/ 112613 h 566217"/>
                <a:gd name="connsiteX128" fmla="*/ 271199 w 607639"/>
                <a:gd name="connsiteY128" fmla="*/ 108525 h 566217"/>
                <a:gd name="connsiteX129" fmla="*/ 267105 w 607639"/>
                <a:gd name="connsiteY129" fmla="*/ 103014 h 566217"/>
                <a:gd name="connsiteX130" fmla="*/ 266571 w 607639"/>
                <a:gd name="connsiteY130" fmla="*/ 102481 h 566217"/>
                <a:gd name="connsiteX131" fmla="*/ 259540 w 607639"/>
                <a:gd name="connsiteY131" fmla="*/ 94659 h 566217"/>
                <a:gd name="connsiteX132" fmla="*/ 251351 w 607639"/>
                <a:gd name="connsiteY132" fmla="*/ 87371 h 566217"/>
                <a:gd name="connsiteX133" fmla="*/ 251262 w 607639"/>
                <a:gd name="connsiteY133" fmla="*/ 87193 h 566217"/>
                <a:gd name="connsiteX134" fmla="*/ 245388 w 607639"/>
                <a:gd name="connsiteY134" fmla="*/ 82838 h 566217"/>
                <a:gd name="connsiteX135" fmla="*/ 241739 w 607639"/>
                <a:gd name="connsiteY135" fmla="*/ 80171 h 566217"/>
                <a:gd name="connsiteX136" fmla="*/ 236843 w 607639"/>
                <a:gd name="connsiteY136" fmla="*/ 77238 h 566217"/>
                <a:gd name="connsiteX137" fmla="*/ 231414 w 607639"/>
                <a:gd name="connsiteY137" fmla="*/ 74039 h 566217"/>
                <a:gd name="connsiteX138" fmla="*/ 227231 w 607639"/>
                <a:gd name="connsiteY138" fmla="*/ 72083 h 566217"/>
                <a:gd name="connsiteX139" fmla="*/ 220466 w 607639"/>
                <a:gd name="connsiteY139" fmla="*/ 69061 h 566217"/>
                <a:gd name="connsiteX140" fmla="*/ 216817 w 607639"/>
                <a:gd name="connsiteY140" fmla="*/ 67728 h 566217"/>
                <a:gd name="connsiteX141" fmla="*/ 209252 w 607639"/>
                <a:gd name="connsiteY141" fmla="*/ 65239 h 566217"/>
                <a:gd name="connsiteX142" fmla="*/ 205513 w 607639"/>
                <a:gd name="connsiteY142" fmla="*/ 64262 h 566217"/>
                <a:gd name="connsiteX143" fmla="*/ 197770 w 607639"/>
                <a:gd name="connsiteY143" fmla="*/ 62573 h 566217"/>
                <a:gd name="connsiteX144" fmla="*/ 193498 w 607639"/>
                <a:gd name="connsiteY144" fmla="*/ 61951 h 566217"/>
                <a:gd name="connsiteX145" fmla="*/ 186199 w 607639"/>
                <a:gd name="connsiteY145" fmla="*/ 61062 h 566217"/>
                <a:gd name="connsiteX146" fmla="*/ 181037 w 607639"/>
                <a:gd name="connsiteY146" fmla="*/ 60795 h 566217"/>
                <a:gd name="connsiteX147" fmla="*/ 177210 w 607639"/>
                <a:gd name="connsiteY147" fmla="*/ 60617 h 566217"/>
                <a:gd name="connsiteX148" fmla="*/ 431587 w 607639"/>
                <a:gd name="connsiteY148" fmla="*/ 51374 h 566217"/>
                <a:gd name="connsiteX149" fmla="*/ 428294 w 607639"/>
                <a:gd name="connsiteY149" fmla="*/ 53418 h 566217"/>
                <a:gd name="connsiteX150" fmla="*/ 425356 w 607639"/>
                <a:gd name="connsiteY150" fmla="*/ 60617 h 566217"/>
                <a:gd name="connsiteX151" fmla="*/ 428294 w 607639"/>
                <a:gd name="connsiteY151" fmla="*/ 67817 h 566217"/>
                <a:gd name="connsiteX152" fmla="*/ 435414 w 607639"/>
                <a:gd name="connsiteY152" fmla="*/ 70750 h 566217"/>
                <a:gd name="connsiteX153" fmla="*/ 442623 w 607639"/>
                <a:gd name="connsiteY153" fmla="*/ 67817 h 566217"/>
                <a:gd name="connsiteX154" fmla="*/ 445561 w 607639"/>
                <a:gd name="connsiteY154" fmla="*/ 60617 h 566217"/>
                <a:gd name="connsiteX155" fmla="*/ 442623 w 607639"/>
                <a:gd name="connsiteY155" fmla="*/ 53418 h 566217"/>
                <a:gd name="connsiteX156" fmla="*/ 431587 w 607639"/>
                <a:gd name="connsiteY156" fmla="*/ 51374 h 566217"/>
                <a:gd name="connsiteX157" fmla="*/ 476000 w 607639"/>
                <a:gd name="connsiteY157" fmla="*/ 50485 h 566217"/>
                <a:gd name="connsiteX158" fmla="*/ 465854 w 607639"/>
                <a:gd name="connsiteY158" fmla="*/ 60617 h 566217"/>
                <a:gd name="connsiteX159" fmla="*/ 476000 w 607639"/>
                <a:gd name="connsiteY159" fmla="*/ 70750 h 566217"/>
                <a:gd name="connsiteX160" fmla="*/ 506351 w 607639"/>
                <a:gd name="connsiteY160" fmla="*/ 70750 h 566217"/>
                <a:gd name="connsiteX161" fmla="*/ 516498 w 607639"/>
                <a:gd name="connsiteY161" fmla="*/ 60617 h 566217"/>
                <a:gd name="connsiteX162" fmla="*/ 506351 w 607639"/>
                <a:gd name="connsiteY162" fmla="*/ 50485 h 566217"/>
                <a:gd name="connsiteX163" fmla="*/ 374712 w 607639"/>
                <a:gd name="connsiteY163" fmla="*/ 50485 h 566217"/>
                <a:gd name="connsiteX164" fmla="*/ 364566 w 607639"/>
                <a:gd name="connsiteY164" fmla="*/ 60617 h 566217"/>
                <a:gd name="connsiteX165" fmla="*/ 374712 w 607639"/>
                <a:gd name="connsiteY165" fmla="*/ 70750 h 566217"/>
                <a:gd name="connsiteX166" fmla="*/ 394917 w 607639"/>
                <a:gd name="connsiteY166" fmla="*/ 70750 h 566217"/>
                <a:gd name="connsiteX167" fmla="*/ 405063 w 607639"/>
                <a:gd name="connsiteY167" fmla="*/ 60617 h 566217"/>
                <a:gd name="connsiteX168" fmla="*/ 394917 w 607639"/>
                <a:gd name="connsiteY168" fmla="*/ 50485 h 566217"/>
                <a:gd name="connsiteX169" fmla="*/ 45571 w 607639"/>
                <a:gd name="connsiteY169" fmla="*/ 0 h 566217"/>
                <a:gd name="connsiteX170" fmla="*/ 562069 w 607639"/>
                <a:gd name="connsiteY170" fmla="*/ 0 h 566217"/>
                <a:gd name="connsiteX171" fmla="*/ 607639 w 607639"/>
                <a:gd name="connsiteY171" fmla="*/ 45508 h 566217"/>
                <a:gd name="connsiteX172" fmla="*/ 607639 w 607639"/>
                <a:gd name="connsiteY172" fmla="*/ 343795 h 566217"/>
                <a:gd name="connsiteX173" fmla="*/ 0 w 607639"/>
                <a:gd name="connsiteY173" fmla="*/ 343795 h 566217"/>
                <a:gd name="connsiteX174" fmla="*/ 0 w 607639"/>
                <a:gd name="connsiteY174" fmla="*/ 45508 h 566217"/>
                <a:gd name="connsiteX175" fmla="*/ 45571 w 607639"/>
                <a:gd name="connsiteY175" fmla="*/ 0 h 566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</a:cxnLst>
              <a:rect l="l" t="t" r="r" b="b"/>
              <a:pathLst>
                <a:path w="607639" h="566217">
                  <a:moveTo>
                    <a:pt x="261053" y="444915"/>
                  </a:moveTo>
                  <a:lnTo>
                    <a:pt x="245922" y="505522"/>
                  </a:lnTo>
                  <a:lnTo>
                    <a:pt x="361718" y="505522"/>
                  </a:lnTo>
                  <a:lnTo>
                    <a:pt x="346498" y="444915"/>
                  </a:lnTo>
                  <a:close/>
                  <a:moveTo>
                    <a:pt x="0" y="364047"/>
                  </a:moveTo>
                  <a:lnTo>
                    <a:pt x="607639" y="364047"/>
                  </a:lnTo>
                  <a:lnTo>
                    <a:pt x="607639" y="399416"/>
                  </a:lnTo>
                  <a:cubicBezTo>
                    <a:pt x="607639" y="424476"/>
                    <a:pt x="587168" y="444915"/>
                    <a:pt x="562069" y="444915"/>
                  </a:cubicBezTo>
                  <a:lnTo>
                    <a:pt x="367414" y="444915"/>
                  </a:lnTo>
                  <a:lnTo>
                    <a:pt x="382634" y="505522"/>
                  </a:lnTo>
                  <a:lnTo>
                    <a:pt x="384859" y="505522"/>
                  </a:lnTo>
                  <a:cubicBezTo>
                    <a:pt x="412718" y="505522"/>
                    <a:pt x="435414" y="528271"/>
                    <a:pt x="435414" y="556086"/>
                  </a:cubicBezTo>
                  <a:cubicBezTo>
                    <a:pt x="435414" y="561685"/>
                    <a:pt x="430964" y="566217"/>
                    <a:pt x="425356" y="566217"/>
                  </a:cubicBezTo>
                  <a:lnTo>
                    <a:pt x="182283" y="566217"/>
                  </a:lnTo>
                  <a:cubicBezTo>
                    <a:pt x="176676" y="566217"/>
                    <a:pt x="172136" y="561685"/>
                    <a:pt x="172136" y="556086"/>
                  </a:cubicBezTo>
                  <a:cubicBezTo>
                    <a:pt x="172136" y="528271"/>
                    <a:pt x="194833" y="505522"/>
                    <a:pt x="222780" y="505522"/>
                  </a:cubicBezTo>
                  <a:lnTo>
                    <a:pt x="225006" y="505522"/>
                  </a:lnTo>
                  <a:lnTo>
                    <a:pt x="240225" y="444915"/>
                  </a:lnTo>
                  <a:lnTo>
                    <a:pt x="45571" y="444915"/>
                  </a:lnTo>
                  <a:cubicBezTo>
                    <a:pt x="20471" y="444915"/>
                    <a:pt x="0" y="424476"/>
                    <a:pt x="0" y="399416"/>
                  </a:cubicBezTo>
                  <a:close/>
                  <a:moveTo>
                    <a:pt x="344273" y="273045"/>
                  </a:moveTo>
                  <a:cubicBezTo>
                    <a:pt x="338754" y="273045"/>
                    <a:pt x="334215" y="277578"/>
                    <a:pt x="334215" y="283089"/>
                  </a:cubicBezTo>
                  <a:lnTo>
                    <a:pt x="334215" y="313486"/>
                  </a:lnTo>
                  <a:cubicBezTo>
                    <a:pt x="334215" y="318997"/>
                    <a:pt x="338754" y="323530"/>
                    <a:pt x="344273" y="323530"/>
                  </a:cubicBezTo>
                  <a:cubicBezTo>
                    <a:pt x="349880" y="323530"/>
                    <a:pt x="354419" y="318997"/>
                    <a:pt x="354419" y="313486"/>
                  </a:cubicBezTo>
                  <a:lnTo>
                    <a:pt x="354419" y="283089"/>
                  </a:lnTo>
                  <a:cubicBezTo>
                    <a:pt x="354419" y="277578"/>
                    <a:pt x="349880" y="273045"/>
                    <a:pt x="344273" y="273045"/>
                  </a:cubicBezTo>
                  <a:close/>
                  <a:moveTo>
                    <a:pt x="425356" y="252780"/>
                  </a:moveTo>
                  <a:cubicBezTo>
                    <a:pt x="419749" y="252780"/>
                    <a:pt x="415210" y="257313"/>
                    <a:pt x="415210" y="262913"/>
                  </a:cubicBezTo>
                  <a:lnTo>
                    <a:pt x="415210" y="313486"/>
                  </a:lnTo>
                  <a:cubicBezTo>
                    <a:pt x="415210" y="318997"/>
                    <a:pt x="419749" y="323530"/>
                    <a:pt x="425356" y="323530"/>
                  </a:cubicBezTo>
                  <a:cubicBezTo>
                    <a:pt x="430964" y="323530"/>
                    <a:pt x="435414" y="318997"/>
                    <a:pt x="435414" y="313486"/>
                  </a:cubicBezTo>
                  <a:lnTo>
                    <a:pt x="435414" y="262913"/>
                  </a:lnTo>
                  <a:cubicBezTo>
                    <a:pt x="435414" y="257313"/>
                    <a:pt x="430964" y="252780"/>
                    <a:pt x="425356" y="252780"/>
                  </a:cubicBezTo>
                  <a:close/>
                  <a:moveTo>
                    <a:pt x="384859" y="232515"/>
                  </a:moveTo>
                  <a:cubicBezTo>
                    <a:pt x="379252" y="232515"/>
                    <a:pt x="374712" y="237048"/>
                    <a:pt x="374712" y="242648"/>
                  </a:cubicBezTo>
                  <a:lnTo>
                    <a:pt x="374712" y="313486"/>
                  </a:lnTo>
                  <a:cubicBezTo>
                    <a:pt x="374712" y="318997"/>
                    <a:pt x="379252" y="323530"/>
                    <a:pt x="384859" y="323530"/>
                  </a:cubicBezTo>
                  <a:cubicBezTo>
                    <a:pt x="390466" y="323530"/>
                    <a:pt x="394917" y="318997"/>
                    <a:pt x="394917" y="313486"/>
                  </a:cubicBezTo>
                  <a:lnTo>
                    <a:pt x="394917" y="242648"/>
                  </a:lnTo>
                  <a:cubicBezTo>
                    <a:pt x="394917" y="237048"/>
                    <a:pt x="390466" y="232515"/>
                    <a:pt x="384859" y="232515"/>
                  </a:cubicBezTo>
                  <a:close/>
                  <a:moveTo>
                    <a:pt x="506351" y="222471"/>
                  </a:moveTo>
                  <a:cubicBezTo>
                    <a:pt x="500744" y="222471"/>
                    <a:pt x="496205" y="227004"/>
                    <a:pt x="496205" y="232515"/>
                  </a:cubicBezTo>
                  <a:lnTo>
                    <a:pt x="496205" y="313486"/>
                  </a:lnTo>
                  <a:cubicBezTo>
                    <a:pt x="496205" y="318997"/>
                    <a:pt x="500744" y="323530"/>
                    <a:pt x="506351" y="323530"/>
                  </a:cubicBezTo>
                  <a:cubicBezTo>
                    <a:pt x="511959" y="323530"/>
                    <a:pt x="516498" y="318997"/>
                    <a:pt x="516498" y="313486"/>
                  </a:cubicBezTo>
                  <a:lnTo>
                    <a:pt x="516498" y="232515"/>
                  </a:lnTo>
                  <a:cubicBezTo>
                    <a:pt x="516498" y="227004"/>
                    <a:pt x="511959" y="222471"/>
                    <a:pt x="506351" y="222471"/>
                  </a:cubicBezTo>
                  <a:close/>
                  <a:moveTo>
                    <a:pt x="196595" y="192079"/>
                  </a:moveTo>
                  <a:lnTo>
                    <a:pt x="272100" y="192079"/>
                  </a:lnTo>
                  <a:cubicBezTo>
                    <a:pt x="268984" y="211437"/>
                    <a:pt x="260080" y="228929"/>
                    <a:pt x="247258" y="242604"/>
                  </a:cubicBezTo>
                  <a:close/>
                  <a:moveTo>
                    <a:pt x="465854" y="182030"/>
                  </a:moveTo>
                  <a:cubicBezTo>
                    <a:pt x="460247" y="182030"/>
                    <a:pt x="455707" y="186563"/>
                    <a:pt x="455707" y="192074"/>
                  </a:cubicBezTo>
                  <a:lnTo>
                    <a:pt x="455707" y="313486"/>
                  </a:lnTo>
                  <a:cubicBezTo>
                    <a:pt x="455707" y="318997"/>
                    <a:pt x="460247" y="323530"/>
                    <a:pt x="465854" y="323530"/>
                  </a:cubicBezTo>
                  <a:cubicBezTo>
                    <a:pt x="471461" y="323530"/>
                    <a:pt x="476000" y="318997"/>
                    <a:pt x="476000" y="313486"/>
                  </a:cubicBezTo>
                  <a:lnTo>
                    <a:pt x="476000" y="192074"/>
                  </a:lnTo>
                  <a:cubicBezTo>
                    <a:pt x="476000" y="186563"/>
                    <a:pt x="471461" y="182030"/>
                    <a:pt x="465854" y="182030"/>
                  </a:cubicBezTo>
                  <a:close/>
                  <a:moveTo>
                    <a:pt x="499142" y="103992"/>
                  </a:moveTo>
                  <a:cubicBezTo>
                    <a:pt x="498786" y="104525"/>
                    <a:pt x="498252" y="105058"/>
                    <a:pt x="497896" y="105503"/>
                  </a:cubicBezTo>
                  <a:cubicBezTo>
                    <a:pt x="497540" y="106125"/>
                    <a:pt x="497273" y="106747"/>
                    <a:pt x="497006" y="107369"/>
                  </a:cubicBezTo>
                  <a:cubicBezTo>
                    <a:pt x="496739" y="107992"/>
                    <a:pt x="496561" y="108614"/>
                    <a:pt x="496383" y="109147"/>
                  </a:cubicBezTo>
                  <a:cubicBezTo>
                    <a:pt x="496294" y="109858"/>
                    <a:pt x="496205" y="110569"/>
                    <a:pt x="496205" y="111191"/>
                  </a:cubicBezTo>
                  <a:cubicBezTo>
                    <a:pt x="496205" y="111813"/>
                    <a:pt x="496294" y="112524"/>
                    <a:pt x="496383" y="113236"/>
                  </a:cubicBezTo>
                  <a:cubicBezTo>
                    <a:pt x="496561" y="113858"/>
                    <a:pt x="496739" y="114480"/>
                    <a:pt x="497006" y="115013"/>
                  </a:cubicBezTo>
                  <a:cubicBezTo>
                    <a:pt x="497273" y="115635"/>
                    <a:pt x="497540" y="116258"/>
                    <a:pt x="497896" y="116880"/>
                  </a:cubicBezTo>
                  <a:cubicBezTo>
                    <a:pt x="498252" y="117413"/>
                    <a:pt x="498786" y="117857"/>
                    <a:pt x="499142" y="118391"/>
                  </a:cubicBezTo>
                  <a:cubicBezTo>
                    <a:pt x="501100" y="120168"/>
                    <a:pt x="503681" y="121324"/>
                    <a:pt x="506351" y="121324"/>
                  </a:cubicBezTo>
                  <a:cubicBezTo>
                    <a:pt x="509021" y="121324"/>
                    <a:pt x="511603" y="120168"/>
                    <a:pt x="513561" y="118391"/>
                  </a:cubicBezTo>
                  <a:cubicBezTo>
                    <a:pt x="515341" y="116435"/>
                    <a:pt x="516498" y="113947"/>
                    <a:pt x="516498" y="111191"/>
                  </a:cubicBezTo>
                  <a:cubicBezTo>
                    <a:pt x="516498" y="108436"/>
                    <a:pt x="515341" y="105947"/>
                    <a:pt x="513561" y="103992"/>
                  </a:cubicBezTo>
                  <a:cubicBezTo>
                    <a:pt x="509644" y="100259"/>
                    <a:pt x="502880" y="100259"/>
                    <a:pt x="499142" y="103992"/>
                  </a:cubicBezTo>
                  <a:close/>
                  <a:moveTo>
                    <a:pt x="374712" y="101059"/>
                  </a:moveTo>
                  <a:cubicBezTo>
                    <a:pt x="369105" y="101059"/>
                    <a:pt x="364566" y="105592"/>
                    <a:pt x="364566" y="111191"/>
                  </a:cubicBezTo>
                  <a:cubicBezTo>
                    <a:pt x="364566" y="116791"/>
                    <a:pt x="369105" y="121324"/>
                    <a:pt x="374712" y="121324"/>
                  </a:cubicBezTo>
                  <a:lnTo>
                    <a:pt x="455707" y="121324"/>
                  </a:lnTo>
                  <a:cubicBezTo>
                    <a:pt x="461315" y="121324"/>
                    <a:pt x="465854" y="116791"/>
                    <a:pt x="465854" y="111191"/>
                  </a:cubicBezTo>
                  <a:cubicBezTo>
                    <a:pt x="465854" y="105592"/>
                    <a:pt x="461315" y="101059"/>
                    <a:pt x="455707" y="101059"/>
                  </a:cubicBezTo>
                  <a:close/>
                  <a:moveTo>
                    <a:pt x="162007" y="82209"/>
                  </a:moveTo>
                  <a:lnTo>
                    <a:pt x="162007" y="181568"/>
                  </a:lnTo>
                  <a:lnTo>
                    <a:pt x="162096" y="181657"/>
                  </a:lnTo>
                  <a:cubicBezTo>
                    <a:pt x="162007" y="184323"/>
                    <a:pt x="162986" y="187078"/>
                    <a:pt x="165033" y="189123"/>
                  </a:cubicBezTo>
                  <a:lnTo>
                    <a:pt x="231878" y="255866"/>
                  </a:lnTo>
                  <a:cubicBezTo>
                    <a:pt x="216391" y="266619"/>
                    <a:pt x="197521" y="273018"/>
                    <a:pt x="177227" y="273018"/>
                  </a:cubicBezTo>
                  <a:cubicBezTo>
                    <a:pt x="124178" y="273018"/>
                    <a:pt x="81009" y="229915"/>
                    <a:pt x="81009" y="176947"/>
                  </a:cubicBezTo>
                  <a:cubicBezTo>
                    <a:pt x="81009" y="129134"/>
                    <a:pt x="116257" y="89497"/>
                    <a:pt x="162007" y="82209"/>
                  </a:cubicBezTo>
                  <a:close/>
                  <a:moveTo>
                    <a:pt x="182271" y="81150"/>
                  </a:moveTo>
                  <a:cubicBezTo>
                    <a:pt x="183250" y="81150"/>
                    <a:pt x="184230" y="81150"/>
                    <a:pt x="185209" y="81239"/>
                  </a:cubicBezTo>
                  <a:cubicBezTo>
                    <a:pt x="186277" y="81328"/>
                    <a:pt x="187434" y="81417"/>
                    <a:pt x="188503" y="81594"/>
                  </a:cubicBezTo>
                  <a:cubicBezTo>
                    <a:pt x="190728" y="81861"/>
                    <a:pt x="193043" y="82217"/>
                    <a:pt x="195268" y="82661"/>
                  </a:cubicBezTo>
                  <a:cubicBezTo>
                    <a:pt x="195891" y="82750"/>
                    <a:pt x="196603" y="82839"/>
                    <a:pt x="197315" y="83017"/>
                  </a:cubicBezTo>
                  <a:cubicBezTo>
                    <a:pt x="200075" y="83550"/>
                    <a:pt x="202835" y="84261"/>
                    <a:pt x="205505" y="85150"/>
                  </a:cubicBezTo>
                  <a:cubicBezTo>
                    <a:pt x="205594" y="85150"/>
                    <a:pt x="205772" y="85150"/>
                    <a:pt x="205950" y="85239"/>
                  </a:cubicBezTo>
                  <a:cubicBezTo>
                    <a:pt x="235949" y="94571"/>
                    <a:pt x="259628" y="118302"/>
                    <a:pt x="269064" y="148255"/>
                  </a:cubicBezTo>
                  <a:cubicBezTo>
                    <a:pt x="269064" y="148433"/>
                    <a:pt x="269153" y="148610"/>
                    <a:pt x="269153" y="148788"/>
                  </a:cubicBezTo>
                  <a:cubicBezTo>
                    <a:pt x="270044" y="151455"/>
                    <a:pt x="270667" y="154121"/>
                    <a:pt x="271290" y="156876"/>
                  </a:cubicBezTo>
                  <a:cubicBezTo>
                    <a:pt x="271468" y="157587"/>
                    <a:pt x="271557" y="158209"/>
                    <a:pt x="271646" y="158921"/>
                  </a:cubicBezTo>
                  <a:cubicBezTo>
                    <a:pt x="272091" y="161143"/>
                    <a:pt x="272447" y="163453"/>
                    <a:pt x="272714" y="165764"/>
                  </a:cubicBezTo>
                  <a:cubicBezTo>
                    <a:pt x="272803" y="166742"/>
                    <a:pt x="272892" y="167809"/>
                    <a:pt x="272981" y="168875"/>
                  </a:cubicBezTo>
                  <a:cubicBezTo>
                    <a:pt x="273070" y="169853"/>
                    <a:pt x="273159" y="170831"/>
                    <a:pt x="273159" y="171897"/>
                  </a:cubicBezTo>
                  <a:lnTo>
                    <a:pt x="182271" y="171897"/>
                  </a:lnTo>
                  <a:close/>
                  <a:moveTo>
                    <a:pt x="177210" y="60617"/>
                  </a:moveTo>
                  <a:cubicBezTo>
                    <a:pt x="176320" y="60617"/>
                    <a:pt x="175430" y="60795"/>
                    <a:pt x="174451" y="60795"/>
                  </a:cubicBezTo>
                  <a:cubicBezTo>
                    <a:pt x="173561" y="60795"/>
                    <a:pt x="172759" y="60706"/>
                    <a:pt x="171869" y="60795"/>
                  </a:cubicBezTo>
                  <a:lnTo>
                    <a:pt x="167508" y="61062"/>
                  </a:lnTo>
                  <a:lnTo>
                    <a:pt x="167419" y="61151"/>
                  </a:lnTo>
                  <a:cubicBezTo>
                    <a:pt x="107786" y="66128"/>
                    <a:pt x="60791" y="116080"/>
                    <a:pt x="60791" y="176964"/>
                  </a:cubicBezTo>
                  <a:cubicBezTo>
                    <a:pt x="60791" y="241048"/>
                    <a:pt x="113037" y="293221"/>
                    <a:pt x="177210" y="293221"/>
                  </a:cubicBezTo>
                  <a:cubicBezTo>
                    <a:pt x="206403" y="293221"/>
                    <a:pt x="233016" y="282378"/>
                    <a:pt x="253487" y="264601"/>
                  </a:cubicBezTo>
                  <a:cubicBezTo>
                    <a:pt x="253754" y="264424"/>
                    <a:pt x="254110" y="264335"/>
                    <a:pt x="254377" y="264068"/>
                  </a:cubicBezTo>
                  <a:cubicBezTo>
                    <a:pt x="254466" y="263890"/>
                    <a:pt x="254555" y="263713"/>
                    <a:pt x="254733" y="263535"/>
                  </a:cubicBezTo>
                  <a:cubicBezTo>
                    <a:pt x="276273" y="244247"/>
                    <a:pt x="290602" y="217138"/>
                    <a:pt x="293184" y="186652"/>
                  </a:cubicBezTo>
                  <a:lnTo>
                    <a:pt x="293362" y="186474"/>
                  </a:lnTo>
                  <a:lnTo>
                    <a:pt x="293540" y="182297"/>
                  </a:lnTo>
                  <a:cubicBezTo>
                    <a:pt x="293629" y="181408"/>
                    <a:pt x="293540" y="180519"/>
                    <a:pt x="293540" y="179630"/>
                  </a:cubicBezTo>
                  <a:cubicBezTo>
                    <a:pt x="293540" y="178741"/>
                    <a:pt x="293718" y="177853"/>
                    <a:pt x="293718" y="176964"/>
                  </a:cubicBezTo>
                  <a:cubicBezTo>
                    <a:pt x="293718" y="175719"/>
                    <a:pt x="293540" y="174475"/>
                    <a:pt x="293540" y="173320"/>
                  </a:cubicBezTo>
                  <a:cubicBezTo>
                    <a:pt x="293451" y="171453"/>
                    <a:pt x="293362" y="169676"/>
                    <a:pt x="293184" y="167898"/>
                  </a:cubicBezTo>
                  <a:cubicBezTo>
                    <a:pt x="293006" y="165498"/>
                    <a:pt x="292739" y="163098"/>
                    <a:pt x="292383" y="160698"/>
                  </a:cubicBezTo>
                  <a:cubicBezTo>
                    <a:pt x="292205" y="159276"/>
                    <a:pt x="292027" y="157854"/>
                    <a:pt x="291760" y="156432"/>
                  </a:cubicBezTo>
                  <a:cubicBezTo>
                    <a:pt x="291314" y="153766"/>
                    <a:pt x="290691" y="151188"/>
                    <a:pt x="290068" y="148522"/>
                  </a:cubicBezTo>
                  <a:cubicBezTo>
                    <a:pt x="289712" y="147366"/>
                    <a:pt x="289445" y="146211"/>
                    <a:pt x="289178" y="145144"/>
                  </a:cubicBezTo>
                  <a:cubicBezTo>
                    <a:pt x="288377" y="142389"/>
                    <a:pt x="287487" y="139722"/>
                    <a:pt x="286508" y="137145"/>
                  </a:cubicBezTo>
                  <a:cubicBezTo>
                    <a:pt x="286152" y="136078"/>
                    <a:pt x="285707" y="134923"/>
                    <a:pt x="285351" y="133856"/>
                  </a:cubicBezTo>
                  <a:cubicBezTo>
                    <a:pt x="284283" y="131367"/>
                    <a:pt x="283215" y="129057"/>
                    <a:pt x="282058" y="126657"/>
                  </a:cubicBezTo>
                  <a:cubicBezTo>
                    <a:pt x="281435" y="125412"/>
                    <a:pt x="280901" y="124168"/>
                    <a:pt x="280278" y="122924"/>
                  </a:cubicBezTo>
                  <a:cubicBezTo>
                    <a:pt x="279210" y="120968"/>
                    <a:pt x="278053" y="119013"/>
                    <a:pt x="276896" y="117057"/>
                  </a:cubicBezTo>
                  <a:cubicBezTo>
                    <a:pt x="276006" y="115546"/>
                    <a:pt x="275116" y="114035"/>
                    <a:pt x="274136" y="112613"/>
                  </a:cubicBezTo>
                  <a:cubicBezTo>
                    <a:pt x="273246" y="111191"/>
                    <a:pt x="272178" y="109858"/>
                    <a:pt x="271199" y="108525"/>
                  </a:cubicBezTo>
                  <a:cubicBezTo>
                    <a:pt x="269864" y="106658"/>
                    <a:pt x="268529" y="104792"/>
                    <a:pt x="267105" y="103014"/>
                  </a:cubicBezTo>
                  <a:cubicBezTo>
                    <a:pt x="266927" y="102836"/>
                    <a:pt x="266749" y="102659"/>
                    <a:pt x="266571" y="102481"/>
                  </a:cubicBezTo>
                  <a:cubicBezTo>
                    <a:pt x="264346" y="99814"/>
                    <a:pt x="262032" y="97148"/>
                    <a:pt x="259540" y="94659"/>
                  </a:cubicBezTo>
                  <a:cubicBezTo>
                    <a:pt x="256958" y="92082"/>
                    <a:pt x="254199" y="89682"/>
                    <a:pt x="251351" y="87371"/>
                  </a:cubicBezTo>
                  <a:cubicBezTo>
                    <a:pt x="251351" y="87282"/>
                    <a:pt x="251262" y="87282"/>
                    <a:pt x="251262" y="87193"/>
                  </a:cubicBezTo>
                  <a:cubicBezTo>
                    <a:pt x="249393" y="85682"/>
                    <a:pt x="247346" y="84260"/>
                    <a:pt x="245388" y="82838"/>
                  </a:cubicBezTo>
                  <a:cubicBezTo>
                    <a:pt x="244142" y="81949"/>
                    <a:pt x="242985" y="81060"/>
                    <a:pt x="241739" y="80171"/>
                  </a:cubicBezTo>
                  <a:cubicBezTo>
                    <a:pt x="240136" y="79105"/>
                    <a:pt x="238445" y="78216"/>
                    <a:pt x="236843" y="77238"/>
                  </a:cubicBezTo>
                  <a:cubicBezTo>
                    <a:pt x="235063" y="76172"/>
                    <a:pt x="233283" y="75105"/>
                    <a:pt x="231414" y="74039"/>
                  </a:cubicBezTo>
                  <a:cubicBezTo>
                    <a:pt x="230079" y="73328"/>
                    <a:pt x="228655" y="72705"/>
                    <a:pt x="227231" y="72083"/>
                  </a:cubicBezTo>
                  <a:cubicBezTo>
                    <a:pt x="225006" y="71017"/>
                    <a:pt x="222780" y="69950"/>
                    <a:pt x="220466" y="69061"/>
                  </a:cubicBezTo>
                  <a:cubicBezTo>
                    <a:pt x="219309" y="68617"/>
                    <a:pt x="218063" y="68172"/>
                    <a:pt x="216817" y="67728"/>
                  </a:cubicBezTo>
                  <a:cubicBezTo>
                    <a:pt x="214325" y="66839"/>
                    <a:pt x="211833" y="65950"/>
                    <a:pt x="209252" y="65239"/>
                  </a:cubicBezTo>
                  <a:cubicBezTo>
                    <a:pt x="208006" y="64884"/>
                    <a:pt x="206759" y="64617"/>
                    <a:pt x="205513" y="64262"/>
                  </a:cubicBezTo>
                  <a:cubicBezTo>
                    <a:pt x="202932" y="63639"/>
                    <a:pt x="200440" y="63017"/>
                    <a:pt x="197770" y="62573"/>
                  </a:cubicBezTo>
                  <a:cubicBezTo>
                    <a:pt x="196346" y="62306"/>
                    <a:pt x="194922" y="62128"/>
                    <a:pt x="193498" y="61951"/>
                  </a:cubicBezTo>
                  <a:cubicBezTo>
                    <a:pt x="191095" y="61595"/>
                    <a:pt x="188691" y="61329"/>
                    <a:pt x="186199" y="61062"/>
                  </a:cubicBezTo>
                  <a:cubicBezTo>
                    <a:pt x="184508" y="60973"/>
                    <a:pt x="182728" y="60884"/>
                    <a:pt x="181037" y="60795"/>
                  </a:cubicBezTo>
                  <a:cubicBezTo>
                    <a:pt x="179702" y="60795"/>
                    <a:pt x="178456" y="60617"/>
                    <a:pt x="177210" y="60617"/>
                  </a:cubicBezTo>
                  <a:close/>
                  <a:moveTo>
                    <a:pt x="431587" y="51374"/>
                  </a:moveTo>
                  <a:cubicBezTo>
                    <a:pt x="430252" y="51818"/>
                    <a:pt x="429273" y="52529"/>
                    <a:pt x="428294" y="53418"/>
                  </a:cubicBezTo>
                  <a:cubicBezTo>
                    <a:pt x="426424" y="55373"/>
                    <a:pt x="425356" y="58040"/>
                    <a:pt x="425356" y="60617"/>
                  </a:cubicBezTo>
                  <a:cubicBezTo>
                    <a:pt x="425356" y="63284"/>
                    <a:pt x="426424" y="65862"/>
                    <a:pt x="428294" y="67817"/>
                  </a:cubicBezTo>
                  <a:cubicBezTo>
                    <a:pt x="430163" y="69683"/>
                    <a:pt x="432833" y="70750"/>
                    <a:pt x="435414" y="70750"/>
                  </a:cubicBezTo>
                  <a:cubicBezTo>
                    <a:pt x="438084" y="70750"/>
                    <a:pt x="440754" y="69683"/>
                    <a:pt x="442623" y="67817"/>
                  </a:cubicBezTo>
                  <a:cubicBezTo>
                    <a:pt x="444493" y="65862"/>
                    <a:pt x="445561" y="63284"/>
                    <a:pt x="445561" y="60617"/>
                  </a:cubicBezTo>
                  <a:cubicBezTo>
                    <a:pt x="445561" y="58040"/>
                    <a:pt x="444493" y="55373"/>
                    <a:pt x="442623" y="53418"/>
                  </a:cubicBezTo>
                  <a:cubicBezTo>
                    <a:pt x="439775" y="50663"/>
                    <a:pt x="435325" y="49685"/>
                    <a:pt x="431587" y="51374"/>
                  </a:cubicBezTo>
                  <a:close/>
                  <a:moveTo>
                    <a:pt x="476000" y="50485"/>
                  </a:moveTo>
                  <a:cubicBezTo>
                    <a:pt x="470393" y="50485"/>
                    <a:pt x="465854" y="55018"/>
                    <a:pt x="465854" y="60617"/>
                  </a:cubicBezTo>
                  <a:cubicBezTo>
                    <a:pt x="465854" y="66217"/>
                    <a:pt x="470393" y="70750"/>
                    <a:pt x="476000" y="70750"/>
                  </a:cubicBezTo>
                  <a:lnTo>
                    <a:pt x="506351" y="70750"/>
                  </a:lnTo>
                  <a:cubicBezTo>
                    <a:pt x="511959" y="70750"/>
                    <a:pt x="516498" y="66217"/>
                    <a:pt x="516498" y="60617"/>
                  </a:cubicBezTo>
                  <a:cubicBezTo>
                    <a:pt x="516498" y="55018"/>
                    <a:pt x="511959" y="50485"/>
                    <a:pt x="506351" y="50485"/>
                  </a:cubicBezTo>
                  <a:close/>
                  <a:moveTo>
                    <a:pt x="374712" y="50485"/>
                  </a:moveTo>
                  <a:cubicBezTo>
                    <a:pt x="369105" y="50485"/>
                    <a:pt x="364566" y="55018"/>
                    <a:pt x="364566" y="60617"/>
                  </a:cubicBezTo>
                  <a:cubicBezTo>
                    <a:pt x="364566" y="66217"/>
                    <a:pt x="369105" y="70750"/>
                    <a:pt x="374712" y="70750"/>
                  </a:cubicBezTo>
                  <a:lnTo>
                    <a:pt x="394917" y="70750"/>
                  </a:lnTo>
                  <a:cubicBezTo>
                    <a:pt x="400524" y="70750"/>
                    <a:pt x="405063" y="66217"/>
                    <a:pt x="405063" y="60617"/>
                  </a:cubicBezTo>
                  <a:cubicBezTo>
                    <a:pt x="405063" y="55018"/>
                    <a:pt x="400524" y="50485"/>
                    <a:pt x="394917" y="50485"/>
                  </a:cubicBezTo>
                  <a:close/>
                  <a:moveTo>
                    <a:pt x="45571" y="0"/>
                  </a:moveTo>
                  <a:lnTo>
                    <a:pt x="562069" y="0"/>
                  </a:lnTo>
                  <a:cubicBezTo>
                    <a:pt x="587168" y="0"/>
                    <a:pt x="607639" y="20354"/>
                    <a:pt x="607639" y="45508"/>
                  </a:cubicBezTo>
                  <a:lnTo>
                    <a:pt x="607639" y="343795"/>
                  </a:lnTo>
                  <a:lnTo>
                    <a:pt x="0" y="343795"/>
                  </a:lnTo>
                  <a:lnTo>
                    <a:pt x="0" y="45508"/>
                  </a:lnTo>
                  <a:cubicBezTo>
                    <a:pt x="0" y="20354"/>
                    <a:pt x="20471" y="0"/>
                    <a:pt x="45571" y="0"/>
                  </a:cubicBezTo>
                  <a:close/>
                </a:path>
              </a:pathLst>
            </a:custGeom>
            <a:gradFill>
              <a:gsLst>
                <a:gs pos="33000">
                  <a:srgbClr val="4EBCF7"/>
                </a:gs>
                <a:gs pos="99000">
                  <a:srgbClr val="0870D3"/>
                </a:gs>
              </a:gsLst>
              <a:lin ang="10800000" scaled="0"/>
            </a:gradFill>
            <a:ln>
              <a:noFill/>
            </a:ln>
            <a:effectLst/>
          </p:spPr>
        </p:sp>
        <p:sp>
          <p:nvSpPr>
            <p:cNvPr id="33" name="矩形 32"/>
            <p:cNvSpPr/>
            <p:nvPr/>
          </p:nvSpPr>
          <p:spPr>
            <a:xfrm>
              <a:off x="1082791" y="386741"/>
              <a:ext cx="3523722" cy="5232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2800" kern="0" dirty="0">
                  <a:solidFill>
                    <a:srgbClr val="0870D3"/>
                  </a:solidFill>
                  <a:effectLst>
                    <a:outerShdw blurRad="76200" dist="127000" dir="8100000" algn="tr" rotWithShape="0">
                      <a:prstClr val="black">
                        <a:alpha val="40000"/>
                      </a:prstClr>
                    </a:outerShdw>
                  </a:effectLst>
                  <a:latin typeface="思源黑体 CN Bold" panose="020B0800000000000000" pitchFamily="34" charset="-122"/>
                  <a:ea typeface="思源黑体 CN Bold" panose="020B0800000000000000" pitchFamily="34" charset="-122"/>
                  <a:cs typeface="+mn-ea"/>
                  <a:sym typeface="+mn-lt"/>
                </a:rPr>
                <a:t>ENTER YOUR TITLE</a:t>
              </a:r>
              <a:endParaRPr lang="zh-CN" altLang="en-US" sz="2800" kern="0" dirty="0">
                <a:solidFill>
                  <a:srgbClr val="0870D3"/>
                </a:solidFill>
                <a:effectLst>
                  <a:outerShdw blurRad="76200" dist="127000" dir="8100000" algn="tr" rotWithShape="0">
                    <a:prstClr val="black">
                      <a:alpha val="40000"/>
                    </a:prstClr>
                  </a:outerShdw>
                </a:effectLst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endParaRPr>
            </a:p>
          </p:txBody>
        </p: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3000">
        <p:fade/>
      </p:transition>
    </mc:Choice>
    <mc:Fallback xmlns="">
      <p:transition spd="med" advClick="0" advTm="3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29" grpId="0"/>
      <p:bldP spid="25" grpId="0"/>
      <p:bldP spid="21" grpId="0"/>
      <p:bldP spid="17" grpId="0"/>
      <p:bldP spid="13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îṩ1ïḋé"/>
          <p:cNvSpPr/>
          <p:nvPr/>
        </p:nvSpPr>
        <p:spPr>
          <a:xfrm>
            <a:off x="3367699" y="2713191"/>
            <a:ext cx="2071478" cy="2071478"/>
          </a:xfrm>
          <a:prstGeom prst="ellipse">
            <a:avLst/>
          </a:prstGeom>
          <a:gradFill>
            <a:gsLst>
              <a:gs pos="38000">
                <a:srgbClr val="0870D3"/>
              </a:gs>
              <a:gs pos="100000">
                <a:srgbClr val="4EBCF7"/>
              </a:gs>
            </a:gsLst>
            <a:lin ang="10800000" scaled="0"/>
          </a:gradFill>
          <a:ln>
            <a:noFill/>
          </a:ln>
          <a:effectLst>
            <a:outerShdw blurRad="762000" dist="2540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360000" bIns="45720" numCol="1" spcCol="0" rtlCol="0" fromWordArt="0" anchor="ctr" anchorCtr="0" forceAA="0" compatLnSpc="1">
            <a:noAutofit/>
          </a:bodyPr>
          <a:lstStyle/>
          <a:p>
            <a:pPr algn="r" defTabSz="914400"/>
            <a:r>
              <a:rPr lang="en-US" altLang="zh-CN" b="1">
                <a:latin typeface="思源黑体 CN Normal" panose="020B0400000000000000" pitchFamily="34" charset="-122"/>
                <a:ea typeface="思源黑体 CN Normal" panose="020B0400000000000000" pitchFamily="34" charset="-122"/>
                <a:cs typeface="Open Sans" panose="020B0606030504020204" charset="0"/>
              </a:rPr>
              <a:t>Text here</a:t>
            </a:r>
            <a:endParaRPr lang="en-US" altLang="zh-CN" b="1" dirty="0">
              <a:latin typeface="思源黑体 CN Normal" panose="020B0400000000000000" pitchFamily="34" charset="-122"/>
              <a:ea typeface="思源黑体 CN Normal" panose="020B0400000000000000" pitchFamily="34" charset="-122"/>
              <a:cs typeface="Open Sans" panose="020B0606030504020204" charset="0"/>
            </a:endParaRPr>
          </a:p>
          <a:p>
            <a:pPr algn="r" defTabSz="914400"/>
            <a:r>
              <a:rPr lang="en-US" altLang="zh-CN" b="1" dirty="0">
                <a:latin typeface="思源黑体 CN Normal" panose="020B0400000000000000" pitchFamily="34" charset="-122"/>
                <a:ea typeface="思源黑体 CN Normal" panose="020B0400000000000000" pitchFamily="34" charset="-122"/>
                <a:cs typeface="Open Sans" panose="020B0606030504020204" charset="0"/>
              </a:rPr>
              <a:t>60%</a:t>
            </a:r>
            <a:endParaRPr lang="zh-CN" altLang="en-US" b="1" dirty="0">
              <a:latin typeface="思源黑体 CN Normal" panose="020B0400000000000000" pitchFamily="34" charset="-122"/>
              <a:ea typeface="思源黑体 CN Normal" panose="020B0400000000000000" pitchFamily="34" charset="-122"/>
              <a:cs typeface="Open Sans" panose="020B0606030504020204" charset="0"/>
            </a:endParaRPr>
          </a:p>
        </p:txBody>
      </p:sp>
      <p:sp>
        <p:nvSpPr>
          <p:cNvPr id="5" name="îṣḷïḓè"/>
          <p:cNvSpPr/>
          <p:nvPr/>
        </p:nvSpPr>
        <p:spPr>
          <a:xfrm>
            <a:off x="5060261" y="2713191"/>
            <a:ext cx="2071478" cy="2071478"/>
          </a:xfrm>
          <a:prstGeom prst="ellipse">
            <a:avLst/>
          </a:prstGeom>
          <a:gradFill>
            <a:gsLst>
              <a:gs pos="38000">
                <a:srgbClr val="0870D3"/>
              </a:gs>
              <a:gs pos="100000">
                <a:srgbClr val="4EBCF7"/>
              </a:gs>
            </a:gsLst>
            <a:lin ang="10800000" scaled="0"/>
          </a:gradFill>
          <a:ln>
            <a:noFill/>
          </a:ln>
          <a:effectLst>
            <a:outerShdw blurRad="762000" dist="2540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360000" bIns="45720" numCol="1" spcCol="0" rtlCol="0" fromWordArt="0" anchor="ctr" anchorCtr="0" forceAA="0" compatLnSpc="1">
            <a:noAutofit/>
          </a:bodyPr>
          <a:lstStyle/>
          <a:p>
            <a:pPr algn="r" defTabSz="914400"/>
            <a:r>
              <a:rPr lang="en-US" altLang="zh-CN" b="1" dirty="0">
                <a:latin typeface="思源黑体 CN Normal" panose="020B0400000000000000" pitchFamily="34" charset="-122"/>
                <a:ea typeface="思源黑体 CN Normal" panose="020B0400000000000000" pitchFamily="34" charset="-122"/>
                <a:cs typeface="Open Sans" panose="020B0606030504020204" charset="0"/>
              </a:rPr>
              <a:t>Text here</a:t>
            </a:r>
          </a:p>
          <a:p>
            <a:pPr algn="r" defTabSz="914400"/>
            <a:r>
              <a:rPr lang="en-US" altLang="zh-CN" b="1" dirty="0">
                <a:latin typeface="思源黑体 CN Normal" panose="020B0400000000000000" pitchFamily="34" charset="-122"/>
                <a:ea typeface="思源黑体 CN Normal" panose="020B0400000000000000" pitchFamily="34" charset="-122"/>
                <a:cs typeface="Open Sans" panose="020B0606030504020204" charset="0"/>
              </a:rPr>
              <a:t>20%</a:t>
            </a:r>
            <a:endParaRPr lang="zh-CN" altLang="en-US" b="1" dirty="0">
              <a:latin typeface="思源黑体 CN Normal" panose="020B0400000000000000" pitchFamily="34" charset="-122"/>
              <a:ea typeface="思源黑体 CN Normal" panose="020B0400000000000000" pitchFamily="34" charset="-122"/>
              <a:cs typeface="Open Sans" panose="020B0606030504020204" charset="0"/>
            </a:endParaRPr>
          </a:p>
        </p:txBody>
      </p:sp>
      <p:sp>
        <p:nvSpPr>
          <p:cNvPr id="6" name="íşḻîḍè"/>
          <p:cNvSpPr/>
          <p:nvPr/>
        </p:nvSpPr>
        <p:spPr>
          <a:xfrm>
            <a:off x="6752824" y="2713191"/>
            <a:ext cx="2071478" cy="2071478"/>
          </a:xfrm>
          <a:prstGeom prst="ellipse">
            <a:avLst/>
          </a:prstGeom>
          <a:gradFill>
            <a:gsLst>
              <a:gs pos="38000">
                <a:srgbClr val="0870D3"/>
              </a:gs>
              <a:gs pos="100000">
                <a:srgbClr val="4EBCF7"/>
              </a:gs>
            </a:gsLst>
            <a:lin ang="10800000" scaled="0"/>
          </a:gradFill>
          <a:ln>
            <a:noFill/>
          </a:ln>
          <a:effectLst>
            <a:outerShdw blurRad="762000" dist="2540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360000" bIns="45720" numCol="1" spcCol="0" rtlCol="0" fromWordArt="0" anchor="ctr" anchorCtr="0" forceAA="0" compatLnSpc="1">
            <a:noAutofit/>
          </a:bodyPr>
          <a:lstStyle/>
          <a:p>
            <a:pPr algn="r" defTabSz="914400"/>
            <a:r>
              <a:rPr lang="en-US" altLang="zh-CN" b="1">
                <a:latin typeface="思源黑体 CN Normal" panose="020B0400000000000000" pitchFamily="34" charset="-122"/>
                <a:ea typeface="思源黑体 CN Normal" panose="020B0400000000000000" pitchFamily="34" charset="-122"/>
                <a:cs typeface="Open Sans" panose="020B0606030504020204" charset="0"/>
              </a:rPr>
              <a:t>Text here</a:t>
            </a:r>
            <a:endParaRPr lang="en-US" altLang="zh-CN" b="1" dirty="0">
              <a:latin typeface="思源黑体 CN Normal" panose="020B0400000000000000" pitchFamily="34" charset="-122"/>
              <a:ea typeface="思源黑体 CN Normal" panose="020B0400000000000000" pitchFamily="34" charset="-122"/>
              <a:cs typeface="Open Sans" panose="020B0606030504020204" charset="0"/>
            </a:endParaRPr>
          </a:p>
          <a:p>
            <a:pPr algn="r" defTabSz="914400"/>
            <a:r>
              <a:rPr lang="en-US" altLang="zh-CN" b="1" dirty="0">
                <a:latin typeface="思源黑体 CN Normal" panose="020B0400000000000000" pitchFamily="34" charset="-122"/>
                <a:ea typeface="思源黑体 CN Normal" panose="020B0400000000000000" pitchFamily="34" charset="-122"/>
                <a:cs typeface="Open Sans" panose="020B0606030504020204" charset="0"/>
              </a:rPr>
              <a:t>50%</a:t>
            </a:r>
            <a:endParaRPr lang="zh-CN" altLang="en-US" b="1" dirty="0">
              <a:latin typeface="思源黑体 CN Normal" panose="020B0400000000000000" pitchFamily="34" charset="-122"/>
              <a:ea typeface="思源黑体 CN Normal" panose="020B0400000000000000" pitchFamily="34" charset="-122"/>
              <a:cs typeface="Open Sans" panose="020B0606030504020204" charset="0"/>
            </a:endParaRPr>
          </a:p>
        </p:txBody>
      </p:sp>
      <p:sp>
        <p:nvSpPr>
          <p:cNvPr id="7" name="íSļïḋé"/>
          <p:cNvSpPr/>
          <p:nvPr/>
        </p:nvSpPr>
        <p:spPr bwMode="auto">
          <a:xfrm>
            <a:off x="1783757" y="4897339"/>
            <a:ext cx="1854238" cy="13375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altLang="zh-CN" sz="1400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Supporting text here. </a:t>
            </a:r>
          </a:p>
          <a:p>
            <a:pPr algn="ctr">
              <a:lnSpc>
                <a:spcPct val="150000"/>
              </a:lnSpc>
            </a:pPr>
            <a:r>
              <a:rPr lang="en-US" altLang="zh-CN" sz="1400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Supporting text here. </a:t>
            </a:r>
          </a:p>
          <a:p>
            <a:pPr algn="ctr">
              <a:lnSpc>
                <a:spcPct val="150000"/>
              </a:lnSpc>
            </a:pPr>
            <a:endParaRPr lang="en-US" altLang="zh-CN" sz="1400" dirty="0">
              <a:latin typeface="思源黑体 CN Normal" panose="020B0400000000000000" pitchFamily="34" charset="-122"/>
              <a:ea typeface="思源黑体 CN Normal" panose="020B0400000000000000" pitchFamily="34" charset="-122"/>
            </a:endParaRPr>
          </a:p>
          <a:p>
            <a:pPr algn="ctr">
              <a:lnSpc>
                <a:spcPct val="150000"/>
              </a:lnSpc>
            </a:pPr>
            <a:r>
              <a:rPr lang="en-US" altLang="zh-CN" sz="1400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……</a:t>
            </a:r>
          </a:p>
        </p:txBody>
      </p:sp>
      <p:sp>
        <p:nvSpPr>
          <p:cNvPr id="8" name="ïṩḷíḓè"/>
          <p:cNvSpPr/>
          <p:nvPr/>
        </p:nvSpPr>
        <p:spPr bwMode="auto">
          <a:xfrm>
            <a:off x="3476319" y="1375633"/>
            <a:ext cx="1854238" cy="13375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altLang="zh-CN" sz="1400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Supporting text here. </a:t>
            </a:r>
          </a:p>
          <a:p>
            <a:pPr algn="ctr">
              <a:lnSpc>
                <a:spcPct val="150000"/>
              </a:lnSpc>
            </a:pPr>
            <a:r>
              <a:rPr lang="en-US" altLang="zh-CN" sz="1400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Supporting text here. </a:t>
            </a:r>
          </a:p>
          <a:p>
            <a:pPr algn="ctr">
              <a:lnSpc>
                <a:spcPct val="150000"/>
              </a:lnSpc>
            </a:pPr>
            <a:endParaRPr lang="en-US" altLang="zh-CN" sz="1400" dirty="0">
              <a:latin typeface="思源黑体 CN Normal" panose="020B0400000000000000" pitchFamily="34" charset="-122"/>
              <a:ea typeface="思源黑体 CN Normal" panose="020B0400000000000000" pitchFamily="34" charset="-122"/>
            </a:endParaRPr>
          </a:p>
          <a:p>
            <a:pPr algn="ctr">
              <a:lnSpc>
                <a:spcPct val="150000"/>
              </a:lnSpc>
            </a:pPr>
            <a:r>
              <a:rPr lang="en-US" altLang="zh-CN" sz="1400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……</a:t>
            </a:r>
          </a:p>
        </p:txBody>
      </p:sp>
      <p:sp>
        <p:nvSpPr>
          <p:cNvPr id="9" name="ïṡḻiḓé"/>
          <p:cNvSpPr/>
          <p:nvPr/>
        </p:nvSpPr>
        <p:spPr bwMode="auto">
          <a:xfrm>
            <a:off x="5168881" y="4897339"/>
            <a:ext cx="1854238" cy="13375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altLang="zh-CN" sz="1400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Supporting text here. </a:t>
            </a:r>
          </a:p>
          <a:p>
            <a:pPr algn="ctr">
              <a:lnSpc>
                <a:spcPct val="150000"/>
              </a:lnSpc>
            </a:pPr>
            <a:r>
              <a:rPr lang="en-US" altLang="zh-CN" sz="1400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Supporting text here. </a:t>
            </a:r>
          </a:p>
          <a:p>
            <a:pPr algn="ctr">
              <a:lnSpc>
                <a:spcPct val="150000"/>
              </a:lnSpc>
            </a:pPr>
            <a:endParaRPr lang="en-US" altLang="zh-CN" sz="1400" dirty="0">
              <a:latin typeface="思源黑体 CN Normal" panose="020B0400000000000000" pitchFamily="34" charset="-122"/>
              <a:ea typeface="思源黑体 CN Normal" panose="020B0400000000000000" pitchFamily="34" charset="-122"/>
            </a:endParaRPr>
          </a:p>
          <a:p>
            <a:pPr algn="ctr">
              <a:lnSpc>
                <a:spcPct val="150000"/>
              </a:lnSpc>
            </a:pPr>
            <a:r>
              <a:rPr lang="en-US" altLang="zh-CN" sz="1400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……</a:t>
            </a:r>
          </a:p>
        </p:txBody>
      </p:sp>
      <p:sp>
        <p:nvSpPr>
          <p:cNvPr id="10" name="ïşḷídê"/>
          <p:cNvSpPr/>
          <p:nvPr/>
        </p:nvSpPr>
        <p:spPr>
          <a:xfrm>
            <a:off x="1675137" y="2713191"/>
            <a:ext cx="2071478" cy="2071478"/>
          </a:xfrm>
          <a:prstGeom prst="ellipse">
            <a:avLst/>
          </a:prstGeom>
          <a:gradFill>
            <a:gsLst>
              <a:gs pos="38000">
                <a:srgbClr val="0870D3"/>
              </a:gs>
              <a:gs pos="100000">
                <a:srgbClr val="4EBCF7"/>
              </a:gs>
            </a:gsLst>
            <a:lin ang="10800000" scaled="0"/>
          </a:gradFill>
          <a:ln>
            <a:noFill/>
          </a:ln>
          <a:effectLst>
            <a:outerShdw blurRad="762000" dist="2540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360000" bIns="45720" numCol="1" spcCol="0" rtlCol="0" fromWordArt="0" anchor="ctr" anchorCtr="0" forceAA="0" compatLnSpc="1">
            <a:noAutofit/>
          </a:bodyPr>
          <a:lstStyle/>
          <a:p>
            <a:pPr algn="r" defTabSz="914400"/>
            <a:r>
              <a:rPr lang="en-US" altLang="zh-CN" b="1" dirty="0">
                <a:latin typeface="思源黑体 CN Normal" panose="020B0400000000000000" pitchFamily="34" charset="-122"/>
                <a:ea typeface="思源黑体 CN Normal" panose="020B0400000000000000" pitchFamily="34" charset="-122"/>
                <a:cs typeface="Open Sans" panose="020B0606030504020204" charset="0"/>
              </a:rPr>
              <a:t>Text here</a:t>
            </a:r>
          </a:p>
          <a:p>
            <a:pPr algn="r" defTabSz="914400"/>
            <a:r>
              <a:rPr lang="en-US" altLang="zh-CN" b="1" dirty="0">
                <a:latin typeface="思源黑体 CN Normal" panose="020B0400000000000000" pitchFamily="34" charset="-122"/>
                <a:ea typeface="思源黑体 CN Normal" panose="020B0400000000000000" pitchFamily="34" charset="-122"/>
                <a:cs typeface="Open Sans" panose="020B0606030504020204" charset="0"/>
              </a:rPr>
              <a:t>30%</a:t>
            </a:r>
            <a:endParaRPr lang="zh-CN" altLang="en-US" b="1" dirty="0">
              <a:latin typeface="思源黑体 CN Normal" panose="020B0400000000000000" pitchFamily="34" charset="-122"/>
              <a:ea typeface="思源黑体 CN Normal" panose="020B0400000000000000" pitchFamily="34" charset="-122"/>
              <a:cs typeface="Open Sans" panose="020B0606030504020204" charset="0"/>
            </a:endParaRPr>
          </a:p>
        </p:txBody>
      </p:sp>
      <p:sp>
        <p:nvSpPr>
          <p:cNvPr id="11" name="iṩḻîdè"/>
          <p:cNvSpPr/>
          <p:nvPr/>
        </p:nvSpPr>
        <p:spPr>
          <a:xfrm>
            <a:off x="8445384" y="2713191"/>
            <a:ext cx="2071478" cy="2071478"/>
          </a:xfrm>
          <a:prstGeom prst="ellipse">
            <a:avLst/>
          </a:prstGeom>
          <a:gradFill>
            <a:gsLst>
              <a:gs pos="38000">
                <a:srgbClr val="0870D3"/>
              </a:gs>
              <a:gs pos="100000">
                <a:srgbClr val="4EBCF7"/>
              </a:gs>
            </a:gsLst>
            <a:lin ang="10800000" scaled="0"/>
          </a:gradFill>
          <a:ln>
            <a:noFill/>
          </a:ln>
          <a:effectLst>
            <a:outerShdw blurRad="762000" dist="2540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360000" bIns="45720" numCol="1" spcCol="0" rtlCol="0" fromWordArt="0" anchor="ctr" anchorCtr="0" forceAA="0" compatLnSpc="1">
            <a:noAutofit/>
          </a:bodyPr>
          <a:lstStyle/>
          <a:p>
            <a:pPr algn="r" defTabSz="914400"/>
            <a:r>
              <a:rPr lang="en-US" altLang="zh-CN" b="1" dirty="0">
                <a:latin typeface="思源黑体 CN Normal" panose="020B0400000000000000" pitchFamily="34" charset="-122"/>
                <a:ea typeface="思源黑体 CN Normal" panose="020B0400000000000000" pitchFamily="34" charset="-122"/>
                <a:cs typeface="Open Sans" panose="020B0606030504020204" charset="0"/>
              </a:rPr>
              <a:t>Text here</a:t>
            </a:r>
          </a:p>
          <a:p>
            <a:pPr algn="r" defTabSz="914400"/>
            <a:r>
              <a:rPr lang="en-US" altLang="zh-CN" b="1" dirty="0">
                <a:latin typeface="思源黑体 CN Normal" panose="020B0400000000000000" pitchFamily="34" charset="-122"/>
                <a:ea typeface="思源黑体 CN Normal" panose="020B0400000000000000" pitchFamily="34" charset="-122"/>
                <a:cs typeface="Open Sans" panose="020B0606030504020204" charset="0"/>
              </a:rPr>
              <a:t>80%</a:t>
            </a:r>
            <a:endParaRPr lang="zh-CN" altLang="en-US" b="1" dirty="0">
              <a:latin typeface="思源黑体 CN Normal" panose="020B0400000000000000" pitchFamily="34" charset="-122"/>
              <a:ea typeface="思源黑体 CN Normal" panose="020B0400000000000000" pitchFamily="34" charset="-122"/>
              <a:cs typeface="Open Sans" panose="020B0606030504020204" charset="0"/>
            </a:endParaRPr>
          </a:p>
        </p:txBody>
      </p:sp>
      <p:sp>
        <p:nvSpPr>
          <p:cNvPr id="12" name="ïS1ïḋè"/>
          <p:cNvSpPr/>
          <p:nvPr/>
        </p:nvSpPr>
        <p:spPr bwMode="auto">
          <a:xfrm>
            <a:off x="8554005" y="4897339"/>
            <a:ext cx="1854238" cy="13375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altLang="zh-CN" sz="1400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Supporting text here. </a:t>
            </a:r>
          </a:p>
          <a:p>
            <a:pPr algn="ctr">
              <a:lnSpc>
                <a:spcPct val="150000"/>
              </a:lnSpc>
            </a:pPr>
            <a:r>
              <a:rPr lang="en-US" altLang="zh-CN" sz="1400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Supporting text here. </a:t>
            </a:r>
          </a:p>
          <a:p>
            <a:pPr algn="ctr">
              <a:lnSpc>
                <a:spcPct val="150000"/>
              </a:lnSpc>
            </a:pPr>
            <a:endParaRPr lang="en-US" altLang="zh-CN" sz="1400" dirty="0">
              <a:latin typeface="思源黑体 CN Normal" panose="020B0400000000000000" pitchFamily="34" charset="-122"/>
              <a:ea typeface="思源黑体 CN Normal" panose="020B0400000000000000" pitchFamily="34" charset="-122"/>
            </a:endParaRPr>
          </a:p>
          <a:p>
            <a:pPr algn="ctr">
              <a:lnSpc>
                <a:spcPct val="150000"/>
              </a:lnSpc>
            </a:pPr>
            <a:r>
              <a:rPr lang="en-US" altLang="zh-CN" sz="1400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……</a:t>
            </a:r>
          </a:p>
        </p:txBody>
      </p:sp>
      <p:sp>
        <p:nvSpPr>
          <p:cNvPr id="13" name="iş1íďé"/>
          <p:cNvSpPr/>
          <p:nvPr/>
        </p:nvSpPr>
        <p:spPr bwMode="auto">
          <a:xfrm>
            <a:off x="6861444" y="1375633"/>
            <a:ext cx="1854238" cy="13375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altLang="zh-CN" sz="1400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Supporting text here. </a:t>
            </a:r>
          </a:p>
          <a:p>
            <a:pPr algn="ctr">
              <a:lnSpc>
                <a:spcPct val="150000"/>
              </a:lnSpc>
            </a:pPr>
            <a:r>
              <a:rPr lang="en-US" altLang="zh-CN" sz="1400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Supporting text here. </a:t>
            </a:r>
          </a:p>
          <a:p>
            <a:pPr algn="ctr">
              <a:lnSpc>
                <a:spcPct val="150000"/>
              </a:lnSpc>
            </a:pPr>
            <a:endParaRPr lang="en-US" altLang="zh-CN" sz="1400" dirty="0">
              <a:latin typeface="思源黑体 CN Normal" panose="020B0400000000000000" pitchFamily="34" charset="-122"/>
              <a:ea typeface="思源黑体 CN Normal" panose="020B0400000000000000" pitchFamily="34" charset="-122"/>
            </a:endParaRPr>
          </a:p>
          <a:p>
            <a:pPr algn="ctr">
              <a:lnSpc>
                <a:spcPct val="150000"/>
              </a:lnSpc>
            </a:pPr>
            <a:r>
              <a:rPr lang="en-US" altLang="zh-CN" sz="1400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……</a:t>
            </a:r>
          </a:p>
        </p:txBody>
      </p:sp>
      <p:grpSp>
        <p:nvGrpSpPr>
          <p:cNvPr id="17" name="组合 16"/>
          <p:cNvGrpSpPr/>
          <p:nvPr/>
        </p:nvGrpSpPr>
        <p:grpSpPr>
          <a:xfrm>
            <a:off x="445680" y="386741"/>
            <a:ext cx="4160833" cy="523220"/>
            <a:chOff x="445680" y="386741"/>
            <a:chExt cx="4160833" cy="523220"/>
          </a:xfrm>
        </p:grpSpPr>
        <p:sp>
          <p:nvSpPr>
            <p:cNvPr id="18" name="analytics_237488"/>
            <p:cNvSpPr>
              <a:spLocks noChangeAspect="1"/>
            </p:cNvSpPr>
            <p:nvPr/>
          </p:nvSpPr>
          <p:spPr bwMode="auto">
            <a:xfrm>
              <a:off x="445680" y="386741"/>
              <a:ext cx="454475" cy="423493"/>
            </a:xfrm>
            <a:custGeom>
              <a:avLst/>
              <a:gdLst>
                <a:gd name="connsiteX0" fmla="*/ 261053 w 607639"/>
                <a:gd name="connsiteY0" fmla="*/ 444915 h 566217"/>
                <a:gd name="connsiteX1" fmla="*/ 245922 w 607639"/>
                <a:gd name="connsiteY1" fmla="*/ 505522 h 566217"/>
                <a:gd name="connsiteX2" fmla="*/ 361718 w 607639"/>
                <a:gd name="connsiteY2" fmla="*/ 505522 h 566217"/>
                <a:gd name="connsiteX3" fmla="*/ 346498 w 607639"/>
                <a:gd name="connsiteY3" fmla="*/ 444915 h 566217"/>
                <a:gd name="connsiteX4" fmla="*/ 0 w 607639"/>
                <a:gd name="connsiteY4" fmla="*/ 364047 h 566217"/>
                <a:gd name="connsiteX5" fmla="*/ 607639 w 607639"/>
                <a:gd name="connsiteY5" fmla="*/ 364047 h 566217"/>
                <a:gd name="connsiteX6" fmla="*/ 607639 w 607639"/>
                <a:gd name="connsiteY6" fmla="*/ 399416 h 566217"/>
                <a:gd name="connsiteX7" fmla="*/ 562069 w 607639"/>
                <a:gd name="connsiteY7" fmla="*/ 444915 h 566217"/>
                <a:gd name="connsiteX8" fmla="*/ 367414 w 607639"/>
                <a:gd name="connsiteY8" fmla="*/ 444915 h 566217"/>
                <a:gd name="connsiteX9" fmla="*/ 382634 w 607639"/>
                <a:gd name="connsiteY9" fmla="*/ 505522 h 566217"/>
                <a:gd name="connsiteX10" fmla="*/ 384859 w 607639"/>
                <a:gd name="connsiteY10" fmla="*/ 505522 h 566217"/>
                <a:gd name="connsiteX11" fmla="*/ 435414 w 607639"/>
                <a:gd name="connsiteY11" fmla="*/ 556086 h 566217"/>
                <a:gd name="connsiteX12" fmla="*/ 425356 w 607639"/>
                <a:gd name="connsiteY12" fmla="*/ 566217 h 566217"/>
                <a:gd name="connsiteX13" fmla="*/ 182283 w 607639"/>
                <a:gd name="connsiteY13" fmla="*/ 566217 h 566217"/>
                <a:gd name="connsiteX14" fmla="*/ 172136 w 607639"/>
                <a:gd name="connsiteY14" fmla="*/ 556086 h 566217"/>
                <a:gd name="connsiteX15" fmla="*/ 222780 w 607639"/>
                <a:gd name="connsiteY15" fmla="*/ 505522 h 566217"/>
                <a:gd name="connsiteX16" fmla="*/ 225006 w 607639"/>
                <a:gd name="connsiteY16" fmla="*/ 505522 h 566217"/>
                <a:gd name="connsiteX17" fmla="*/ 240225 w 607639"/>
                <a:gd name="connsiteY17" fmla="*/ 444915 h 566217"/>
                <a:gd name="connsiteX18" fmla="*/ 45571 w 607639"/>
                <a:gd name="connsiteY18" fmla="*/ 444915 h 566217"/>
                <a:gd name="connsiteX19" fmla="*/ 0 w 607639"/>
                <a:gd name="connsiteY19" fmla="*/ 399416 h 566217"/>
                <a:gd name="connsiteX20" fmla="*/ 344273 w 607639"/>
                <a:gd name="connsiteY20" fmla="*/ 273045 h 566217"/>
                <a:gd name="connsiteX21" fmla="*/ 334215 w 607639"/>
                <a:gd name="connsiteY21" fmla="*/ 283089 h 566217"/>
                <a:gd name="connsiteX22" fmla="*/ 334215 w 607639"/>
                <a:gd name="connsiteY22" fmla="*/ 313486 h 566217"/>
                <a:gd name="connsiteX23" fmla="*/ 344273 w 607639"/>
                <a:gd name="connsiteY23" fmla="*/ 323530 h 566217"/>
                <a:gd name="connsiteX24" fmla="*/ 354419 w 607639"/>
                <a:gd name="connsiteY24" fmla="*/ 313486 h 566217"/>
                <a:gd name="connsiteX25" fmla="*/ 354419 w 607639"/>
                <a:gd name="connsiteY25" fmla="*/ 283089 h 566217"/>
                <a:gd name="connsiteX26" fmla="*/ 344273 w 607639"/>
                <a:gd name="connsiteY26" fmla="*/ 273045 h 566217"/>
                <a:gd name="connsiteX27" fmla="*/ 425356 w 607639"/>
                <a:gd name="connsiteY27" fmla="*/ 252780 h 566217"/>
                <a:gd name="connsiteX28" fmla="*/ 415210 w 607639"/>
                <a:gd name="connsiteY28" fmla="*/ 262913 h 566217"/>
                <a:gd name="connsiteX29" fmla="*/ 415210 w 607639"/>
                <a:gd name="connsiteY29" fmla="*/ 313486 h 566217"/>
                <a:gd name="connsiteX30" fmla="*/ 425356 w 607639"/>
                <a:gd name="connsiteY30" fmla="*/ 323530 h 566217"/>
                <a:gd name="connsiteX31" fmla="*/ 435414 w 607639"/>
                <a:gd name="connsiteY31" fmla="*/ 313486 h 566217"/>
                <a:gd name="connsiteX32" fmla="*/ 435414 w 607639"/>
                <a:gd name="connsiteY32" fmla="*/ 262913 h 566217"/>
                <a:gd name="connsiteX33" fmla="*/ 425356 w 607639"/>
                <a:gd name="connsiteY33" fmla="*/ 252780 h 566217"/>
                <a:gd name="connsiteX34" fmla="*/ 384859 w 607639"/>
                <a:gd name="connsiteY34" fmla="*/ 232515 h 566217"/>
                <a:gd name="connsiteX35" fmla="*/ 374712 w 607639"/>
                <a:gd name="connsiteY35" fmla="*/ 242648 h 566217"/>
                <a:gd name="connsiteX36" fmla="*/ 374712 w 607639"/>
                <a:gd name="connsiteY36" fmla="*/ 313486 h 566217"/>
                <a:gd name="connsiteX37" fmla="*/ 384859 w 607639"/>
                <a:gd name="connsiteY37" fmla="*/ 323530 h 566217"/>
                <a:gd name="connsiteX38" fmla="*/ 394917 w 607639"/>
                <a:gd name="connsiteY38" fmla="*/ 313486 h 566217"/>
                <a:gd name="connsiteX39" fmla="*/ 394917 w 607639"/>
                <a:gd name="connsiteY39" fmla="*/ 242648 h 566217"/>
                <a:gd name="connsiteX40" fmla="*/ 384859 w 607639"/>
                <a:gd name="connsiteY40" fmla="*/ 232515 h 566217"/>
                <a:gd name="connsiteX41" fmla="*/ 506351 w 607639"/>
                <a:gd name="connsiteY41" fmla="*/ 222471 h 566217"/>
                <a:gd name="connsiteX42" fmla="*/ 496205 w 607639"/>
                <a:gd name="connsiteY42" fmla="*/ 232515 h 566217"/>
                <a:gd name="connsiteX43" fmla="*/ 496205 w 607639"/>
                <a:gd name="connsiteY43" fmla="*/ 313486 h 566217"/>
                <a:gd name="connsiteX44" fmla="*/ 506351 w 607639"/>
                <a:gd name="connsiteY44" fmla="*/ 323530 h 566217"/>
                <a:gd name="connsiteX45" fmla="*/ 516498 w 607639"/>
                <a:gd name="connsiteY45" fmla="*/ 313486 h 566217"/>
                <a:gd name="connsiteX46" fmla="*/ 516498 w 607639"/>
                <a:gd name="connsiteY46" fmla="*/ 232515 h 566217"/>
                <a:gd name="connsiteX47" fmla="*/ 506351 w 607639"/>
                <a:gd name="connsiteY47" fmla="*/ 222471 h 566217"/>
                <a:gd name="connsiteX48" fmla="*/ 196595 w 607639"/>
                <a:gd name="connsiteY48" fmla="*/ 192079 h 566217"/>
                <a:gd name="connsiteX49" fmla="*/ 272100 w 607639"/>
                <a:gd name="connsiteY49" fmla="*/ 192079 h 566217"/>
                <a:gd name="connsiteX50" fmla="*/ 247258 w 607639"/>
                <a:gd name="connsiteY50" fmla="*/ 242604 h 566217"/>
                <a:gd name="connsiteX51" fmla="*/ 465854 w 607639"/>
                <a:gd name="connsiteY51" fmla="*/ 182030 h 566217"/>
                <a:gd name="connsiteX52" fmla="*/ 455707 w 607639"/>
                <a:gd name="connsiteY52" fmla="*/ 192074 h 566217"/>
                <a:gd name="connsiteX53" fmla="*/ 455707 w 607639"/>
                <a:gd name="connsiteY53" fmla="*/ 313486 h 566217"/>
                <a:gd name="connsiteX54" fmla="*/ 465854 w 607639"/>
                <a:gd name="connsiteY54" fmla="*/ 323530 h 566217"/>
                <a:gd name="connsiteX55" fmla="*/ 476000 w 607639"/>
                <a:gd name="connsiteY55" fmla="*/ 313486 h 566217"/>
                <a:gd name="connsiteX56" fmla="*/ 476000 w 607639"/>
                <a:gd name="connsiteY56" fmla="*/ 192074 h 566217"/>
                <a:gd name="connsiteX57" fmla="*/ 465854 w 607639"/>
                <a:gd name="connsiteY57" fmla="*/ 182030 h 566217"/>
                <a:gd name="connsiteX58" fmla="*/ 499142 w 607639"/>
                <a:gd name="connsiteY58" fmla="*/ 103992 h 566217"/>
                <a:gd name="connsiteX59" fmla="*/ 497896 w 607639"/>
                <a:gd name="connsiteY59" fmla="*/ 105503 h 566217"/>
                <a:gd name="connsiteX60" fmla="*/ 497006 w 607639"/>
                <a:gd name="connsiteY60" fmla="*/ 107369 h 566217"/>
                <a:gd name="connsiteX61" fmla="*/ 496383 w 607639"/>
                <a:gd name="connsiteY61" fmla="*/ 109147 h 566217"/>
                <a:gd name="connsiteX62" fmla="*/ 496205 w 607639"/>
                <a:gd name="connsiteY62" fmla="*/ 111191 h 566217"/>
                <a:gd name="connsiteX63" fmla="*/ 496383 w 607639"/>
                <a:gd name="connsiteY63" fmla="*/ 113236 h 566217"/>
                <a:gd name="connsiteX64" fmla="*/ 497006 w 607639"/>
                <a:gd name="connsiteY64" fmla="*/ 115013 h 566217"/>
                <a:gd name="connsiteX65" fmla="*/ 497896 w 607639"/>
                <a:gd name="connsiteY65" fmla="*/ 116880 h 566217"/>
                <a:gd name="connsiteX66" fmla="*/ 499142 w 607639"/>
                <a:gd name="connsiteY66" fmla="*/ 118391 h 566217"/>
                <a:gd name="connsiteX67" fmla="*/ 506351 w 607639"/>
                <a:gd name="connsiteY67" fmla="*/ 121324 h 566217"/>
                <a:gd name="connsiteX68" fmla="*/ 513561 w 607639"/>
                <a:gd name="connsiteY68" fmla="*/ 118391 h 566217"/>
                <a:gd name="connsiteX69" fmla="*/ 516498 w 607639"/>
                <a:gd name="connsiteY69" fmla="*/ 111191 h 566217"/>
                <a:gd name="connsiteX70" fmla="*/ 513561 w 607639"/>
                <a:gd name="connsiteY70" fmla="*/ 103992 h 566217"/>
                <a:gd name="connsiteX71" fmla="*/ 499142 w 607639"/>
                <a:gd name="connsiteY71" fmla="*/ 103992 h 566217"/>
                <a:gd name="connsiteX72" fmla="*/ 374712 w 607639"/>
                <a:gd name="connsiteY72" fmla="*/ 101059 h 566217"/>
                <a:gd name="connsiteX73" fmla="*/ 364566 w 607639"/>
                <a:gd name="connsiteY73" fmla="*/ 111191 h 566217"/>
                <a:gd name="connsiteX74" fmla="*/ 374712 w 607639"/>
                <a:gd name="connsiteY74" fmla="*/ 121324 h 566217"/>
                <a:gd name="connsiteX75" fmla="*/ 455707 w 607639"/>
                <a:gd name="connsiteY75" fmla="*/ 121324 h 566217"/>
                <a:gd name="connsiteX76" fmla="*/ 465854 w 607639"/>
                <a:gd name="connsiteY76" fmla="*/ 111191 h 566217"/>
                <a:gd name="connsiteX77" fmla="*/ 455707 w 607639"/>
                <a:gd name="connsiteY77" fmla="*/ 101059 h 566217"/>
                <a:gd name="connsiteX78" fmla="*/ 162007 w 607639"/>
                <a:gd name="connsiteY78" fmla="*/ 82209 h 566217"/>
                <a:gd name="connsiteX79" fmla="*/ 162007 w 607639"/>
                <a:gd name="connsiteY79" fmla="*/ 181568 h 566217"/>
                <a:gd name="connsiteX80" fmla="*/ 162096 w 607639"/>
                <a:gd name="connsiteY80" fmla="*/ 181657 h 566217"/>
                <a:gd name="connsiteX81" fmla="*/ 165033 w 607639"/>
                <a:gd name="connsiteY81" fmla="*/ 189123 h 566217"/>
                <a:gd name="connsiteX82" fmla="*/ 231878 w 607639"/>
                <a:gd name="connsiteY82" fmla="*/ 255866 h 566217"/>
                <a:gd name="connsiteX83" fmla="*/ 177227 w 607639"/>
                <a:gd name="connsiteY83" fmla="*/ 273018 h 566217"/>
                <a:gd name="connsiteX84" fmla="*/ 81009 w 607639"/>
                <a:gd name="connsiteY84" fmla="*/ 176947 h 566217"/>
                <a:gd name="connsiteX85" fmla="*/ 162007 w 607639"/>
                <a:gd name="connsiteY85" fmla="*/ 82209 h 566217"/>
                <a:gd name="connsiteX86" fmla="*/ 182271 w 607639"/>
                <a:gd name="connsiteY86" fmla="*/ 81150 h 566217"/>
                <a:gd name="connsiteX87" fmla="*/ 185209 w 607639"/>
                <a:gd name="connsiteY87" fmla="*/ 81239 h 566217"/>
                <a:gd name="connsiteX88" fmla="*/ 188503 w 607639"/>
                <a:gd name="connsiteY88" fmla="*/ 81594 h 566217"/>
                <a:gd name="connsiteX89" fmla="*/ 195268 w 607639"/>
                <a:gd name="connsiteY89" fmla="*/ 82661 h 566217"/>
                <a:gd name="connsiteX90" fmla="*/ 197315 w 607639"/>
                <a:gd name="connsiteY90" fmla="*/ 83017 h 566217"/>
                <a:gd name="connsiteX91" fmla="*/ 205505 w 607639"/>
                <a:gd name="connsiteY91" fmla="*/ 85150 h 566217"/>
                <a:gd name="connsiteX92" fmla="*/ 205950 w 607639"/>
                <a:gd name="connsiteY92" fmla="*/ 85239 h 566217"/>
                <a:gd name="connsiteX93" fmla="*/ 269064 w 607639"/>
                <a:gd name="connsiteY93" fmla="*/ 148255 h 566217"/>
                <a:gd name="connsiteX94" fmla="*/ 269153 w 607639"/>
                <a:gd name="connsiteY94" fmla="*/ 148788 h 566217"/>
                <a:gd name="connsiteX95" fmla="*/ 271290 w 607639"/>
                <a:gd name="connsiteY95" fmla="*/ 156876 h 566217"/>
                <a:gd name="connsiteX96" fmla="*/ 271646 w 607639"/>
                <a:gd name="connsiteY96" fmla="*/ 158921 h 566217"/>
                <a:gd name="connsiteX97" fmla="*/ 272714 w 607639"/>
                <a:gd name="connsiteY97" fmla="*/ 165764 h 566217"/>
                <a:gd name="connsiteX98" fmla="*/ 272981 w 607639"/>
                <a:gd name="connsiteY98" fmla="*/ 168875 h 566217"/>
                <a:gd name="connsiteX99" fmla="*/ 273159 w 607639"/>
                <a:gd name="connsiteY99" fmla="*/ 171897 h 566217"/>
                <a:gd name="connsiteX100" fmla="*/ 182271 w 607639"/>
                <a:gd name="connsiteY100" fmla="*/ 171897 h 566217"/>
                <a:gd name="connsiteX101" fmla="*/ 177210 w 607639"/>
                <a:gd name="connsiteY101" fmla="*/ 60617 h 566217"/>
                <a:gd name="connsiteX102" fmla="*/ 174451 w 607639"/>
                <a:gd name="connsiteY102" fmla="*/ 60795 h 566217"/>
                <a:gd name="connsiteX103" fmla="*/ 171869 w 607639"/>
                <a:gd name="connsiteY103" fmla="*/ 60795 h 566217"/>
                <a:gd name="connsiteX104" fmla="*/ 167508 w 607639"/>
                <a:gd name="connsiteY104" fmla="*/ 61062 h 566217"/>
                <a:gd name="connsiteX105" fmla="*/ 167419 w 607639"/>
                <a:gd name="connsiteY105" fmla="*/ 61151 h 566217"/>
                <a:gd name="connsiteX106" fmla="*/ 60791 w 607639"/>
                <a:gd name="connsiteY106" fmla="*/ 176964 h 566217"/>
                <a:gd name="connsiteX107" fmla="*/ 177210 w 607639"/>
                <a:gd name="connsiteY107" fmla="*/ 293221 h 566217"/>
                <a:gd name="connsiteX108" fmla="*/ 253487 w 607639"/>
                <a:gd name="connsiteY108" fmla="*/ 264601 h 566217"/>
                <a:gd name="connsiteX109" fmla="*/ 254377 w 607639"/>
                <a:gd name="connsiteY109" fmla="*/ 264068 h 566217"/>
                <a:gd name="connsiteX110" fmla="*/ 254733 w 607639"/>
                <a:gd name="connsiteY110" fmla="*/ 263535 h 566217"/>
                <a:gd name="connsiteX111" fmla="*/ 293184 w 607639"/>
                <a:gd name="connsiteY111" fmla="*/ 186652 h 566217"/>
                <a:gd name="connsiteX112" fmla="*/ 293362 w 607639"/>
                <a:gd name="connsiteY112" fmla="*/ 186474 h 566217"/>
                <a:gd name="connsiteX113" fmla="*/ 293540 w 607639"/>
                <a:gd name="connsiteY113" fmla="*/ 182297 h 566217"/>
                <a:gd name="connsiteX114" fmla="*/ 293540 w 607639"/>
                <a:gd name="connsiteY114" fmla="*/ 179630 h 566217"/>
                <a:gd name="connsiteX115" fmla="*/ 293718 w 607639"/>
                <a:gd name="connsiteY115" fmla="*/ 176964 h 566217"/>
                <a:gd name="connsiteX116" fmla="*/ 293540 w 607639"/>
                <a:gd name="connsiteY116" fmla="*/ 173320 h 566217"/>
                <a:gd name="connsiteX117" fmla="*/ 293184 w 607639"/>
                <a:gd name="connsiteY117" fmla="*/ 167898 h 566217"/>
                <a:gd name="connsiteX118" fmla="*/ 292383 w 607639"/>
                <a:gd name="connsiteY118" fmla="*/ 160698 h 566217"/>
                <a:gd name="connsiteX119" fmla="*/ 291760 w 607639"/>
                <a:gd name="connsiteY119" fmla="*/ 156432 h 566217"/>
                <a:gd name="connsiteX120" fmla="*/ 290068 w 607639"/>
                <a:gd name="connsiteY120" fmla="*/ 148522 h 566217"/>
                <a:gd name="connsiteX121" fmla="*/ 289178 w 607639"/>
                <a:gd name="connsiteY121" fmla="*/ 145144 h 566217"/>
                <a:gd name="connsiteX122" fmla="*/ 286508 w 607639"/>
                <a:gd name="connsiteY122" fmla="*/ 137145 h 566217"/>
                <a:gd name="connsiteX123" fmla="*/ 285351 w 607639"/>
                <a:gd name="connsiteY123" fmla="*/ 133856 h 566217"/>
                <a:gd name="connsiteX124" fmla="*/ 282058 w 607639"/>
                <a:gd name="connsiteY124" fmla="*/ 126657 h 566217"/>
                <a:gd name="connsiteX125" fmla="*/ 280278 w 607639"/>
                <a:gd name="connsiteY125" fmla="*/ 122924 h 566217"/>
                <a:gd name="connsiteX126" fmla="*/ 276896 w 607639"/>
                <a:gd name="connsiteY126" fmla="*/ 117057 h 566217"/>
                <a:gd name="connsiteX127" fmla="*/ 274136 w 607639"/>
                <a:gd name="connsiteY127" fmla="*/ 112613 h 566217"/>
                <a:gd name="connsiteX128" fmla="*/ 271199 w 607639"/>
                <a:gd name="connsiteY128" fmla="*/ 108525 h 566217"/>
                <a:gd name="connsiteX129" fmla="*/ 267105 w 607639"/>
                <a:gd name="connsiteY129" fmla="*/ 103014 h 566217"/>
                <a:gd name="connsiteX130" fmla="*/ 266571 w 607639"/>
                <a:gd name="connsiteY130" fmla="*/ 102481 h 566217"/>
                <a:gd name="connsiteX131" fmla="*/ 259540 w 607639"/>
                <a:gd name="connsiteY131" fmla="*/ 94659 h 566217"/>
                <a:gd name="connsiteX132" fmla="*/ 251351 w 607639"/>
                <a:gd name="connsiteY132" fmla="*/ 87371 h 566217"/>
                <a:gd name="connsiteX133" fmla="*/ 251262 w 607639"/>
                <a:gd name="connsiteY133" fmla="*/ 87193 h 566217"/>
                <a:gd name="connsiteX134" fmla="*/ 245388 w 607639"/>
                <a:gd name="connsiteY134" fmla="*/ 82838 h 566217"/>
                <a:gd name="connsiteX135" fmla="*/ 241739 w 607639"/>
                <a:gd name="connsiteY135" fmla="*/ 80171 h 566217"/>
                <a:gd name="connsiteX136" fmla="*/ 236843 w 607639"/>
                <a:gd name="connsiteY136" fmla="*/ 77238 h 566217"/>
                <a:gd name="connsiteX137" fmla="*/ 231414 w 607639"/>
                <a:gd name="connsiteY137" fmla="*/ 74039 h 566217"/>
                <a:gd name="connsiteX138" fmla="*/ 227231 w 607639"/>
                <a:gd name="connsiteY138" fmla="*/ 72083 h 566217"/>
                <a:gd name="connsiteX139" fmla="*/ 220466 w 607639"/>
                <a:gd name="connsiteY139" fmla="*/ 69061 h 566217"/>
                <a:gd name="connsiteX140" fmla="*/ 216817 w 607639"/>
                <a:gd name="connsiteY140" fmla="*/ 67728 h 566217"/>
                <a:gd name="connsiteX141" fmla="*/ 209252 w 607639"/>
                <a:gd name="connsiteY141" fmla="*/ 65239 h 566217"/>
                <a:gd name="connsiteX142" fmla="*/ 205513 w 607639"/>
                <a:gd name="connsiteY142" fmla="*/ 64262 h 566217"/>
                <a:gd name="connsiteX143" fmla="*/ 197770 w 607639"/>
                <a:gd name="connsiteY143" fmla="*/ 62573 h 566217"/>
                <a:gd name="connsiteX144" fmla="*/ 193498 w 607639"/>
                <a:gd name="connsiteY144" fmla="*/ 61951 h 566217"/>
                <a:gd name="connsiteX145" fmla="*/ 186199 w 607639"/>
                <a:gd name="connsiteY145" fmla="*/ 61062 h 566217"/>
                <a:gd name="connsiteX146" fmla="*/ 181037 w 607639"/>
                <a:gd name="connsiteY146" fmla="*/ 60795 h 566217"/>
                <a:gd name="connsiteX147" fmla="*/ 177210 w 607639"/>
                <a:gd name="connsiteY147" fmla="*/ 60617 h 566217"/>
                <a:gd name="connsiteX148" fmla="*/ 431587 w 607639"/>
                <a:gd name="connsiteY148" fmla="*/ 51374 h 566217"/>
                <a:gd name="connsiteX149" fmla="*/ 428294 w 607639"/>
                <a:gd name="connsiteY149" fmla="*/ 53418 h 566217"/>
                <a:gd name="connsiteX150" fmla="*/ 425356 w 607639"/>
                <a:gd name="connsiteY150" fmla="*/ 60617 h 566217"/>
                <a:gd name="connsiteX151" fmla="*/ 428294 w 607639"/>
                <a:gd name="connsiteY151" fmla="*/ 67817 h 566217"/>
                <a:gd name="connsiteX152" fmla="*/ 435414 w 607639"/>
                <a:gd name="connsiteY152" fmla="*/ 70750 h 566217"/>
                <a:gd name="connsiteX153" fmla="*/ 442623 w 607639"/>
                <a:gd name="connsiteY153" fmla="*/ 67817 h 566217"/>
                <a:gd name="connsiteX154" fmla="*/ 445561 w 607639"/>
                <a:gd name="connsiteY154" fmla="*/ 60617 h 566217"/>
                <a:gd name="connsiteX155" fmla="*/ 442623 w 607639"/>
                <a:gd name="connsiteY155" fmla="*/ 53418 h 566217"/>
                <a:gd name="connsiteX156" fmla="*/ 431587 w 607639"/>
                <a:gd name="connsiteY156" fmla="*/ 51374 h 566217"/>
                <a:gd name="connsiteX157" fmla="*/ 476000 w 607639"/>
                <a:gd name="connsiteY157" fmla="*/ 50485 h 566217"/>
                <a:gd name="connsiteX158" fmla="*/ 465854 w 607639"/>
                <a:gd name="connsiteY158" fmla="*/ 60617 h 566217"/>
                <a:gd name="connsiteX159" fmla="*/ 476000 w 607639"/>
                <a:gd name="connsiteY159" fmla="*/ 70750 h 566217"/>
                <a:gd name="connsiteX160" fmla="*/ 506351 w 607639"/>
                <a:gd name="connsiteY160" fmla="*/ 70750 h 566217"/>
                <a:gd name="connsiteX161" fmla="*/ 516498 w 607639"/>
                <a:gd name="connsiteY161" fmla="*/ 60617 h 566217"/>
                <a:gd name="connsiteX162" fmla="*/ 506351 w 607639"/>
                <a:gd name="connsiteY162" fmla="*/ 50485 h 566217"/>
                <a:gd name="connsiteX163" fmla="*/ 374712 w 607639"/>
                <a:gd name="connsiteY163" fmla="*/ 50485 h 566217"/>
                <a:gd name="connsiteX164" fmla="*/ 364566 w 607639"/>
                <a:gd name="connsiteY164" fmla="*/ 60617 h 566217"/>
                <a:gd name="connsiteX165" fmla="*/ 374712 w 607639"/>
                <a:gd name="connsiteY165" fmla="*/ 70750 h 566217"/>
                <a:gd name="connsiteX166" fmla="*/ 394917 w 607639"/>
                <a:gd name="connsiteY166" fmla="*/ 70750 h 566217"/>
                <a:gd name="connsiteX167" fmla="*/ 405063 w 607639"/>
                <a:gd name="connsiteY167" fmla="*/ 60617 h 566217"/>
                <a:gd name="connsiteX168" fmla="*/ 394917 w 607639"/>
                <a:gd name="connsiteY168" fmla="*/ 50485 h 566217"/>
                <a:gd name="connsiteX169" fmla="*/ 45571 w 607639"/>
                <a:gd name="connsiteY169" fmla="*/ 0 h 566217"/>
                <a:gd name="connsiteX170" fmla="*/ 562069 w 607639"/>
                <a:gd name="connsiteY170" fmla="*/ 0 h 566217"/>
                <a:gd name="connsiteX171" fmla="*/ 607639 w 607639"/>
                <a:gd name="connsiteY171" fmla="*/ 45508 h 566217"/>
                <a:gd name="connsiteX172" fmla="*/ 607639 w 607639"/>
                <a:gd name="connsiteY172" fmla="*/ 343795 h 566217"/>
                <a:gd name="connsiteX173" fmla="*/ 0 w 607639"/>
                <a:gd name="connsiteY173" fmla="*/ 343795 h 566217"/>
                <a:gd name="connsiteX174" fmla="*/ 0 w 607639"/>
                <a:gd name="connsiteY174" fmla="*/ 45508 h 566217"/>
                <a:gd name="connsiteX175" fmla="*/ 45571 w 607639"/>
                <a:gd name="connsiteY175" fmla="*/ 0 h 566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</a:cxnLst>
              <a:rect l="l" t="t" r="r" b="b"/>
              <a:pathLst>
                <a:path w="607639" h="566217">
                  <a:moveTo>
                    <a:pt x="261053" y="444915"/>
                  </a:moveTo>
                  <a:lnTo>
                    <a:pt x="245922" y="505522"/>
                  </a:lnTo>
                  <a:lnTo>
                    <a:pt x="361718" y="505522"/>
                  </a:lnTo>
                  <a:lnTo>
                    <a:pt x="346498" y="444915"/>
                  </a:lnTo>
                  <a:close/>
                  <a:moveTo>
                    <a:pt x="0" y="364047"/>
                  </a:moveTo>
                  <a:lnTo>
                    <a:pt x="607639" y="364047"/>
                  </a:lnTo>
                  <a:lnTo>
                    <a:pt x="607639" y="399416"/>
                  </a:lnTo>
                  <a:cubicBezTo>
                    <a:pt x="607639" y="424476"/>
                    <a:pt x="587168" y="444915"/>
                    <a:pt x="562069" y="444915"/>
                  </a:cubicBezTo>
                  <a:lnTo>
                    <a:pt x="367414" y="444915"/>
                  </a:lnTo>
                  <a:lnTo>
                    <a:pt x="382634" y="505522"/>
                  </a:lnTo>
                  <a:lnTo>
                    <a:pt x="384859" y="505522"/>
                  </a:lnTo>
                  <a:cubicBezTo>
                    <a:pt x="412718" y="505522"/>
                    <a:pt x="435414" y="528271"/>
                    <a:pt x="435414" y="556086"/>
                  </a:cubicBezTo>
                  <a:cubicBezTo>
                    <a:pt x="435414" y="561685"/>
                    <a:pt x="430964" y="566217"/>
                    <a:pt x="425356" y="566217"/>
                  </a:cubicBezTo>
                  <a:lnTo>
                    <a:pt x="182283" y="566217"/>
                  </a:lnTo>
                  <a:cubicBezTo>
                    <a:pt x="176676" y="566217"/>
                    <a:pt x="172136" y="561685"/>
                    <a:pt x="172136" y="556086"/>
                  </a:cubicBezTo>
                  <a:cubicBezTo>
                    <a:pt x="172136" y="528271"/>
                    <a:pt x="194833" y="505522"/>
                    <a:pt x="222780" y="505522"/>
                  </a:cubicBezTo>
                  <a:lnTo>
                    <a:pt x="225006" y="505522"/>
                  </a:lnTo>
                  <a:lnTo>
                    <a:pt x="240225" y="444915"/>
                  </a:lnTo>
                  <a:lnTo>
                    <a:pt x="45571" y="444915"/>
                  </a:lnTo>
                  <a:cubicBezTo>
                    <a:pt x="20471" y="444915"/>
                    <a:pt x="0" y="424476"/>
                    <a:pt x="0" y="399416"/>
                  </a:cubicBezTo>
                  <a:close/>
                  <a:moveTo>
                    <a:pt x="344273" y="273045"/>
                  </a:moveTo>
                  <a:cubicBezTo>
                    <a:pt x="338754" y="273045"/>
                    <a:pt x="334215" y="277578"/>
                    <a:pt x="334215" y="283089"/>
                  </a:cubicBezTo>
                  <a:lnTo>
                    <a:pt x="334215" y="313486"/>
                  </a:lnTo>
                  <a:cubicBezTo>
                    <a:pt x="334215" y="318997"/>
                    <a:pt x="338754" y="323530"/>
                    <a:pt x="344273" y="323530"/>
                  </a:cubicBezTo>
                  <a:cubicBezTo>
                    <a:pt x="349880" y="323530"/>
                    <a:pt x="354419" y="318997"/>
                    <a:pt x="354419" y="313486"/>
                  </a:cubicBezTo>
                  <a:lnTo>
                    <a:pt x="354419" y="283089"/>
                  </a:lnTo>
                  <a:cubicBezTo>
                    <a:pt x="354419" y="277578"/>
                    <a:pt x="349880" y="273045"/>
                    <a:pt x="344273" y="273045"/>
                  </a:cubicBezTo>
                  <a:close/>
                  <a:moveTo>
                    <a:pt x="425356" y="252780"/>
                  </a:moveTo>
                  <a:cubicBezTo>
                    <a:pt x="419749" y="252780"/>
                    <a:pt x="415210" y="257313"/>
                    <a:pt x="415210" y="262913"/>
                  </a:cubicBezTo>
                  <a:lnTo>
                    <a:pt x="415210" y="313486"/>
                  </a:lnTo>
                  <a:cubicBezTo>
                    <a:pt x="415210" y="318997"/>
                    <a:pt x="419749" y="323530"/>
                    <a:pt x="425356" y="323530"/>
                  </a:cubicBezTo>
                  <a:cubicBezTo>
                    <a:pt x="430964" y="323530"/>
                    <a:pt x="435414" y="318997"/>
                    <a:pt x="435414" y="313486"/>
                  </a:cubicBezTo>
                  <a:lnTo>
                    <a:pt x="435414" y="262913"/>
                  </a:lnTo>
                  <a:cubicBezTo>
                    <a:pt x="435414" y="257313"/>
                    <a:pt x="430964" y="252780"/>
                    <a:pt x="425356" y="252780"/>
                  </a:cubicBezTo>
                  <a:close/>
                  <a:moveTo>
                    <a:pt x="384859" y="232515"/>
                  </a:moveTo>
                  <a:cubicBezTo>
                    <a:pt x="379252" y="232515"/>
                    <a:pt x="374712" y="237048"/>
                    <a:pt x="374712" y="242648"/>
                  </a:cubicBezTo>
                  <a:lnTo>
                    <a:pt x="374712" y="313486"/>
                  </a:lnTo>
                  <a:cubicBezTo>
                    <a:pt x="374712" y="318997"/>
                    <a:pt x="379252" y="323530"/>
                    <a:pt x="384859" y="323530"/>
                  </a:cubicBezTo>
                  <a:cubicBezTo>
                    <a:pt x="390466" y="323530"/>
                    <a:pt x="394917" y="318997"/>
                    <a:pt x="394917" y="313486"/>
                  </a:cubicBezTo>
                  <a:lnTo>
                    <a:pt x="394917" y="242648"/>
                  </a:lnTo>
                  <a:cubicBezTo>
                    <a:pt x="394917" y="237048"/>
                    <a:pt x="390466" y="232515"/>
                    <a:pt x="384859" y="232515"/>
                  </a:cubicBezTo>
                  <a:close/>
                  <a:moveTo>
                    <a:pt x="506351" y="222471"/>
                  </a:moveTo>
                  <a:cubicBezTo>
                    <a:pt x="500744" y="222471"/>
                    <a:pt x="496205" y="227004"/>
                    <a:pt x="496205" y="232515"/>
                  </a:cubicBezTo>
                  <a:lnTo>
                    <a:pt x="496205" y="313486"/>
                  </a:lnTo>
                  <a:cubicBezTo>
                    <a:pt x="496205" y="318997"/>
                    <a:pt x="500744" y="323530"/>
                    <a:pt x="506351" y="323530"/>
                  </a:cubicBezTo>
                  <a:cubicBezTo>
                    <a:pt x="511959" y="323530"/>
                    <a:pt x="516498" y="318997"/>
                    <a:pt x="516498" y="313486"/>
                  </a:cubicBezTo>
                  <a:lnTo>
                    <a:pt x="516498" y="232515"/>
                  </a:lnTo>
                  <a:cubicBezTo>
                    <a:pt x="516498" y="227004"/>
                    <a:pt x="511959" y="222471"/>
                    <a:pt x="506351" y="222471"/>
                  </a:cubicBezTo>
                  <a:close/>
                  <a:moveTo>
                    <a:pt x="196595" y="192079"/>
                  </a:moveTo>
                  <a:lnTo>
                    <a:pt x="272100" y="192079"/>
                  </a:lnTo>
                  <a:cubicBezTo>
                    <a:pt x="268984" y="211437"/>
                    <a:pt x="260080" y="228929"/>
                    <a:pt x="247258" y="242604"/>
                  </a:cubicBezTo>
                  <a:close/>
                  <a:moveTo>
                    <a:pt x="465854" y="182030"/>
                  </a:moveTo>
                  <a:cubicBezTo>
                    <a:pt x="460247" y="182030"/>
                    <a:pt x="455707" y="186563"/>
                    <a:pt x="455707" y="192074"/>
                  </a:cubicBezTo>
                  <a:lnTo>
                    <a:pt x="455707" y="313486"/>
                  </a:lnTo>
                  <a:cubicBezTo>
                    <a:pt x="455707" y="318997"/>
                    <a:pt x="460247" y="323530"/>
                    <a:pt x="465854" y="323530"/>
                  </a:cubicBezTo>
                  <a:cubicBezTo>
                    <a:pt x="471461" y="323530"/>
                    <a:pt x="476000" y="318997"/>
                    <a:pt x="476000" y="313486"/>
                  </a:cubicBezTo>
                  <a:lnTo>
                    <a:pt x="476000" y="192074"/>
                  </a:lnTo>
                  <a:cubicBezTo>
                    <a:pt x="476000" y="186563"/>
                    <a:pt x="471461" y="182030"/>
                    <a:pt x="465854" y="182030"/>
                  </a:cubicBezTo>
                  <a:close/>
                  <a:moveTo>
                    <a:pt x="499142" y="103992"/>
                  </a:moveTo>
                  <a:cubicBezTo>
                    <a:pt x="498786" y="104525"/>
                    <a:pt x="498252" y="105058"/>
                    <a:pt x="497896" y="105503"/>
                  </a:cubicBezTo>
                  <a:cubicBezTo>
                    <a:pt x="497540" y="106125"/>
                    <a:pt x="497273" y="106747"/>
                    <a:pt x="497006" y="107369"/>
                  </a:cubicBezTo>
                  <a:cubicBezTo>
                    <a:pt x="496739" y="107992"/>
                    <a:pt x="496561" y="108614"/>
                    <a:pt x="496383" y="109147"/>
                  </a:cubicBezTo>
                  <a:cubicBezTo>
                    <a:pt x="496294" y="109858"/>
                    <a:pt x="496205" y="110569"/>
                    <a:pt x="496205" y="111191"/>
                  </a:cubicBezTo>
                  <a:cubicBezTo>
                    <a:pt x="496205" y="111813"/>
                    <a:pt x="496294" y="112524"/>
                    <a:pt x="496383" y="113236"/>
                  </a:cubicBezTo>
                  <a:cubicBezTo>
                    <a:pt x="496561" y="113858"/>
                    <a:pt x="496739" y="114480"/>
                    <a:pt x="497006" y="115013"/>
                  </a:cubicBezTo>
                  <a:cubicBezTo>
                    <a:pt x="497273" y="115635"/>
                    <a:pt x="497540" y="116258"/>
                    <a:pt x="497896" y="116880"/>
                  </a:cubicBezTo>
                  <a:cubicBezTo>
                    <a:pt x="498252" y="117413"/>
                    <a:pt x="498786" y="117857"/>
                    <a:pt x="499142" y="118391"/>
                  </a:cubicBezTo>
                  <a:cubicBezTo>
                    <a:pt x="501100" y="120168"/>
                    <a:pt x="503681" y="121324"/>
                    <a:pt x="506351" y="121324"/>
                  </a:cubicBezTo>
                  <a:cubicBezTo>
                    <a:pt x="509021" y="121324"/>
                    <a:pt x="511603" y="120168"/>
                    <a:pt x="513561" y="118391"/>
                  </a:cubicBezTo>
                  <a:cubicBezTo>
                    <a:pt x="515341" y="116435"/>
                    <a:pt x="516498" y="113947"/>
                    <a:pt x="516498" y="111191"/>
                  </a:cubicBezTo>
                  <a:cubicBezTo>
                    <a:pt x="516498" y="108436"/>
                    <a:pt x="515341" y="105947"/>
                    <a:pt x="513561" y="103992"/>
                  </a:cubicBezTo>
                  <a:cubicBezTo>
                    <a:pt x="509644" y="100259"/>
                    <a:pt x="502880" y="100259"/>
                    <a:pt x="499142" y="103992"/>
                  </a:cubicBezTo>
                  <a:close/>
                  <a:moveTo>
                    <a:pt x="374712" y="101059"/>
                  </a:moveTo>
                  <a:cubicBezTo>
                    <a:pt x="369105" y="101059"/>
                    <a:pt x="364566" y="105592"/>
                    <a:pt x="364566" y="111191"/>
                  </a:cubicBezTo>
                  <a:cubicBezTo>
                    <a:pt x="364566" y="116791"/>
                    <a:pt x="369105" y="121324"/>
                    <a:pt x="374712" y="121324"/>
                  </a:cubicBezTo>
                  <a:lnTo>
                    <a:pt x="455707" y="121324"/>
                  </a:lnTo>
                  <a:cubicBezTo>
                    <a:pt x="461315" y="121324"/>
                    <a:pt x="465854" y="116791"/>
                    <a:pt x="465854" y="111191"/>
                  </a:cubicBezTo>
                  <a:cubicBezTo>
                    <a:pt x="465854" y="105592"/>
                    <a:pt x="461315" y="101059"/>
                    <a:pt x="455707" y="101059"/>
                  </a:cubicBezTo>
                  <a:close/>
                  <a:moveTo>
                    <a:pt x="162007" y="82209"/>
                  </a:moveTo>
                  <a:lnTo>
                    <a:pt x="162007" y="181568"/>
                  </a:lnTo>
                  <a:lnTo>
                    <a:pt x="162096" y="181657"/>
                  </a:lnTo>
                  <a:cubicBezTo>
                    <a:pt x="162007" y="184323"/>
                    <a:pt x="162986" y="187078"/>
                    <a:pt x="165033" y="189123"/>
                  </a:cubicBezTo>
                  <a:lnTo>
                    <a:pt x="231878" y="255866"/>
                  </a:lnTo>
                  <a:cubicBezTo>
                    <a:pt x="216391" y="266619"/>
                    <a:pt x="197521" y="273018"/>
                    <a:pt x="177227" y="273018"/>
                  </a:cubicBezTo>
                  <a:cubicBezTo>
                    <a:pt x="124178" y="273018"/>
                    <a:pt x="81009" y="229915"/>
                    <a:pt x="81009" y="176947"/>
                  </a:cubicBezTo>
                  <a:cubicBezTo>
                    <a:pt x="81009" y="129134"/>
                    <a:pt x="116257" y="89497"/>
                    <a:pt x="162007" y="82209"/>
                  </a:cubicBezTo>
                  <a:close/>
                  <a:moveTo>
                    <a:pt x="182271" y="81150"/>
                  </a:moveTo>
                  <a:cubicBezTo>
                    <a:pt x="183250" y="81150"/>
                    <a:pt x="184230" y="81150"/>
                    <a:pt x="185209" y="81239"/>
                  </a:cubicBezTo>
                  <a:cubicBezTo>
                    <a:pt x="186277" y="81328"/>
                    <a:pt x="187434" y="81417"/>
                    <a:pt x="188503" y="81594"/>
                  </a:cubicBezTo>
                  <a:cubicBezTo>
                    <a:pt x="190728" y="81861"/>
                    <a:pt x="193043" y="82217"/>
                    <a:pt x="195268" y="82661"/>
                  </a:cubicBezTo>
                  <a:cubicBezTo>
                    <a:pt x="195891" y="82750"/>
                    <a:pt x="196603" y="82839"/>
                    <a:pt x="197315" y="83017"/>
                  </a:cubicBezTo>
                  <a:cubicBezTo>
                    <a:pt x="200075" y="83550"/>
                    <a:pt x="202835" y="84261"/>
                    <a:pt x="205505" y="85150"/>
                  </a:cubicBezTo>
                  <a:cubicBezTo>
                    <a:pt x="205594" y="85150"/>
                    <a:pt x="205772" y="85150"/>
                    <a:pt x="205950" y="85239"/>
                  </a:cubicBezTo>
                  <a:cubicBezTo>
                    <a:pt x="235949" y="94571"/>
                    <a:pt x="259628" y="118302"/>
                    <a:pt x="269064" y="148255"/>
                  </a:cubicBezTo>
                  <a:cubicBezTo>
                    <a:pt x="269064" y="148433"/>
                    <a:pt x="269153" y="148610"/>
                    <a:pt x="269153" y="148788"/>
                  </a:cubicBezTo>
                  <a:cubicBezTo>
                    <a:pt x="270044" y="151455"/>
                    <a:pt x="270667" y="154121"/>
                    <a:pt x="271290" y="156876"/>
                  </a:cubicBezTo>
                  <a:cubicBezTo>
                    <a:pt x="271468" y="157587"/>
                    <a:pt x="271557" y="158209"/>
                    <a:pt x="271646" y="158921"/>
                  </a:cubicBezTo>
                  <a:cubicBezTo>
                    <a:pt x="272091" y="161143"/>
                    <a:pt x="272447" y="163453"/>
                    <a:pt x="272714" y="165764"/>
                  </a:cubicBezTo>
                  <a:cubicBezTo>
                    <a:pt x="272803" y="166742"/>
                    <a:pt x="272892" y="167809"/>
                    <a:pt x="272981" y="168875"/>
                  </a:cubicBezTo>
                  <a:cubicBezTo>
                    <a:pt x="273070" y="169853"/>
                    <a:pt x="273159" y="170831"/>
                    <a:pt x="273159" y="171897"/>
                  </a:cubicBezTo>
                  <a:lnTo>
                    <a:pt x="182271" y="171897"/>
                  </a:lnTo>
                  <a:close/>
                  <a:moveTo>
                    <a:pt x="177210" y="60617"/>
                  </a:moveTo>
                  <a:cubicBezTo>
                    <a:pt x="176320" y="60617"/>
                    <a:pt x="175430" y="60795"/>
                    <a:pt x="174451" y="60795"/>
                  </a:cubicBezTo>
                  <a:cubicBezTo>
                    <a:pt x="173561" y="60795"/>
                    <a:pt x="172759" y="60706"/>
                    <a:pt x="171869" y="60795"/>
                  </a:cubicBezTo>
                  <a:lnTo>
                    <a:pt x="167508" y="61062"/>
                  </a:lnTo>
                  <a:lnTo>
                    <a:pt x="167419" y="61151"/>
                  </a:lnTo>
                  <a:cubicBezTo>
                    <a:pt x="107786" y="66128"/>
                    <a:pt x="60791" y="116080"/>
                    <a:pt x="60791" y="176964"/>
                  </a:cubicBezTo>
                  <a:cubicBezTo>
                    <a:pt x="60791" y="241048"/>
                    <a:pt x="113037" y="293221"/>
                    <a:pt x="177210" y="293221"/>
                  </a:cubicBezTo>
                  <a:cubicBezTo>
                    <a:pt x="206403" y="293221"/>
                    <a:pt x="233016" y="282378"/>
                    <a:pt x="253487" y="264601"/>
                  </a:cubicBezTo>
                  <a:cubicBezTo>
                    <a:pt x="253754" y="264424"/>
                    <a:pt x="254110" y="264335"/>
                    <a:pt x="254377" y="264068"/>
                  </a:cubicBezTo>
                  <a:cubicBezTo>
                    <a:pt x="254466" y="263890"/>
                    <a:pt x="254555" y="263713"/>
                    <a:pt x="254733" y="263535"/>
                  </a:cubicBezTo>
                  <a:cubicBezTo>
                    <a:pt x="276273" y="244247"/>
                    <a:pt x="290602" y="217138"/>
                    <a:pt x="293184" y="186652"/>
                  </a:cubicBezTo>
                  <a:lnTo>
                    <a:pt x="293362" y="186474"/>
                  </a:lnTo>
                  <a:lnTo>
                    <a:pt x="293540" y="182297"/>
                  </a:lnTo>
                  <a:cubicBezTo>
                    <a:pt x="293629" y="181408"/>
                    <a:pt x="293540" y="180519"/>
                    <a:pt x="293540" y="179630"/>
                  </a:cubicBezTo>
                  <a:cubicBezTo>
                    <a:pt x="293540" y="178741"/>
                    <a:pt x="293718" y="177853"/>
                    <a:pt x="293718" y="176964"/>
                  </a:cubicBezTo>
                  <a:cubicBezTo>
                    <a:pt x="293718" y="175719"/>
                    <a:pt x="293540" y="174475"/>
                    <a:pt x="293540" y="173320"/>
                  </a:cubicBezTo>
                  <a:cubicBezTo>
                    <a:pt x="293451" y="171453"/>
                    <a:pt x="293362" y="169676"/>
                    <a:pt x="293184" y="167898"/>
                  </a:cubicBezTo>
                  <a:cubicBezTo>
                    <a:pt x="293006" y="165498"/>
                    <a:pt x="292739" y="163098"/>
                    <a:pt x="292383" y="160698"/>
                  </a:cubicBezTo>
                  <a:cubicBezTo>
                    <a:pt x="292205" y="159276"/>
                    <a:pt x="292027" y="157854"/>
                    <a:pt x="291760" y="156432"/>
                  </a:cubicBezTo>
                  <a:cubicBezTo>
                    <a:pt x="291314" y="153766"/>
                    <a:pt x="290691" y="151188"/>
                    <a:pt x="290068" y="148522"/>
                  </a:cubicBezTo>
                  <a:cubicBezTo>
                    <a:pt x="289712" y="147366"/>
                    <a:pt x="289445" y="146211"/>
                    <a:pt x="289178" y="145144"/>
                  </a:cubicBezTo>
                  <a:cubicBezTo>
                    <a:pt x="288377" y="142389"/>
                    <a:pt x="287487" y="139722"/>
                    <a:pt x="286508" y="137145"/>
                  </a:cubicBezTo>
                  <a:cubicBezTo>
                    <a:pt x="286152" y="136078"/>
                    <a:pt x="285707" y="134923"/>
                    <a:pt x="285351" y="133856"/>
                  </a:cubicBezTo>
                  <a:cubicBezTo>
                    <a:pt x="284283" y="131367"/>
                    <a:pt x="283215" y="129057"/>
                    <a:pt x="282058" y="126657"/>
                  </a:cubicBezTo>
                  <a:cubicBezTo>
                    <a:pt x="281435" y="125412"/>
                    <a:pt x="280901" y="124168"/>
                    <a:pt x="280278" y="122924"/>
                  </a:cubicBezTo>
                  <a:cubicBezTo>
                    <a:pt x="279210" y="120968"/>
                    <a:pt x="278053" y="119013"/>
                    <a:pt x="276896" y="117057"/>
                  </a:cubicBezTo>
                  <a:cubicBezTo>
                    <a:pt x="276006" y="115546"/>
                    <a:pt x="275116" y="114035"/>
                    <a:pt x="274136" y="112613"/>
                  </a:cubicBezTo>
                  <a:cubicBezTo>
                    <a:pt x="273246" y="111191"/>
                    <a:pt x="272178" y="109858"/>
                    <a:pt x="271199" y="108525"/>
                  </a:cubicBezTo>
                  <a:cubicBezTo>
                    <a:pt x="269864" y="106658"/>
                    <a:pt x="268529" y="104792"/>
                    <a:pt x="267105" y="103014"/>
                  </a:cubicBezTo>
                  <a:cubicBezTo>
                    <a:pt x="266927" y="102836"/>
                    <a:pt x="266749" y="102659"/>
                    <a:pt x="266571" y="102481"/>
                  </a:cubicBezTo>
                  <a:cubicBezTo>
                    <a:pt x="264346" y="99814"/>
                    <a:pt x="262032" y="97148"/>
                    <a:pt x="259540" y="94659"/>
                  </a:cubicBezTo>
                  <a:cubicBezTo>
                    <a:pt x="256958" y="92082"/>
                    <a:pt x="254199" y="89682"/>
                    <a:pt x="251351" y="87371"/>
                  </a:cubicBezTo>
                  <a:cubicBezTo>
                    <a:pt x="251351" y="87282"/>
                    <a:pt x="251262" y="87282"/>
                    <a:pt x="251262" y="87193"/>
                  </a:cubicBezTo>
                  <a:cubicBezTo>
                    <a:pt x="249393" y="85682"/>
                    <a:pt x="247346" y="84260"/>
                    <a:pt x="245388" y="82838"/>
                  </a:cubicBezTo>
                  <a:cubicBezTo>
                    <a:pt x="244142" y="81949"/>
                    <a:pt x="242985" y="81060"/>
                    <a:pt x="241739" y="80171"/>
                  </a:cubicBezTo>
                  <a:cubicBezTo>
                    <a:pt x="240136" y="79105"/>
                    <a:pt x="238445" y="78216"/>
                    <a:pt x="236843" y="77238"/>
                  </a:cubicBezTo>
                  <a:cubicBezTo>
                    <a:pt x="235063" y="76172"/>
                    <a:pt x="233283" y="75105"/>
                    <a:pt x="231414" y="74039"/>
                  </a:cubicBezTo>
                  <a:cubicBezTo>
                    <a:pt x="230079" y="73328"/>
                    <a:pt x="228655" y="72705"/>
                    <a:pt x="227231" y="72083"/>
                  </a:cubicBezTo>
                  <a:cubicBezTo>
                    <a:pt x="225006" y="71017"/>
                    <a:pt x="222780" y="69950"/>
                    <a:pt x="220466" y="69061"/>
                  </a:cubicBezTo>
                  <a:cubicBezTo>
                    <a:pt x="219309" y="68617"/>
                    <a:pt x="218063" y="68172"/>
                    <a:pt x="216817" y="67728"/>
                  </a:cubicBezTo>
                  <a:cubicBezTo>
                    <a:pt x="214325" y="66839"/>
                    <a:pt x="211833" y="65950"/>
                    <a:pt x="209252" y="65239"/>
                  </a:cubicBezTo>
                  <a:cubicBezTo>
                    <a:pt x="208006" y="64884"/>
                    <a:pt x="206759" y="64617"/>
                    <a:pt x="205513" y="64262"/>
                  </a:cubicBezTo>
                  <a:cubicBezTo>
                    <a:pt x="202932" y="63639"/>
                    <a:pt x="200440" y="63017"/>
                    <a:pt x="197770" y="62573"/>
                  </a:cubicBezTo>
                  <a:cubicBezTo>
                    <a:pt x="196346" y="62306"/>
                    <a:pt x="194922" y="62128"/>
                    <a:pt x="193498" y="61951"/>
                  </a:cubicBezTo>
                  <a:cubicBezTo>
                    <a:pt x="191095" y="61595"/>
                    <a:pt x="188691" y="61329"/>
                    <a:pt x="186199" y="61062"/>
                  </a:cubicBezTo>
                  <a:cubicBezTo>
                    <a:pt x="184508" y="60973"/>
                    <a:pt x="182728" y="60884"/>
                    <a:pt x="181037" y="60795"/>
                  </a:cubicBezTo>
                  <a:cubicBezTo>
                    <a:pt x="179702" y="60795"/>
                    <a:pt x="178456" y="60617"/>
                    <a:pt x="177210" y="60617"/>
                  </a:cubicBezTo>
                  <a:close/>
                  <a:moveTo>
                    <a:pt x="431587" y="51374"/>
                  </a:moveTo>
                  <a:cubicBezTo>
                    <a:pt x="430252" y="51818"/>
                    <a:pt x="429273" y="52529"/>
                    <a:pt x="428294" y="53418"/>
                  </a:cubicBezTo>
                  <a:cubicBezTo>
                    <a:pt x="426424" y="55373"/>
                    <a:pt x="425356" y="58040"/>
                    <a:pt x="425356" y="60617"/>
                  </a:cubicBezTo>
                  <a:cubicBezTo>
                    <a:pt x="425356" y="63284"/>
                    <a:pt x="426424" y="65862"/>
                    <a:pt x="428294" y="67817"/>
                  </a:cubicBezTo>
                  <a:cubicBezTo>
                    <a:pt x="430163" y="69683"/>
                    <a:pt x="432833" y="70750"/>
                    <a:pt x="435414" y="70750"/>
                  </a:cubicBezTo>
                  <a:cubicBezTo>
                    <a:pt x="438084" y="70750"/>
                    <a:pt x="440754" y="69683"/>
                    <a:pt x="442623" y="67817"/>
                  </a:cubicBezTo>
                  <a:cubicBezTo>
                    <a:pt x="444493" y="65862"/>
                    <a:pt x="445561" y="63284"/>
                    <a:pt x="445561" y="60617"/>
                  </a:cubicBezTo>
                  <a:cubicBezTo>
                    <a:pt x="445561" y="58040"/>
                    <a:pt x="444493" y="55373"/>
                    <a:pt x="442623" y="53418"/>
                  </a:cubicBezTo>
                  <a:cubicBezTo>
                    <a:pt x="439775" y="50663"/>
                    <a:pt x="435325" y="49685"/>
                    <a:pt x="431587" y="51374"/>
                  </a:cubicBezTo>
                  <a:close/>
                  <a:moveTo>
                    <a:pt x="476000" y="50485"/>
                  </a:moveTo>
                  <a:cubicBezTo>
                    <a:pt x="470393" y="50485"/>
                    <a:pt x="465854" y="55018"/>
                    <a:pt x="465854" y="60617"/>
                  </a:cubicBezTo>
                  <a:cubicBezTo>
                    <a:pt x="465854" y="66217"/>
                    <a:pt x="470393" y="70750"/>
                    <a:pt x="476000" y="70750"/>
                  </a:cubicBezTo>
                  <a:lnTo>
                    <a:pt x="506351" y="70750"/>
                  </a:lnTo>
                  <a:cubicBezTo>
                    <a:pt x="511959" y="70750"/>
                    <a:pt x="516498" y="66217"/>
                    <a:pt x="516498" y="60617"/>
                  </a:cubicBezTo>
                  <a:cubicBezTo>
                    <a:pt x="516498" y="55018"/>
                    <a:pt x="511959" y="50485"/>
                    <a:pt x="506351" y="50485"/>
                  </a:cubicBezTo>
                  <a:close/>
                  <a:moveTo>
                    <a:pt x="374712" y="50485"/>
                  </a:moveTo>
                  <a:cubicBezTo>
                    <a:pt x="369105" y="50485"/>
                    <a:pt x="364566" y="55018"/>
                    <a:pt x="364566" y="60617"/>
                  </a:cubicBezTo>
                  <a:cubicBezTo>
                    <a:pt x="364566" y="66217"/>
                    <a:pt x="369105" y="70750"/>
                    <a:pt x="374712" y="70750"/>
                  </a:cubicBezTo>
                  <a:lnTo>
                    <a:pt x="394917" y="70750"/>
                  </a:lnTo>
                  <a:cubicBezTo>
                    <a:pt x="400524" y="70750"/>
                    <a:pt x="405063" y="66217"/>
                    <a:pt x="405063" y="60617"/>
                  </a:cubicBezTo>
                  <a:cubicBezTo>
                    <a:pt x="405063" y="55018"/>
                    <a:pt x="400524" y="50485"/>
                    <a:pt x="394917" y="50485"/>
                  </a:cubicBezTo>
                  <a:close/>
                  <a:moveTo>
                    <a:pt x="45571" y="0"/>
                  </a:moveTo>
                  <a:lnTo>
                    <a:pt x="562069" y="0"/>
                  </a:lnTo>
                  <a:cubicBezTo>
                    <a:pt x="587168" y="0"/>
                    <a:pt x="607639" y="20354"/>
                    <a:pt x="607639" y="45508"/>
                  </a:cubicBezTo>
                  <a:lnTo>
                    <a:pt x="607639" y="343795"/>
                  </a:lnTo>
                  <a:lnTo>
                    <a:pt x="0" y="343795"/>
                  </a:lnTo>
                  <a:lnTo>
                    <a:pt x="0" y="45508"/>
                  </a:lnTo>
                  <a:cubicBezTo>
                    <a:pt x="0" y="20354"/>
                    <a:pt x="20471" y="0"/>
                    <a:pt x="45571" y="0"/>
                  </a:cubicBezTo>
                  <a:close/>
                </a:path>
              </a:pathLst>
            </a:custGeom>
            <a:gradFill>
              <a:gsLst>
                <a:gs pos="33000">
                  <a:srgbClr val="4EBCF7"/>
                </a:gs>
                <a:gs pos="99000">
                  <a:srgbClr val="0870D3"/>
                </a:gs>
              </a:gsLst>
              <a:lin ang="10800000" scaled="0"/>
            </a:gradFill>
            <a:ln>
              <a:noFill/>
            </a:ln>
            <a:effectLst/>
          </p:spPr>
        </p:sp>
        <p:sp>
          <p:nvSpPr>
            <p:cNvPr id="19" name="矩形 18"/>
            <p:cNvSpPr/>
            <p:nvPr/>
          </p:nvSpPr>
          <p:spPr>
            <a:xfrm>
              <a:off x="1082791" y="386741"/>
              <a:ext cx="3523722" cy="5232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2800" kern="0" dirty="0">
                  <a:solidFill>
                    <a:srgbClr val="0870D3"/>
                  </a:solidFill>
                  <a:effectLst>
                    <a:outerShdw blurRad="76200" dist="127000" dir="8100000" algn="tr" rotWithShape="0">
                      <a:prstClr val="black">
                        <a:alpha val="40000"/>
                      </a:prstClr>
                    </a:outerShdw>
                  </a:effectLst>
                  <a:latin typeface="思源黑体 CN Bold" panose="020B0800000000000000" pitchFamily="34" charset="-122"/>
                  <a:ea typeface="思源黑体 CN Bold" panose="020B0800000000000000" pitchFamily="34" charset="-122"/>
                  <a:cs typeface="+mn-ea"/>
                  <a:sym typeface="+mn-lt"/>
                </a:rPr>
                <a:t>ENTER YOUR TITLE</a:t>
              </a:r>
              <a:endParaRPr lang="zh-CN" altLang="en-US" sz="2800" kern="0" dirty="0">
                <a:solidFill>
                  <a:srgbClr val="0870D3"/>
                </a:solidFill>
                <a:effectLst>
                  <a:outerShdw blurRad="76200" dist="127000" dir="8100000" algn="tr" rotWithShape="0">
                    <a:prstClr val="black">
                      <a:alpha val="40000"/>
                    </a:prstClr>
                  </a:outerShdw>
                </a:effectLst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endParaRPr>
            </a:p>
          </p:txBody>
        </p: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3000">
        <p:fade/>
      </p:transition>
    </mc:Choice>
    <mc:Fallback xmlns="">
      <p:transition spd="med" advClick="0" advTm="3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6" grpId="0" animBg="1"/>
      <p:bldP spid="7" grpId="0"/>
      <p:bldP spid="8" grpId="0"/>
      <p:bldP spid="9" grpId="0"/>
      <p:bldP spid="10" grpId="0" animBg="1"/>
      <p:bldP spid="11" grpId="0" animBg="1"/>
      <p:bldP spid="12" grpId="0"/>
      <p:bldP spid="13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9525" imgH="9525" progId="TCLayout.ActiveDocument.1">
                  <p:embed/>
                </p:oleObj>
              </mc:Choice>
              <mc:Fallback>
                <p:oleObj name="think-cell Slide" r:id="rId8" imgW="9525" imgH="9525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椭圆 11"/>
          <p:cNvSpPr/>
          <p:nvPr userDrawn="1"/>
        </p:nvSpPr>
        <p:spPr>
          <a:xfrm>
            <a:off x="7738745" y="1475740"/>
            <a:ext cx="236855" cy="236855"/>
          </a:xfrm>
          <a:prstGeom prst="ellipse">
            <a:avLst/>
          </a:prstGeom>
          <a:gradFill>
            <a:gsLst>
              <a:gs pos="51000">
                <a:srgbClr val="A1E2FE"/>
              </a:gs>
              <a:gs pos="0">
                <a:srgbClr val="A1E2FE">
                  <a:lumMod val="72000"/>
                  <a:lumOff val="28000"/>
                </a:srgb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椭圆 12"/>
          <p:cNvSpPr/>
          <p:nvPr userDrawn="1"/>
        </p:nvSpPr>
        <p:spPr>
          <a:xfrm>
            <a:off x="7840345" y="1196340"/>
            <a:ext cx="440055" cy="440055"/>
          </a:xfrm>
          <a:prstGeom prst="ellipse">
            <a:avLst/>
          </a:prstGeom>
          <a:gradFill flip="none">
            <a:gsLst>
              <a:gs pos="51000">
                <a:srgbClr val="226AD0"/>
              </a:gs>
              <a:gs pos="0">
                <a:srgbClr val="0789DF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椭圆 13"/>
          <p:cNvSpPr/>
          <p:nvPr userDrawn="1"/>
        </p:nvSpPr>
        <p:spPr>
          <a:xfrm>
            <a:off x="-719455" y="-828040"/>
            <a:ext cx="1638935" cy="1638935"/>
          </a:xfrm>
          <a:prstGeom prst="ellipse">
            <a:avLst/>
          </a:prstGeom>
          <a:gradFill>
            <a:gsLst>
              <a:gs pos="51000">
                <a:srgbClr val="A1E2FE"/>
              </a:gs>
              <a:gs pos="0">
                <a:srgbClr val="A1E2FE">
                  <a:lumMod val="72000"/>
                  <a:lumOff val="28000"/>
                </a:srgb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06" name="矩形 305"/>
          <p:cNvSpPr/>
          <p:nvPr/>
        </p:nvSpPr>
        <p:spPr>
          <a:xfrm>
            <a:off x="1444625" y="2047875"/>
            <a:ext cx="5514340" cy="15684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9600" b="1" i="1" spc="-300" dirty="0">
                <a:gradFill flip="none" rotWithShape="1">
                  <a:gsLst>
                    <a:gs pos="50000">
                      <a:schemeClr val="bg1"/>
                    </a:gs>
                    <a:gs pos="100000">
                      <a:schemeClr val="accent1"/>
                    </a:gs>
                  </a:gsLst>
                  <a:lin ang="2700000" scaled="1"/>
                  <a:tileRect/>
                </a:gradFill>
                <a:latin typeface="+mj-ea"/>
                <a:ea typeface="+mj-ea"/>
              </a:rPr>
              <a:t>谢谢收听</a:t>
            </a:r>
          </a:p>
        </p:txBody>
      </p:sp>
      <p:sp>
        <p:nvSpPr>
          <p:cNvPr id="37" name="文本占位符 85"/>
          <p:cNvSpPr txBox="1"/>
          <p:nvPr/>
        </p:nvSpPr>
        <p:spPr>
          <a:xfrm>
            <a:off x="1590675" y="3734414"/>
            <a:ext cx="4494530" cy="312420"/>
          </a:xfrm>
          <a:prstGeom prst="rect">
            <a:avLst/>
          </a:prstGeom>
        </p:spPr>
        <p:txBody>
          <a:bodyPr wrap="none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>
              <a:spcBef>
                <a:spcPts val="0"/>
              </a:spcBef>
              <a:buNone/>
            </a:pPr>
            <a:r>
              <a:rPr sz="1600" dirty="0">
                <a:solidFill>
                  <a:schemeClr val="bg1"/>
                </a:solidFill>
                <a:latin typeface="+mj-lt"/>
                <a:cs typeface="+mj-lt"/>
                <a:sym typeface="+mn-lt"/>
              </a:rPr>
              <a:t>Template for student defense of chang 'an university</a:t>
            </a:r>
          </a:p>
        </p:txBody>
      </p:sp>
      <p:cxnSp>
        <p:nvCxnSpPr>
          <p:cNvPr id="23" name="直接连接符 22"/>
          <p:cNvCxnSpPr/>
          <p:nvPr/>
        </p:nvCxnSpPr>
        <p:spPr>
          <a:xfrm>
            <a:off x="1590675" y="3615690"/>
            <a:ext cx="42926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椭圆 23"/>
          <p:cNvSpPr/>
          <p:nvPr userDrawn="1"/>
        </p:nvSpPr>
        <p:spPr>
          <a:xfrm>
            <a:off x="1134745" y="1932940"/>
            <a:ext cx="236855" cy="236855"/>
          </a:xfrm>
          <a:prstGeom prst="ellipse">
            <a:avLst/>
          </a:prstGeom>
          <a:gradFill>
            <a:gsLst>
              <a:gs pos="51000">
                <a:srgbClr val="A1E2FE"/>
              </a:gs>
              <a:gs pos="0">
                <a:srgbClr val="A1E2FE">
                  <a:lumMod val="72000"/>
                  <a:lumOff val="28000"/>
                </a:srgb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7" name="Content Placeholder 2"/>
          <p:cNvSpPr txBox="1"/>
          <p:nvPr/>
        </p:nvSpPr>
        <p:spPr>
          <a:xfrm>
            <a:off x="1616075" y="5487670"/>
            <a:ext cx="4987925" cy="1049655"/>
          </a:xfrm>
          <a:prstGeom prst="rect">
            <a:avLst/>
          </a:prstGeom>
        </p:spPr>
        <p:txBody>
          <a:bodyPr vert="horz" lIns="121920" tIns="60960" rIns="121920" bIns="6096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lnSpc>
                <a:spcPct val="130000"/>
              </a:lnSpc>
              <a:spcBef>
                <a:spcPts val="0"/>
              </a:spcBef>
              <a:buNone/>
            </a:pPr>
            <a:r>
              <a:rPr lang="zh-CN" altLang="en-US" sz="1600" dirty="0">
                <a:solidFill>
                  <a:srgbClr val="0870D3"/>
                </a:solidFill>
                <a:effectLst/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rPr>
              <a:t>汇报：</a:t>
            </a:r>
            <a:r>
              <a:rPr lang="en-US" altLang="zh-CN" sz="1600" dirty="0">
                <a:solidFill>
                  <a:srgbClr val="0870D3"/>
                </a:solidFill>
                <a:effectLst/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rPr>
              <a:t>homeppt</a:t>
            </a:r>
          </a:p>
          <a:p>
            <a:pPr marL="0" indent="0" fontAlgn="auto">
              <a:lnSpc>
                <a:spcPct val="130000"/>
              </a:lnSpc>
              <a:spcBef>
                <a:spcPts val="0"/>
              </a:spcBef>
              <a:buNone/>
            </a:pPr>
            <a:r>
              <a:rPr lang="zh-CN" altLang="en-US" sz="1600" dirty="0">
                <a:solidFill>
                  <a:srgbClr val="0870D3"/>
                </a:solidFill>
                <a:effectLst/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rPr>
              <a:t>时间：</a:t>
            </a:r>
            <a:r>
              <a:rPr lang="en-US" altLang="zh-CN" sz="1600" dirty="0">
                <a:solidFill>
                  <a:srgbClr val="0870D3"/>
                </a:solidFill>
                <a:effectLst/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rPr>
              <a:t>20XX-XX-XX</a:t>
            </a:r>
          </a:p>
        </p:txBody>
      </p:sp>
      <p:grpSp>
        <p:nvGrpSpPr>
          <p:cNvPr id="28" name="a2f6f956-74f0-4e48-b063-fde34c17ff18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/>
          <p:cNvGrpSpPr>
            <a:grpSpLocks noChangeAspect="1"/>
          </p:cNvGrpSpPr>
          <p:nvPr>
            <p:custDataLst>
              <p:tags r:id="rId5"/>
            </p:custDataLst>
          </p:nvPr>
        </p:nvGrpSpPr>
        <p:grpSpPr>
          <a:xfrm>
            <a:off x="6899275" y="2625725"/>
            <a:ext cx="4838065" cy="3284855"/>
            <a:chOff x="2860675" y="1228726"/>
            <a:chExt cx="6484938" cy="4402138"/>
          </a:xfrm>
        </p:grpSpPr>
        <p:sp>
          <p:nvSpPr>
            <p:cNvPr id="29" name="îṩḻíḑê"/>
            <p:cNvSpPr/>
            <p:nvPr/>
          </p:nvSpPr>
          <p:spPr bwMode="auto">
            <a:xfrm>
              <a:off x="6132513" y="1744663"/>
              <a:ext cx="2038350" cy="2060575"/>
            </a:xfrm>
            <a:custGeom>
              <a:avLst/>
              <a:gdLst>
                <a:gd name="T0" fmla="*/ 53 w 139"/>
                <a:gd name="T1" fmla="*/ 9 h 140"/>
                <a:gd name="T2" fmla="*/ 8 w 139"/>
                <a:gd name="T3" fmla="*/ 86 h 140"/>
                <a:gd name="T4" fmla="*/ 85 w 139"/>
                <a:gd name="T5" fmla="*/ 131 h 140"/>
                <a:gd name="T6" fmla="*/ 130 w 139"/>
                <a:gd name="T7" fmla="*/ 54 h 140"/>
                <a:gd name="T8" fmla="*/ 53 w 139"/>
                <a:gd name="T9" fmla="*/ 9 h 140"/>
                <a:gd name="T10" fmla="*/ 78 w 139"/>
                <a:gd name="T11" fmla="*/ 102 h 140"/>
                <a:gd name="T12" fmla="*/ 37 w 139"/>
                <a:gd name="T13" fmla="*/ 79 h 140"/>
                <a:gd name="T14" fmla="*/ 61 w 139"/>
                <a:gd name="T15" fmla="*/ 38 h 140"/>
                <a:gd name="T16" fmla="*/ 101 w 139"/>
                <a:gd name="T17" fmla="*/ 62 h 140"/>
                <a:gd name="T18" fmla="*/ 78 w 139"/>
                <a:gd name="T19" fmla="*/ 102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9" h="140">
                  <a:moveTo>
                    <a:pt x="53" y="9"/>
                  </a:moveTo>
                  <a:cubicBezTo>
                    <a:pt x="20" y="18"/>
                    <a:pt x="0" y="53"/>
                    <a:pt x="8" y="86"/>
                  </a:cubicBezTo>
                  <a:cubicBezTo>
                    <a:pt x="17" y="120"/>
                    <a:pt x="52" y="140"/>
                    <a:pt x="85" y="131"/>
                  </a:cubicBezTo>
                  <a:cubicBezTo>
                    <a:pt x="119" y="122"/>
                    <a:pt x="139" y="88"/>
                    <a:pt x="130" y="54"/>
                  </a:cubicBezTo>
                  <a:cubicBezTo>
                    <a:pt x="121" y="21"/>
                    <a:pt x="87" y="0"/>
                    <a:pt x="53" y="9"/>
                  </a:cubicBezTo>
                  <a:close/>
                  <a:moveTo>
                    <a:pt x="78" y="102"/>
                  </a:moveTo>
                  <a:cubicBezTo>
                    <a:pt x="60" y="107"/>
                    <a:pt x="42" y="96"/>
                    <a:pt x="37" y="79"/>
                  </a:cubicBezTo>
                  <a:cubicBezTo>
                    <a:pt x="33" y="61"/>
                    <a:pt x="43" y="43"/>
                    <a:pt x="61" y="38"/>
                  </a:cubicBezTo>
                  <a:cubicBezTo>
                    <a:pt x="79" y="34"/>
                    <a:pt x="97" y="44"/>
                    <a:pt x="101" y="62"/>
                  </a:cubicBezTo>
                  <a:cubicBezTo>
                    <a:pt x="106" y="80"/>
                    <a:pt x="95" y="98"/>
                    <a:pt x="78" y="102"/>
                  </a:cubicBezTo>
                  <a:close/>
                </a:path>
              </a:pathLst>
            </a:custGeom>
            <a:solidFill>
              <a:srgbClr val="DA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0" name="işḷîḓe"/>
            <p:cNvSpPr/>
            <p:nvPr/>
          </p:nvSpPr>
          <p:spPr bwMode="auto">
            <a:xfrm>
              <a:off x="6616700" y="1582738"/>
              <a:ext cx="557213" cy="558800"/>
            </a:xfrm>
            <a:custGeom>
              <a:avLst/>
              <a:gdLst>
                <a:gd name="T0" fmla="*/ 38 w 38"/>
                <a:gd name="T1" fmla="*/ 31 h 38"/>
                <a:gd name="T2" fmla="*/ 11 w 38"/>
                <a:gd name="T3" fmla="*/ 38 h 38"/>
                <a:gd name="T4" fmla="*/ 4 w 38"/>
                <a:gd name="T5" fmla="*/ 11 h 38"/>
                <a:gd name="T6" fmla="*/ 31 w 38"/>
                <a:gd name="T7" fmla="*/ 4 h 38"/>
                <a:gd name="T8" fmla="*/ 38 w 38"/>
                <a:gd name="T9" fmla="*/ 3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8">
                  <a:moveTo>
                    <a:pt x="38" y="31"/>
                  </a:move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0" y="17"/>
                    <a:pt x="4" y="11"/>
                  </a:cubicBezTo>
                  <a:cubicBezTo>
                    <a:pt x="7" y="5"/>
                    <a:pt x="25" y="0"/>
                    <a:pt x="31" y="4"/>
                  </a:cubicBezTo>
                  <a:cubicBezTo>
                    <a:pt x="37" y="8"/>
                    <a:pt x="38" y="31"/>
                    <a:pt x="38" y="31"/>
                  </a:cubicBezTo>
                  <a:close/>
                </a:path>
              </a:pathLst>
            </a:custGeom>
            <a:solidFill>
              <a:srgbClr val="DA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1" name="ïşḷíḍé"/>
            <p:cNvSpPr/>
            <p:nvPr/>
          </p:nvSpPr>
          <p:spPr bwMode="auto">
            <a:xfrm>
              <a:off x="7100888" y="3436938"/>
              <a:ext cx="542925" cy="544513"/>
            </a:xfrm>
            <a:custGeom>
              <a:avLst/>
              <a:gdLst>
                <a:gd name="T0" fmla="*/ 27 w 37"/>
                <a:gd name="T1" fmla="*/ 0 h 37"/>
                <a:gd name="T2" fmla="*/ 0 w 37"/>
                <a:gd name="T3" fmla="*/ 7 h 37"/>
                <a:gd name="T4" fmla="*/ 7 w 37"/>
                <a:gd name="T5" fmla="*/ 33 h 37"/>
                <a:gd name="T6" fmla="*/ 34 w 37"/>
                <a:gd name="T7" fmla="*/ 26 h 37"/>
                <a:gd name="T8" fmla="*/ 27 w 37"/>
                <a:gd name="T9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37">
                  <a:moveTo>
                    <a:pt x="27" y="0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1" y="30"/>
                    <a:pt x="7" y="33"/>
                  </a:cubicBezTo>
                  <a:cubicBezTo>
                    <a:pt x="13" y="37"/>
                    <a:pt x="32" y="33"/>
                    <a:pt x="34" y="26"/>
                  </a:cubicBezTo>
                  <a:cubicBezTo>
                    <a:pt x="37" y="20"/>
                    <a:pt x="27" y="0"/>
                    <a:pt x="27" y="0"/>
                  </a:cubicBezTo>
                  <a:close/>
                </a:path>
              </a:pathLst>
            </a:custGeom>
            <a:solidFill>
              <a:srgbClr val="DA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2" name="íṩḻïḓè"/>
            <p:cNvSpPr/>
            <p:nvPr/>
          </p:nvSpPr>
          <p:spPr bwMode="auto">
            <a:xfrm>
              <a:off x="6043613" y="2052638"/>
              <a:ext cx="573088" cy="574675"/>
            </a:xfrm>
            <a:custGeom>
              <a:avLst/>
              <a:gdLst>
                <a:gd name="T0" fmla="*/ 39 w 39"/>
                <a:gd name="T1" fmla="*/ 13 h 39"/>
                <a:gd name="T2" fmla="*/ 28 w 39"/>
                <a:gd name="T3" fmla="*/ 39 h 39"/>
                <a:gd name="T4" fmla="*/ 2 w 39"/>
                <a:gd name="T5" fmla="*/ 28 h 39"/>
                <a:gd name="T6" fmla="*/ 13 w 39"/>
                <a:gd name="T7" fmla="*/ 2 h 39"/>
                <a:gd name="T8" fmla="*/ 39 w 39"/>
                <a:gd name="T9" fmla="*/ 13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39">
                  <a:moveTo>
                    <a:pt x="39" y="13"/>
                  </a:moveTo>
                  <a:cubicBezTo>
                    <a:pt x="28" y="39"/>
                    <a:pt x="28" y="39"/>
                    <a:pt x="28" y="39"/>
                  </a:cubicBezTo>
                  <a:cubicBezTo>
                    <a:pt x="28" y="39"/>
                    <a:pt x="5" y="34"/>
                    <a:pt x="2" y="28"/>
                  </a:cubicBezTo>
                  <a:cubicBezTo>
                    <a:pt x="0" y="22"/>
                    <a:pt x="7" y="4"/>
                    <a:pt x="13" y="2"/>
                  </a:cubicBezTo>
                  <a:cubicBezTo>
                    <a:pt x="20" y="0"/>
                    <a:pt x="39" y="13"/>
                    <a:pt x="39" y="13"/>
                  </a:cubicBezTo>
                  <a:close/>
                </a:path>
              </a:pathLst>
            </a:custGeom>
            <a:solidFill>
              <a:srgbClr val="DA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3" name="ïşḻîďê"/>
            <p:cNvSpPr/>
            <p:nvPr/>
          </p:nvSpPr>
          <p:spPr bwMode="auto">
            <a:xfrm>
              <a:off x="5956300" y="2774951"/>
              <a:ext cx="528638" cy="544513"/>
            </a:xfrm>
            <a:custGeom>
              <a:avLst/>
              <a:gdLst>
                <a:gd name="T0" fmla="*/ 33 w 36"/>
                <a:gd name="T1" fmla="*/ 2 h 37"/>
                <a:gd name="T2" fmla="*/ 36 w 36"/>
                <a:gd name="T3" fmla="*/ 31 h 37"/>
                <a:gd name="T4" fmla="*/ 8 w 36"/>
                <a:gd name="T5" fmla="*/ 33 h 37"/>
                <a:gd name="T6" fmla="*/ 5 w 36"/>
                <a:gd name="T7" fmla="*/ 5 h 37"/>
                <a:gd name="T8" fmla="*/ 33 w 36"/>
                <a:gd name="T9" fmla="*/ 2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7">
                  <a:moveTo>
                    <a:pt x="33" y="2"/>
                  </a:moveTo>
                  <a:cubicBezTo>
                    <a:pt x="36" y="31"/>
                    <a:pt x="36" y="31"/>
                    <a:pt x="36" y="31"/>
                  </a:cubicBezTo>
                  <a:cubicBezTo>
                    <a:pt x="36" y="31"/>
                    <a:pt x="13" y="37"/>
                    <a:pt x="8" y="33"/>
                  </a:cubicBezTo>
                  <a:cubicBezTo>
                    <a:pt x="3" y="29"/>
                    <a:pt x="0" y="10"/>
                    <a:pt x="5" y="5"/>
                  </a:cubicBezTo>
                  <a:cubicBezTo>
                    <a:pt x="10" y="0"/>
                    <a:pt x="33" y="2"/>
                    <a:pt x="33" y="2"/>
                  </a:cubicBezTo>
                  <a:close/>
                </a:path>
              </a:pathLst>
            </a:custGeom>
            <a:solidFill>
              <a:srgbClr val="DA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4" name="iṩļïḍè"/>
            <p:cNvSpPr/>
            <p:nvPr/>
          </p:nvSpPr>
          <p:spPr bwMode="auto">
            <a:xfrm>
              <a:off x="7804150" y="2274888"/>
              <a:ext cx="542925" cy="544513"/>
            </a:xfrm>
            <a:custGeom>
              <a:avLst/>
              <a:gdLst>
                <a:gd name="T0" fmla="*/ 6 w 37"/>
                <a:gd name="T1" fmla="*/ 37 h 37"/>
                <a:gd name="T2" fmla="*/ 0 w 37"/>
                <a:gd name="T3" fmla="*/ 10 h 37"/>
                <a:gd name="T4" fmla="*/ 27 w 37"/>
                <a:gd name="T5" fmla="*/ 4 h 37"/>
                <a:gd name="T6" fmla="*/ 33 w 37"/>
                <a:gd name="T7" fmla="*/ 31 h 37"/>
                <a:gd name="T8" fmla="*/ 6 w 37"/>
                <a:gd name="T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37">
                  <a:moveTo>
                    <a:pt x="6" y="37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21" y="0"/>
                    <a:pt x="27" y="4"/>
                  </a:cubicBezTo>
                  <a:cubicBezTo>
                    <a:pt x="33" y="8"/>
                    <a:pt x="37" y="26"/>
                    <a:pt x="33" y="31"/>
                  </a:cubicBezTo>
                  <a:cubicBezTo>
                    <a:pt x="29" y="37"/>
                    <a:pt x="6" y="37"/>
                    <a:pt x="6" y="37"/>
                  </a:cubicBezTo>
                  <a:close/>
                </a:path>
              </a:pathLst>
            </a:custGeom>
            <a:solidFill>
              <a:srgbClr val="DA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5" name="îSlíḓê"/>
            <p:cNvSpPr/>
            <p:nvPr/>
          </p:nvSpPr>
          <p:spPr bwMode="auto">
            <a:xfrm>
              <a:off x="7335838" y="1685926"/>
              <a:ext cx="585788" cy="603250"/>
            </a:xfrm>
            <a:custGeom>
              <a:avLst/>
              <a:gdLst>
                <a:gd name="T0" fmla="*/ 0 w 40"/>
                <a:gd name="T1" fmla="*/ 24 h 41"/>
                <a:gd name="T2" fmla="*/ 23 w 40"/>
                <a:gd name="T3" fmla="*/ 41 h 41"/>
                <a:gd name="T4" fmla="*/ 40 w 40"/>
                <a:gd name="T5" fmla="*/ 19 h 41"/>
                <a:gd name="T6" fmla="*/ 17 w 40"/>
                <a:gd name="T7" fmla="*/ 2 h 41"/>
                <a:gd name="T8" fmla="*/ 0 w 40"/>
                <a:gd name="T9" fmla="*/ 2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41">
                  <a:moveTo>
                    <a:pt x="0" y="24"/>
                  </a:moveTo>
                  <a:cubicBezTo>
                    <a:pt x="23" y="41"/>
                    <a:pt x="23" y="41"/>
                    <a:pt x="23" y="41"/>
                  </a:cubicBezTo>
                  <a:cubicBezTo>
                    <a:pt x="23" y="41"/>
                    <a:pt x="40" y="26"/>
                    <a:pt x="40" y="19"/>
                  </a:cubicBezTo>
                  <a:cubicBezTo>
                    <a:pt x="39" y="12"/>
                    <a:pt x="24" y="0"/>
                    <a:pt x="17" y="2"/>
                  </a:cubicBezTo>
                  <a:cubicBezTo>
                    <a:pt x="10" y="3"/>
                    <a:pt x="0" y="24"/>
                    <a:pt x="0" y="24"/>
                  </a:cubicBezTo>
                  <a:close/>
                </a:path>
              </a:pathLst>
            </a:custGeom>
            <a:solidFill>
              <a:srgbClr val="DA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6" name="íṧḻidé"/>
            <p:cNvSpPr/>
            <p:nvPr/>
          </p:nvSpPr>
          <p:spPr bwMode="auto">
            <a:xfrm>
              <a:off x="6308725" y="3305176"/>
              <a:ext cx="585788" cy="603250"/>
            </a:xfrm>
            <a:custGeom>
              <a:avLst/>
              <a:gdLst>
                <a:gd name="T0" fmla="*/ 40 w 40"/>
                <a:gd name="T1" fmla="*/ 17 h 41"/>
                <a:gd name="T2" fmla="*/ 18 w 40"/>
                <a:gd name="T3" fmla="*/ 0 h 41"/>
                <a:gd name="T4" fmla="*/ 1 w 40"/>
                <a:gd name="T5" fmla="*/ 22 h 41"/>
                <a:gd name="T6" fmla="*/ 23 w 40"/>
                <a:gd name="T7" fmla="*/ 39 h 41"/>
                <a:gd name="T8" fmla="*/ 40 w 40"/>
                <a:gd name="T9" fmla="*/ 17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41">
                  <a:moveTo>
                    <a:pt x="40" y="17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0" y="15"/>
                    <a:pt x="1" y="22"/>
                  </a:cubicBezTo>
                  <a:cubicBezTo>
                    <a:pt x="2" y="29"/>
                    <a:pt x="17" y="41"/>
                    <a:pt x="23" y="39"/>
                  </a:cubicBezTo>
                  <a:cubicBezTo>
                    <a:pt x="30" y="38"/>
                    <a:pt x="40" y="17"/>
                    <a:pt x="40" y="17"/>
                  </a:cubicBezTo>
                  <a:close/>
                </a:path>
              </a:pathLst>
            </a:custGeom>
            <a:solidFill>
              <a:srgbClr val="DA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8" name="íşľiďê"/>
            <p:cNvSpPr/>
            <p:nvPr/>
          </p:nvSpPr>
          <p:spPr bwMode="auto">
            <a:xfrm>
              <a:off x="7702550" y="2981326"/>
              <a:ext cx="571500" cy="558800"/>
            </a:xfrm>
            <a:custGeom>
              <a:avLst/>
              <a:gdLst>
                <a:gd name="T0" fmla="*/ 0 w 39"/>
                <a:gd name="T1" fmla="*/ 26 h 38"/>
                <a:gd name="T2" fmla="*/ 11 w 39"/>
                <a:gd name="T3" fmla="*/ 0 h 38"/>
                <a:gd name="T4" fmla="*/ 37 w 39"/>
                <a:gd name="T5" fmla="*/ 10 h 38"/>
                <a:gd name="T6" fmla="*/ 26 w 39"/>
                <a:gd name="T7" fmla="*/ 37 h 38"/>
                <a:gd name="T8" fmla="*/ 0 w 39"/>
                <a:gd name="T9" fmla="*/ 26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38">
                  <a:moveTo>
                    <a:pt x="0" y="26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34" y="4"/>
                    <a:pt x="37" y="10"/>
                  </a:cubicBezTo>
                  <a:cubicBezTo>
                    <a:pt x="39" y="17"/>
                    <a:pt x="32" y="35"/>
                    <a:pt x="26" y="37"/>
                  </a:cubicBezTo>
                  <a:cubicBezTo>
                    <a:pt x="19" y="38"/>
                    <a:pt x="0" y="26"/>
                    <a:pt x="0" y="26"/>
                  </a:cubicBezTo>
                  <a:close/>
                </a:path>
              </a:pathLst>
            </a:custGeom>
            <a:solidFill>
              <a:srgbClr val="DA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9" name="ïşļîḑé"/>
            <p:cNvSpPr/>
            <p:nvPr/>
          </p:nvSpPr>
          <p:spPr bwMode="auto">
            <a:xfrm>
              <a:off x="8259763" y="3348038"/>
              <a:ext cx="982663" cy="1001713"/>
            </a:xfrm>
            <a:custGeom>
              <a:avLst/>
              <a:gdLst>
                <a:gd name="T0" fmla="*/ 26 w 67"/>
                <a:gd name="T1" fmla="*/ 4 h 68"/>
                <a:gd name="T2" fmla="*/ 4 w 67"/>
                <a:gd name="T3" fmla="*/ 42 h 68"/>
                <a:gd name="T4" fmla="*/ 41 w 67"/>
                <a:gd name="T5" fmla="*/ 63 h 68"/>
                <a:gd name="T6" fmla="*/ 63 w 67"/>
                <a:gd name="T7" fmla="*/ 26 h 68"/>
                <a:gd name="T8" fmla="*/ 26 w 67"/>
                <a:gd name="T9" fmla="*/ 4 h 68"/>
                <a:gd name="T10" fmla="*/ 38 w 67"/>
                <a:gd name="T11" fmla="*/ 49 h 68"/>
                <a:gd name="T12" fmla="*/ 18 w 67"/>
                <a:gd name="T13" fmla="*/ 38 h 68"/>
                <a:gd name="T14" fmla="*/ 29 w 67"/>
                <a:gd name="T15" fmla="*/ 18 h 68"/>
                <a:gd name="T16" fmla="*/ 49 w 67"/>
                <a:gd name="T17" fmla="*/ 30 h 68"/>
                <a:gd name="T18" fmla="*/ 38 w 67"/>
                <a:gd name="T19" fmla="*/ 49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7" h="68">
                  <a:moveTo>
                    <a:pt x="26" y="4"/>
                  </a:moveTo>
                  <a:cubicBezTo>
                    <a:pt x="9" y="9"/>
                    <a:pt x="0" y="25"/>
                    <a:pt x="4" y="42"/>
                  </a:cubicBezTo>
                  <a:cubicBezTo>
                    <a:pt x="8" y="58"/>
                    <a:pt x="25" y="68"/>
                    <a:pt x="41" y="63"/>
                  </a:cubicBezTo>
                  <a:cubicBezTo>
                    <a:pt x="58" y="59"/>
                    <a:pt x="67" y="42"/>
                    <a:pt x="63" y="26"/>
                  </a:cubicBezTo>
                  <a:cubicBezTo>
                    <a:pt x="59" y="10"/>
                    <a:pt x="42" y="0"/>
                    <a:pt x="26" y="4"/>
                  </a:cubicBezTo>
                  <a:close/>
                  <a:moveTo>
                    <a:pt x="38" y="49"/>
                  </a:moveTo>
                  <a:cubicBezTo>
                    <a:pt x="29" y="52"/>
                    <a:pt x="20" y="47"/>
                    <a:pt x="18" y="38"/>
                  </a:cubicBezTo>
                  <a:cubicBezTo>
                    <a:pt x="16" y="29"/>
                    <a:pt x="21" y="21"/>
                    <a:pt x="29" y="18"/>
                  </a:cubicBezTo>
                  <a:cubicBezTo>
                    <a:pt x="38" y="16"/>
                    <a:pt x="47" y="21"/>
                    <a:pt x="49" y="30"/>
                  </a:cubicBezTo>
                  <a:cubicBezTo>
                    <a:pt x="51" y="38"/>
                    <a:pt x="46" y="47"/>
                    <a:pt x="38" y="49"/>
                  </a:cubicBezTo>
                  <a:close/>
                </a:path>
              </a:pathLst>
            </a:custGeom>
            <a:solidFill>
              <a:srgbClr val="C8E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0" name="iṡ1ïḍè"/>
            <p:cNvSpPr/>
            <p:nvPr/>
          </p:nvSpPr>
          <p:spPr bwMode="auto">
            <a:xfrm>
              <a:off x="8494713" y="3275013"/>
              <a:ext cx="263525" cy="265113"/>
            </a:xfrm>
            <a:custGeom>
              <a:avLst/>
              <a:gdLst>
                <a:gd name="T0" fmla="*/ 18 w 18"/>
                <a:gd name="T1" fmla="*/ 15 h 18"/>
                <a:gd name="T2" fmla="*/ 5 w 18"/>
                <a:gd name="T3" fmla="*/ 18 h 18"/>
                <a:gd name="T4" fmla="*/ 2 w 18"/>
                <a:gd name="T5" fmla="*/ 5 h 18"/>
                <a:gd name="T6" fmla="*/ 15 w 18"/>
                <a:gd name="T7" fmla="*/ 2 h 18"/>
                <a:gd name="T8" fmla="*/ 18 w 18"/>
                <a:gd name="T9" fmla="*/ 15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8">
                  <a:moveTo>
                    <a:pt x="18" y="15"/>
                  </a:moveTo>
                  <a:cubicBezTo>
                    <a:pt x="5" y="18"/>
                    <a:pt x="5" y="18"/>
                    <a:pt x="5" y="18"/>
                  </a:cubicBezTo>
                  <a:cubicBezTo>
                    <a:pt x="5" y="18"/>
                    <a:pt x="0" y="8"/>
                    <a:pt x="2" y="5"/>
                  </a:cubicBezTo>
                  <a:cubicBezTo>
                    <a:pt x="3" y="2"/>
                    <a:pt x="12" y="0"/>
                    <a:pt x="15" y="2"/>
                  </a:cubicBezTo>
                  <a:cubicBezTo>
                    <a:pt x="18" y="4"/>
                    <a:pt x="18" y="15"/>
                    <a:pt x="18" y="15"/>
                  </a:cubicBezTo>
                  <a:close/>
                </a:path>
              </a:pathLst>
            </a:custGeom>
            <a:solidFill>
              <a:srgbClr val="C8E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1" name="íSļíďè"/>
            <p:cNvSpPr/>
            <p:nvPr/>
          </p:nvSpPr>
          <p:spPr bwMode="auto">
            <a:xfrm>
              <a:off x="8729663" y="4157663"/>
              <a:ext cx="263525" cy="280988"/>
            </a:xfrm>
            <a:custGeom>
              <a:avLst/>
              <a:gdLst>
                <a:gd name="T0" fmla="*/ 13 w 18"/>
                <a:gd name="T1" fmla="*/ 0 h 19"/>
                <a:gd name="T2" fmla="*/ 0 w 18"/>
                <a:gd name="T3" fmla="*/ 4 h 19"/>
                <a:gd name="T4" fmla="*/ 3 w 18"/>
                <a:gd name="T5" fmla="*/ 17 h 19"/>
                <a:gd name="T6" fmla="*/ 17 w 18"/>
                <a:gd name="T7" fmla="*/ 13 h 19"/>
                <a:gd name="T8" fmla="*/ 13 w 18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9">
                  <a:moveTo>
                    <a:pt x="13" y="0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15"/>
                    <a:pt x="3" y="17"/>
                  </a:cubicBezTo>
                  <a:cubicBezTo>
                    <a:pt x="6" y="19"/>
                    <a:pt x="15" y="16"/>
                    <a:pt x="17" y="13"/>
                  </a:cubicBezTo>
                  <a:cubicBezTo>
                    <a:pt x="18" y="10"/>
                    <a:pt x="13" y="0"/>
                    <a:pt x="13" y="0"/>
                  </a:cubicBezTo>
                  <a:close/>
                </a:path>
              </a:pathLst>
            </a:custGeom>
            <a:solidFill>
              <a:srgbClr val="C8E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2" name="işḷïḍe"/>
            <p:cNvSpPr/>
            <p:nvPr/>
          </p:nvSpPr>
          <p:spPr bwMode="auto">
            <a:xfrm>
              <a:off x="8215313" y="3495676"/>
              <a:ext cx="279400" cy="279400"/>
            </a:xfrm>
            <a:custGeom>
              <a:avLst/>
              <a:gdLst>
                <a:gd name="T0" fmla="*/ 19 w 19"/>
                <a:gd name="T1" fmla="*/ 6 h 19"/>
                <a:gd name="T2" fmla="*/ 13 w 19"/>
                <a:gd name="T3" fmla="*/ 19 h 19"/>
                <a:gd name="T4" fmla="*/ 1 w 19"/>
                <a:gd name="T5" fmla="*/ 14 h 19"/>
                <a:gd name="T6" fmla="*/ 7 w 19"/>
                <a:gd name="T7" fmla="*/ 1 h 19"/>
                <a:gd name="T8" fmla="*/ 19 w 19"/>
                <a:gd name="T9" fmla="*/ 6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9">
                  <a:moveTo>
                    <a:pt x="19" y="6"/>
                  </a:moveTo>
                  <a:cubicBezTo>
                    <a:pt x="13" y="19"/>
                    <a:pt x="13" y="19"/>
                    <a:pt x="13" y="19"/>
                  </a:cubicBezTo>
                  <a:cubicBezTo>
                    <a:pt x="13" y="19"/>
                    <a:pt x="2" y="17"/>
                    <a:pt x="1" y="14"/>
                  </a:cubicBezTo>
                  <a:cubicBezTo>
                    <a:pt x="0" y="11"/>
                    <a:pt x="3" y="2"/>
                    <a:pt x="7" y="1"/>
                  </a:cubicBezTo>
                  <a:cubicBezTo>
                    <a:pt x="10" y="0"/>
                    <a:pt x="19" y="6"/>
                    <a:pt x="19" y="6"/>
                  </a:cubicBezTo>
                  <a:close/>
                </a:path>
              </a:pathLst>
            </a:custGeom>
            <a:solidFill>
              <a:srgbClr val="C8E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3" name="íṧḻíḍê"/>
            <p:cNvSpPr/>
            <p:nvPr/>
          </p:nvSpPr>
          <p:spPr bwMode="auto">
            <a:xfrm>
              <a:off x="8170863" y="3849688"/>
              <a:ext cx="250825" cy="265113"/>
            </a:xfrm>
            <a:custGeom>
              <a:avLst/>
              <a:gdLst>
                <a:gd name="T0" fmla="*/ 16 w 17"/>
                <a:gd name="T1" fmla="*/ 1 h 18"/>
                <a:gd name="T2" fmla="*/ 17 w 17"/>
                <a:gd name="T3" fmla="*/ 15 h 18"/>
                <a:gd name="T4" fmla="*/ 4 w 17"/>
                <a:gd name="T5" fmla="*/ 16 h 18"/>
                <a:gd name="T6" fmla="*/ 3 w 17"/>
                <a:gd name="T7" fmla="*/ 2 h 18"/>
                <a:gd name="T8" fmla="*/ 16 w 17"/>
                <a:gd name="T9" fmla="*/ 1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8">
                  <a:moveTo>
                    <a:pt x="16" y="1"/>
                  </a:move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7" y="18"/>
                    <a:pt x="4" y="16"/>
                  </a:cubicBezTo>
                  <a:cubicBezTo>
                    <a:pt x="1" y="14"/>
                    <a:pt x="0" y="5"/>
                    <a:pt x="3" y="2"/>
                  </a:cubicBezTo>
                  <a:cubicBezTo>
                    <a:pt x="5" y="0"/>
                    <a:pt x="16" y="1"/>
                    <a:pt x="16" y="1"/>
                  </a:cubicBezTo>
                  <a:close/>
                </a:path>
              </a:pathLst>
            </a:custGeom>
            <a:solidFill>
              <a:srgbClr val="C8E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4" name="ísļîďè"/>
            <p:cNvSpPr/>
            <p:nvPr/>
          </p:nvSpPr>
          <p:spPr bwMode="auto">
            <a:xfrm>
              <a:off x="9066213" y="3598863"/>
              <a:ext cx="265113" cy="265113"/>
            </a:xfrm>
            <a:custGeom>
              <a:avLst/>
              <a:gdLst>
                <a:gd name="T0" fmla="*/ 3 w 18"/>
                <a:gd name="T1" fmla="*/ 18 h 18"/>
                <a:gd name="T2" fmla="*/ 0 w 18"/>
                <a:gd name="T3" fmla="*/ 5 h 18"/>
                <a:gd name="T4" fmla="*/ 13 w 18"/>
                <a:gd name="T5" fmla="*/ 2 h 18"/>
                <a:gd name="T6" fmla="*/ 16 w 18"/>
                <a:gd name="T7" fmla="*/ 16 h 18"/>
                <a:gd name="T8" fmla="*/ 3 w 18"/>
                <a:gd name="T9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8">
                  <a:moveTo>
                    <a:pt x="3" y="18"/>
                  </a:move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10" y="0"/>
                    <a:pt x="13" y="2"/>
                  </a:cubicBezTo>
                  <a:cubicBezTo>
                    <a:pt x="16" y="4"/>
                    <a:pt x="18" y="13"/>
                    <a:pt x="16" y="16"/>
                  </a:cubicBezTo>
                  <a:cubicBezTo>
                    <a:pt x="14" y="18"/>
                    <a:pt x="3" y="18"/>
                    <a:pt x="3" y="18"/>
                  </a:cubicBezTo>
                  <a:close/>
                </a:path>
              </a:pathLst>
            </a:custGeom>
            <a:solidFill>
              <a:srgbClr val="C8E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5" name="îsļîḍè"/>
            <p:cNvSpPr/>
            <p:nvPr/>
          </p:nvSpPr>
          <p:spPr bwMode="auto">
            <a:xfrm>
              <a:off x="8847138" y="3319463"/>
              <a:ext cx="277813" cy="293688"/>
            </a:xfrm>
            <a:custGeom>
              <a:avLst/>
              <a:gdLst>
                <a:gd name="T0" fmla="*/ 0 w 19"/>
                <a:gd name="T1" fmla="*/ 11 h 20"/>
                <a:gd name="T2" fmla="*/ 11 w 19"/>
                <a:gd name="T3" fmla="*/ 20 h 20"/>
                <a:gd name="T4" fmla="*/ 19 w 19"/>
                <a:gd name="T5" fmla="*/ 9 h 20"/>
                <a:gd name="T6" fmla="*/ 8 w 19"/>
                <a:gd name="T7" fmla="*/ 1 h 20"/>
                <a:gd name="T8" fmla="*/ 0 w 19"/>
                <a:gd name="T9" fmla="*/ 11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20">
                  <a:moveTo>
                    <a:pt x="0" y="11"/>
                  </a:move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9" y="13"/>
                    <a:pt x="19" y="9"/>
                  </a:cubicBezTo>
                  <a:cubicBezTo>
                    <a:pt x="18" y="6"/>
                    <a:pt x="11" y="0"/>
                    <a:pt x="8" y="1"/>
                  </a:cubicBezTo>
                  <a:cubicBezTo>
                    <a:pt x="5" y="2"/>
                    <a:pt x="0" y="11"/>
                    <a:pt x="0" y="11"/>
                  </a:cubicBezTo>
                  <a:close/>
                </a:path>
              </a:pathLst>
            </a:custGeom>
            <a:solidFill>
              <a:srgbClr val="C8E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6" name="ïṩlîḑe"/>
            <p:cNvSpPr/>
            <p:nvPr/>
          </p:nvSpPr>
          <p:spPr bwMode="auto">
            <a:xfrm>
              <a:off x="8347075" y="4098926"/>
              <a:ext cx="279400" cy="295275"/>
            </a:xfrm>
            <a:custGeom>
              <a:avLst/>
              <a:gdLst>
                <a:gd name="T0" fmla="*/ 19 w 19"/>
                <a:gd name="T1" fmla="*/ 9 h 20"/>
                <a:gd name="T2" fmla="*/ 8 w 19"/>
                <a:gd name="T3" fmla="*/ 0 h 20"/>
                <a:gd name="T4" fmla="*/ 0 w 19"/>
                <a:gd name="T5" fmla="*/ 11 h 20"/>
                <a:gd name="T6" fmla="*/ 11 w 19"/>
                <a:gd name="T7" fmla="*/ 19 h 20"/>
                <a:gd name="T8" fmla="*/ 19 w 19"/>
                <a:gd name="T9" fmla="*/ 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20">
                  <a:moveTo>
                    <a:pt x="19" y="9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0" y="8"/>
                    <a:pt x="0" y="11"/>
                  </a:cubicBezTo>
                  <a:cubicBezTo>
                    <a:pt x="1" y="14"/>
                    <a:pt x="8" y="20"/>
                    <a:pt x="11" y="19"/>
                  </a:cubicBezTo>
                  <a:cubicBezTo>
                    <a:pt x="14" y="18"/>
                    <a:pt x="19" y="9"/>
                    <a:pt x="19" y="9"/>
                  </a:cubicBezTo>
                  <a:close/>
                </a:path>
              </a:pathLst>
            </a:custGeom>
            <a:solidFill>
              <a:srgbClr val="C8E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7" name="ïş1iďê"/>
            <p:cNvSpPr/>
            <p:nvPr/>
          </p:nvSpPr>
          <p:spPr bwMode="auto">
            <a:xfrm>
              <a:off x="9021763" y="3937001"/>
              <a:ext cx="279400" cy="279400"/>
            </a:xfrm>
            <a:custGeom>
              <a:avLst/>
              <a:gdLst>
                <a:gd name="T0" fmla="*/ 0 w 19"/>
                <a:gd name="T1" fmla="*/ 13 h 19"/>
                <a:gd name="T2" fmla="*/ 5 w 19"/>
                <a:gd name="T3" fmla="*/ 0 h 19"/>
                <a:gd name="T4" fmla="*/ 17 w 19"/>
                <a:gd name="T5" fmla="*/ 6 h 19"/>
                <a:gd name="T6" fmla="*/ 12 w 19"/>
                <a:gd name="T7" fmla="*/ 18 h 19"/>
                <a:gd name="T8" fmla="*/ 0 w 19"/>
                <a:gd name="T9" fmla="*/ 13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9">
                  <a:moveTo>
                    <a:pt x="0" y="13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16" y="3"/>
                    <a:pt x="17" y="6"/>
                  </a:cubicBezTo>
                  <a:cubicBezTo>
                    <a:pt x="19" y="9"/>
                    <a:pt x="15" y="17"/>
                    <a:pt x="12" y="18"/>
                  </a:cubicBezTo>
                  <a:cubicBezTo>
                    <a:pt x="9" y="19"/>
                    <a:pt x="0" y="13"/>
                    <a:pt x="0" y="13"/>
                  </a:cubicBezTo>
                  <a:close/>
                </a:path>
              </a:pathLst>
            </a:custGeom>
            <a:solidFill>
              <a:srgbClr val="C8E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8" name="iSļîdê"/>
            <p:cNvSpPr/>
            <p:nvPr/>
          </p:nvSpPr>
          <p:spPr bwMode="auto">
            <a:xfrm>
              <a:off x="3887788" y="1303338"/>
              <a:ext cx="982663" cy="1000125"/>
            </a:xfrm>
            <a:custGeom>
              <a:avLst/>
              <a:gdLst>
                <a:gd name="T0" fmla="*/ 26 w 67"/>
                <a:gd name="T1" fmla="*/ 4 h 68"/>
                <a:gd name="T2" fmla="*/ 4 w 67"/>
                <a:gd name="T3" fmla="*/ 42 h 68"/>
                <a:gd name="T4" fmla="*/ 41 w 67"/>
                <a:gd name="T5" fmla="*/ 63 h 68"/>
                <a:gd name="T6" fmla="*/ 63 w 67"/>
                <a:gd name="T7" fmla="*/ 26 h 68"/>
                <a:gd name="T8" fmla="*/ 26 w 67"/>
                <a:gd name="T9" fmla="*/ 4 h 68"/>
                <a:gd name="T10" fmla="*/ 38 w 67"/>
                <a:gd name="T11" fmla="*/ 49 h 68"/>
                <a:gd name="T12" fmla="*/ 18 w 67"/>
                <a:gd name="T13" fmla="*/ 38 h 68"/>
                <a:gd name="T14" fmla="*/ 29 w 67"/>
                <a:gd name="T15" fmla="*/ 18 h 68"/>
                <a:gd name="T16" fmla="*/ 49 w 67"/>
                <a:gd name="T17" fmla="*/ 30 h 68"/>
                <a:gd name="T18" fmla="*/ 38 w 67"/>
                <a:gd name="T19" fmla="*/ 49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7" h="68">
                  <a:moveTo>
                    <a:pt x="26" y="4"/>
                  </a:moveTo>
                  <a:cubicBezTo>
                    <a:pt x="9" y="9"/>
                    <a:pt x="0" y="25"/>
                    <a:pt x="4" y="42"/>
                  </a:cubicBezTo>
                  <a:cubicBezTo>
                    <a:pt x="8" y="58"/>
                    <a:pt x="25" y="68"/>
                    <a:pt x="41" y="63"/>
                  </a:cubicBezTo>
                  <a:cubicBezTo>
                    <a:pt x="58" y="59"/>
                    <a:pt x="67" y="42"/>
                    <a:pt x="63" y="26"/>
                  </a:cubicBezTo>
                  <a:cubicBezTo>
                    <a:pt x="59" y="10"/>
                    <a:pt x="42" y="0"/>
                    <a:pt x="26" y="4"/>
                  </a:cubicBezTo>
                  <a:close/>
                  <a:moveTo>
                    <a:pt x="38" y="49"/>
                  </a:moveTo>
                  <a:cubicBezTo>
                    <a:pt x="29" y="52"/>
                    <a:pt x="20" y="47"/>
                    <a:pt x="18" y="38"/>
                  </a:cubicBezTo>
                  <a:cubicBezTo>
                    <a:pt x="16" y="29"/>
                    <a:pt x="21" y="21"/>
                    <a:pt x="29" y="18"/>
                  </a:cubicBezTo>
                  <a:cubicBezTo>
                    <a:pt x="38" y="16"/>
                    <a:pt x="47" y="21"/>
                    <a:pt x="49" y="30"/>
                  </a:cubicBezTo>
                  <a:cubicBezTo>
                    <a:pt x="51" y="38"/>
                    <a:pt x="46" y="47"/>
                    <a:pt x="38" y="49"/>
                  </a:cubicBezTo>
                  <a:close/>
                </a:path>
              </a:pathLst>
            </a:custGeom>
            <a:solidFill>
              <a:srgbClr val="C8E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9" name="ïṣḻiḑè"/>
            <p:cNvSpPr/>
            <p:nvPr/>
          </p:nvSpPr>
          <p:spPr bwMode="auto">
            <a:xfrm>
              <a:off x="4122738" y="1228726"/>
              <a:ext cx="263525" cy="265113"/>
            </a:xfrm>
            <a:custGeom>
              <a:avLst/>
              <a:gdLst>
                <a:gd name="T0" fmla="*/ 18 w 18"/>
                <a:gd name="T1" fmla="*/ 14 h 18"/>
                <a:gd name="T2" fmla="*/ 5 w 18"/>
                <a:gd name="T3" fmla="*/ 18 h 18"/>
                <a:gd name="T4" fmla="*/ 2 w 18"/>
                <a:gd name="T5" fmla="*/ 5 h 18"/>
                <a:gd name="T6" fmla="*/ 15 w 18"/>
                <a:gd name="T7" fmla="*/ 2 h 18"/>
                <a:gd name="T8" fmla="*/ 18 w 18"/>
                <a:gd name="T9" fmla="*/ 14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8">
                  <a:moveTo>
                    <a:pt x="18" y="14"/>
                  </a:moveTo>
                  <a:cubicBezTo>
                    <a:pt x="5" y="18"/>
                    <a:pt x="5" y="18"/>
                    <a:pt x="5" y="18"/>
                  </a:cubicBezTo>
                  <a:cubicBezTo>
                    <a:pt x="5" y="18"/>
                    <a:pt x="0" y="8"/>
                    <a:pt x="2" y="5"/>
                  </a:cubicBezTo>
                  <a:cubicBezTo>
                    <a:pt x="3" y="2"/>
                    <a:pt x="12" y="0"/>
                    <a:pt x="15" y="2"/>
                  </a:cubicBezTo>
                  <a:cubicBezTo>
                    <a:pt x="18" y="4"/>
                    <a:pt x="18" y="14"/>
                    <a:pt x="18" y="14"/>
                  </a:cubicBezTo>
                  <a:close/>
                </a:path>
              </a:pathLst>
            </a:custGeom>
            <a:solidFill>
              <a:srgbClr val="C8E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0" name="îŝ1iḓê"/>
            <p:cNvSpPr/>
            <p:nvPr/>
          </p:nvSpPr>
          <p:spPr bwMode="auto">
            <a:xfrm>
              <a:off x="4356100" y="2112963"/>
              <a:ext cx="265113" cy="263525"/>
            </a:xfrm>
            <a:custGeom>
              <a:avLst/>
              <a:gdLst>
                <a:gd name="T0" fmla="*/ 13 w 18"/>
                <a:gd name="T1" fmla="*/ 0 h 18"/>
                <a:gd name="T2" fmla="*/ 0 w 18"/>
                <a:gd name="T3" fmla="*/ 4 h 18"/>
                <a:gd name="T4" fmla="*/ 3 w 18"/>
                <a:gd name="T5" fmla="*/ 17 h 18"/>
                <a:gd name="T6" fmla="*/ 17 w 18"/>
                <a:gd name="T7" fmla="*/ 13 h 18"/>
                <a:gd name="T8" fmla="*/ 13 w 18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8">
                  <a:moveTo>
                    <a:pt x="13" y="0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15"/>
                    <a:pt x="3" y="17"/>
                  </a:cubicBezTo>
                  <a:cubicBezTo>
                    <a:pt x="6" y="18"/>
                    <a:pt x="15" y="16"/>
                    <a:pt x="17" y="13"/>
                  </a:cubicBezTo>
                  <a:cubicBezTo>
                    <a:pt x="18" y="10"/>
                    <a:pt x="13" y="0"/>
                    <a:pt x="13" y="0"/>
                  </a:cubicBezTo>
                  <a:close/>
                </a:path>
              </a:pathLst>
            </a:custGeom>
            <a:solidFill>
              <a:srgbClr val="C8E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1" name="ïṩļíďê"/>
            <p:cNvSpPr/>
            <p:nvPr/>
          </p:nvSpPr>
          <p:spPr bwMode="auto">
            <a:xfrm>
              <a:off x="3843338" y="1449388"/>
              <a:ext cx="279400" cy="280988"/>
            </a:xfrm>
            <a:custGeom>
              <a:avLst/>
              <a:gdLst>
                <a:gd name="T0" fmla="*/ 19 w 19"/>
                <a:gd name="T1" fmla="*/ 6 h 19"/>
                <a:gd name="T2" fmla="*/ 13 w 19"/>
                <a:gd name="T3" fmla="*/ 19 h 19"/>
                <a:gd name="T4" fmla="*/ 1 w 19"/>
                <a:gd name="T5" fmla="*/ 14 h 19"/>
                <a:gd name="T6" fmla="*/ 7 w 19"/>
                <a:gd name="T7" fmla="*/ 1 h 19"/>
                <a:gd name="T8" fmla="*/ 19 w 19"/>
                <a:gd name="T9" fmla="*/ 6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9">
                  <a:moveTo>
                    <a:pt x="19" y="6"/>
                  </a:moveTo>
                  <a:cubicBezTo>
                    <a:pt x="13" y="19"/>
                    <a:pt x="13" y="19"/>
                    <a:pt x="13" y="19"/>
                  </a:cubicBezTo>
                  <a:cubicBezTo>
                    <a:pt x="13" y="19"/>
                    <a:pt x="2" y="17"/>
                    <a:pt x="1" y="14"/>
                  </a:cubicBezTo>
                  <a:cubicBezTo>
                    <a:pt x="0" y="10"/>
                    <a:pt x="3" y="2"/>
                    <a:pt x="7" y="1"/>
                  </a:cubicBezTo>
                  <a:cubicBezTo>
                    <a:pt x="10" y="0"/>
                    <a:pt x="19" y="6"/>
                    <a:pt x="19" y="6"/>
                  </a:cubicBezTo>
                  <a:close/>
                </a:path>
              </a:pathLst>
            </a:custGeom>
            <a:solidFill>
              <a:srgbClr val="C8E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2" name="îṧ1îḑè"/>
            <p:cNvSpPr/>
            <p:nvPr/>
          </p:nvSpPr>
          <p:spPr bwMode="auto">
            <a:xfrm>
              <a:off x="3798888" y="1803401"/>
              <a:ext cx="249238" cy="265113"/>
            </a:xfrm>
            <a:custGeom>
              <a:avLst/>
              <a:gdLst>
                <a:gd name="T0" fmla="*/ 16 w 17"/>
                <a:gd name="T1" fmla="*/ 1 h 18"/>
                <a:gd name="T2" fmla="*/ 17 w 17"/>
                <a:gd name="T3" fmla="*/ 15 h 18"/>
                <a:gd name="T4" fmla="*/ 4 w 17"/>
                <a:gd name="T5" fmla="*/ 16 h 18"/>
                <a:gd name="T6" fmla="*/ 3 w 17"/>
                <a:gd name="T7" fmla="*/ 2 h 18"/>
                <a:gd name="T8" fmla="*/ 16 w 17"/>
                <a:gd name="T9" fmla="*/ 1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8">
                  <a:moveTo>
                    <a:pt x="16" y="1"/>
                  </a:move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7" y="18"/>
                    <a:pt x="4" y="16"/>
                  </a:cubicBezTo>
                  <a:cubicBezTo>
                    <a:pt x="1" y="14"/>
                    <a:pt x="0" y="5"/>
                    <a:pt x="3" y="2"/>
                  </a:cubicBezTo>
                  <a:cubicBezTo>
                    <a:pt x="5" y="0"/>
                    <a:pt x="16" y="1"/>
                    <a:pt x="16" y="1"/>
                  </a:cubicBezTo>
                  <a:close/>
                </a:path>
              </a:pathLst>
            </a:custGeom>
            <a:solidFill>
              <a:srgbClr val="C8E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3" name="ï$lîḑê"/>
            <p:cNvSpPr/>
            <p:nvPr/>
          </p:nvSpPr>
          <p:spPr bwMode="auto">
            <a:xfrm>
              <a:off x="4694238" y="1552576"/>
              <a:ext cx="263525" cy="265113"/>
            </a:xfrm>
            <a:custGeom>
              <a:avLst/>
              <a:gdLst>
                <a:gd name="T0" fmla="*/ 3 w 18"/>
                <a:gd name="T1" fmla="*/ 18 h 18"/>
                <a:gd name="T2" fmla="*/ 0 w 18"/>
                <a:gd name="T3" fmla="*/ 5 h 18"/>
                <a:gd name="T4" fmla="*/ 13 w 18"/>
                <a:gd name="T5" fmla="*/ 2 h 18"/>
                <a:gd name="T6" fmla="*/ 16 w 18"/>
                <a:gd name="T7" fmla="*/ 16 h 18"/>
                <a:gd name="T8" fmla="*/ 3 w 18"/>
                <a:gd name="T9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8">
                  <a:moveTo>
                    <a:pt x="3" y="18"/>
                  </a:move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10" y="0"/>
                    <a:pt x="13" y="2"/>
                  </a:cubicBezTo>
                  <a:cubicBezTo>
                    <a:pt x="16" y="4"/>
                    <a:pt x="18" y="13"/>
                    <a:pt x="16" y="16"/>
                  </a:cubicBezTo>
                  <a:cubicBezTo>
                    <a:pt x="14" y="18"/>
                    <a:pt x="3" y="18"/>
                    <a:pt x="3" y="18"/>
                  </a:cubicBezTo>
                  <a:close/>
                </a:path>
              </a:pathLst>
            </a:custGeom>
            <a:solidFill>
              <a:srgbClr val="C8E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4" name="ïS1îďé"/>
            <p:cNvSpPr/>
            <p:nvPr/>
          </p:nvSpPr>
          <p:spPr bwMode="auto">
            <a:xfrm>
              <a:off x="4473575" y="1273176"/>
              <a:ext cx="279400" cy="295275"/>
            </a:xfrm>
            <a:custGeom>
              <a:avLst/>
              <a:gdLst>
                <a:gd name="T0" fmla="*/ 0 w 19"/>
                <a:gd name="T1" fmla="*/ 11 h 20"/>
                <a:gd name="T2" fmla="*/ 11 w 19"/>
                <a:gd name="T3" fmla="*/ 20 h 20"/>
                <a:gd name="T4" fmla="*/ 19 w 19"/>
                <a:gd name="T5" fmla="*/ 9 h 20"/>
                <a:gd name="T6" fmla="*/ 8 w 19"/>
                <a:gd name="T7" fmla="*/ 1 h 20"/>
                <a:gd name="T8" fmla="*/ 0 w 19"/>
                <a:gd name="T9" fmla="*/ 11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20">
                  <a:moveTo>
                    <a:pt x="0" y="11"/>
                  </a:move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9" y="13"/>
                    <a:pt x="19" y="9"/>
                  </a:cubicBezTo>
                  <a:cubicBezTo>
                    <a:pt x="18" y="6"/>
                    <a:pt x="11" y="0"/>
                    <a:pt x="8" y="1"/>
                  </a:cubicBezTo>
                  <a:cubicBezTo>
                    <a:pt x="5" y="2"/>
                    <a:pt x="0" y="11"/>
                    <a:pt x="0" y="11"/>
                  </a:cubicBezTo>
                  <a:close/>
                </a:path>
              </a:pathLst>
            </a:custGeom>
            <a:solidFill>
              <a:srgbClr val="C8E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5" name="íšḷïďê"/>
            <p:cNvSpPr/>
            <p:nvPr/>
          </p:nvSpPr>
          <p:spPr bwMode="auto">
            <a:xfrm>
              <a:off x="3975100" y="2052638"/>
              <a:ext cx="279400" cy="295275"/>
            </a:xfrm>
            <a:custGeom>
              <a:avLst/>
              <a:gdLst>
                <a:gd name="T0" fmla="*/ 19 w 19"/>
                <a:gd name="T1" fmla="*/ 9 h 20"/>
                <a:gd name="T2" fmla="*/ 8 w 19"/>
                <a:gd name="T3" fmla="*/ 0 h 20"/>
                <a:gd name="T4" fmla="*/ 0 w 19"/>
                <a:gd name="T5" fmla="*/ 11 h 20"/>
                <a:gd name="T6" fmla="*/ 11 w 19"/>
                <a:gd name="T7" fmla="*/ 19 h 20"/>
                <a:gd name="T8" fmla="*/ 19 w 19"/>
                <a:gd name="T9" fmla="*/ 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20">
                  <a:moveTo>
                    <a:pt x="19" y="9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0" y="8"/>
                    <a:pt x="0" y="11"/>
                  </a:cubicBezTo>
                  <a:cubicBezTo>
                    <a:pt x="1" y="14"/>
                    <a:pt x="8" y="20"/>
                    <a:pt x="11" y="19"/>
                  </a:cubicBezTo>
                  <a:cubicBezTo>
                    <a:pt x="14" y="18"/>
                    <a:pt x="19" y="9"/>
                    <a:pt x="19" y="9"/>
                  </a:cubicBezTo>
                  <a:close/>
                </a:path>
              </a:pathLst>
            </a:custGeom>
            <a:solidFill>
              <a:srgbClr val="C8E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6" name="iṣlíḍè"/>
            <p:cNvSpPr/>
            <p:nvPr/>
          </p:nvSpPr>
          <p:spPr bwMode="auto">
            <a:xfrm>
              <a:off x="4649788" y="1890713"/>
              <a:ext cx="279400" cy="280988"/>
            </a:xfrm>
            <a:custGeom>
              <a:avLst/>
              <a:gdLst>
                <a:gd name="T0" fmla="*/ 0 w 19"/>
                <a:gd name="T1" fmla="*/ 13 h 19"/>
                <a:gd name="T2" fmla="*/ 5 w 19"/>
                <a:gd name="T3" fmla="*/ 0 h 19"/>
                <a:gd name="T4" fmla="*/ 17 w 19"/>
                <a:gd name="T5" fmla="*/ 6 h 19"/>
                <a:gd name="T6" fmla="*/ 12 w 19"/>
                <a:gd name="T7" fmla="*/ 18 h 19"/>
                <a:gd name="T8" fmla="*/ 0 w 19"/>
                <a:gd name="T9" fmla="*/ 13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9">
                  <a:moveTo>
                    <a:pt x="0" y="13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16" y="3"/>
                    <a:pt x="17" y="6"/>
                  </a:cubicBezTo>
                  <a:cubicBezTo>
                    <a:pt x="19" y="9"/>
                    <a:pt x="15" y="17"/>
                    <a:pt x="12" y="18"/>
                  </a:cubicBezTo>
                  <a:cubicBezTo>
                    <a:pt x="9" y="19"/>
                    <a:pt x="0" y="13"/>
                    <a:pt x="0" y="13"/>
                  </a:cubicBezTo>
                  <a:close/>
                </a:path>
              </a:pathLst>
            </a:custGeom>
            <a:solidFill>
              <a:srgbClr val="C8E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7" name="iŝ1îďe"/>
            <p:cNvSpPr/>
            <p:nvPr/>
          </p:nvSpPr>
          <p:spPr bwMode="auto">
            <a:xfrm>
              <a:off x="3359150" y="2641601"/>
              <a:ext cx="4503738" cy="2620963"/>
            </a:xfrm>
            <a:custGeom>
              <a:avLst/>
              <a:gdLst>
                <a:gd name="T0" fmla="*/ 294 w 307"/>
                <a:gd name="T1" fmla="*/ 0 h 178"/>
                <a:gd name="T2" fmla="*/ 307 w 307"/>
                <a:gd name="T3" fmla="*/ 14 h 178"/>
                <a:gd name="T4" fmla="*/ 307 w 307"/>
                <a:gd name="T5" fmla="*/ 164 h 178"/>
                <a:gd name="T6" fmla="*/ 293 w 307"/>
                <a:gd name="T7" fmla="*/ 177 h 178"/>
                <a:gd name="T8" fmla="*/ 14 w 307"/>
                <a:gd name="T9" fmla="*/ 177 h 178"/>
                <a:gd name="T10" fmla="*/ 0 w 307"/>
                <a:gd name="T11" fmla="*/ 163 h 178"/>
                <a:gd name="T12" fmla="*/ 1 w 307"/>
                <a:gd name="T13" fmla="*/ 13 h 178"/>
                <a:gd name="T14" fmla="*/ 14 w 307"/>
                <a:gd name="T15" fmla="*/ 0 h 178"/>
                <a:gd name="T16" fmla="*/ 294 w 307"/>
                <a:gd name="T17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7" h="178">
                  <a:moveTo>
                    <a:pt x="294" y="0"/>
                  </a:moveTo>
                  <a:cubicBezTo>
                    <a:pt x="301" y="0"/>
                    <a:pt x="307" y="7"/>
                    <a:pt x="307" y="14"/>
                  </a:cubicBezTo>
                  <a:cubicBezTo>
                    <a:pt x="307" y="164"/>
                    <a:pt x="307" y="164"/>
                    <a:pt x="307" y="164"/>
                  </a:cubicBezTo>
                  <a:cubicBezTo>
                    <a:pt x="307" y="171"/>
                    <a:pt x="301" y="178"/>
                    <a:pt x="293" y="177"/>
                  </a:cubicBezTo>
                  <a:cubicBezTo>
                    <a:pt x="14" y="177"/>
                    <a:pt x="14" y="177"/>
                    <a:pt x="14" y="177"/>
                  </a:cubicBezTo>
                  <a:cubicBezTo>
                    <a:pt x="6" y="177"/>
                    <a:pt x="0" y="171"/>
                    <a:pt x="0" y="163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1" y="6"/>
                    <a:pt x="7" y="0"/>
                    <a:pt x="14" y="0"/>
                  </a:cubicBezTo>
                  <a:lnTo>
                    <a:pt x="294" y="0"/>
                  </a:lnTo>
                  <a:close/>
                </a:path>
              </a:pathLst>
            </a:custGeom>
            <a:solidFill>
              <a:srgbClr val="003A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8" name="îS1îdè"/>
            <p:cNvSpPr/>
            <p:nvPr/>
          </p:nvSpPr>
          <p:spPr bwMode="auto">
            <a:xfrm>
              <a:off x="3638550" y="2847976"/>
              <a:ext cx="3594100" cy="2208213"/>
            </a:xfrm>
            <a:custGeom>
              <a:avLst/>
              <a:gdLst>
                <a:gd name="T0" fmla="*/ 2264 w 2264"/>
                <a:gd name="T1" fmla="*/ 9 h 1391"/>
                <a:gd name="T2" fmla="*/ 2255 w 2264"/>
                <a:gd name="T3" fmla="*/ 1391 h 1391"/>
                <a:gd name="T4" fmla="*/ 0 w 2264"/>
                <a:gd name="T5" fmla="*/ 1382 h 1391"/>
                <a:gd name="T6" fmla="*/ 9 w 2264"/>
                <a:gd name="T7" fmla="*/ 0 h 1391"/>
                <a:gd name="T8" fmla="*/ 2264 w 2264"/>
                <a:gd name="T9" fmla="*/ 9 h 1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64" h="1391">
                  <a:moveTo>
                    <a:pt x="2264" y="9"/>
                  </a:moveTo>
                  <a:lnTo>
                    <a:pt x="2255" y="1391"/>
                  </a:lnTo>
                  <a:lnTo>
                    <a:pt x="0" y="1382"/>
                  </a:lnTo>
                  <a:lnTo>
                    <a:pt x="9" y="0"/>
                  </a:lnTo>
                  <a:lnTo>
                    <a:pt x="2264" y="9"/>
                  </a:lnTo>
                  <a:close/>
                </a:path>
              </a:pathLst>
            </a:custGeom>
            <a:solidFill>
              <a:srgbClr val="B9DD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9" name="iş1iḋé"/>
            <p:cNvSpPr/>
            <p:nvPr/>
          </p:nvSpPr>
          <p:spPr bwMode="auto">
            <a:xfrm>
              <a:off x="7350125" y="3760788"/>
              <a:ext cx="366713" cy="382588"/>
            </a:xfrm>
            <a:prstGeom prst="ellipse">
              <a:avLst/>
            </a:prstGeom>
            <a:solidFill>
              <a:srgbClr val="ECEB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0" name="îSļïďe"/>
            <p:cNvSpPr/>
            <p:nvPr/>
          </p:nvSpPr>
          <p:spPr bwMode="auto">
            <a:xfrm>
              <a:off x="2860675" y="3643313"/>
              <a:ext cx="2597150" cy="1177925"/>
            </a:xfrm>
            <a:prstGeom prst="rect">
              <a:avLst/>
            </a:prstGeom>
            <a:solidFill>
              <a:srgbClr val="EEF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1" name="iṧḻiḓê"/>
            <p:cNvSpPr/>
            <p:nvPr/>
          </p:nvSpPr>
          <p:spPr bwMode="auto">
            <a:xfrm>
              <a:off x="3036888" y="3952876"/>
              <a:ext cx="176213" cy="720725"/>
            </a:xfrm>
            <a:prstGeom prst="rect">
              <a:avLst/>
            </a:prstGeom>
            <a:solidFill>
              <a:srgbClr val="1F75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2" name="iṣḻïḍê"/>
            <p:cNvSpPr/>
            <p:nvPr/>
          </p:nvSpPr>
          <p:spPr bwMode="auto">
            <a:xfrm>
              <a:off x="3255963" y="4143376"/>
              <a:ext cx="206375" cy="530225"/>
            </a:xfrm>
            <a:prstGeom prst="rect">
              <a:avLst/>
            </a:prstGeom>
            <a:solidFill>
              <a:srgbClr val="003A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3" name="ïś1ïdê"/>
            <p:cNvSpPr/>
            <p:nvPr/>
          </p:nvSpPr>
          <p:spPr bwMode="auto">
            <a:xfrm>
              <a:off x="3521075" y="4054476"/>
              <a:ext cx="190500" cy="619125"/>
            </a:xfrm>
            <a:prstGeom prst="rect">
              <a:avLst/>
            </a:prstGeom>
            <a:solidFill>
              <a:srgbClr val="1F75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4" name="îšḷíďe"/>
            <p:cNvSpPr/>
            <p:nvPr/>
          </p:nvSpPr>
          <p:spPr bwMode="auto">
            <a:xfrm>
              <a:off x="3740150" y="4305301"/>
              <a:ext cx="206375" cy="368300"/>
            </a:xfrm>
            <a:prstGeom prst="rect">
              <a:avLst/>
            </a:prstGeom>
            <a:solidFill>
              <a:srgbClr val="003A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5" name="ïšlíḑè"/>
            <p:cNvSpPr/>
            <p:nvPr/>
          </p:nvSpPr>
          <p:spPr bwMode="auto">
            <a:xfrm>
              <a:off x="4283075" y="4187826"/>
              <a:ext cx="1041400" cy="485775"/>
            </a:xfrm>
            <a:custGeom>
              <a:avLst/>
              <a:gdLst>
                <a:gd name="T0" fmla="*/ 0 w 71"/>
                <a:gd name="T1" fmla="*/ 6 h 33"/>
                <a:gd name="T2" fmla="*/ 10 w 71"/>
                <a:gd name="T3" fmla="*/ 0 h 33"/>
                <a:gd name="T4" fmla="*/ 16 w 71"/>
                <a:gd name="T5" fmla="*/ 3 h 33"/>
                <a:gd name="T6" fmla="*/ 26 w 71"/>
                <a:gd name="T7" fmla="*/ 13 h 33"/>
                <a:gd name="T8" fmla="*/ 34 w 71"/>
                <a:gd name="T9" fmla="*/ 6 h 33"/>
                <a:gd name="T10" fmla="*/ 37 w 71"/>
                <a:gd name="T11" fmla="*/ 8 h 33"/>
                <a:gd name="T12" fmla="*/ 42 w 71"/>
                <a:gd name="T13" fmla="*/ 11 h 33"/>
                <a:gd name="T14" fmla="*/ 47 w 71"/>
                <a:gd name="T15" fmla="*/ 13 h 33"/>
                <a:gd name="T16" fmla="*/ 57 w 71"/>
                <a:gd name="T17" fmla="*/ 14 h 33"/>
                <a:gd name="T18" fmla="*/ 61 w 71"/>
                <a:gd name="T19" fmla="*/ 22 h 33"/>
                <a:gd name="T20" fmla="*/ 71 w 71"/>
                <a:gd name="T21" fmla="*/ 21 h 33"/>
                <a:gd name="T22" fmla="*/ 71 w 71"/>
                <a:gd name="T23" fmla="*/ 33 h 33"/>
                <a:gd name="T24" fmla="*/ 0 w 71"/>
                <a:gd name="T25" fmla="*/ 33 h 33"/>
                <a:gd name="T26" fmla="*/ 0 w 71"/>
                <a:gd name="T27" fmla="*/ 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1" h="33">
                  <a:moveTo>
                    <a:pt x="0" y="6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6" y="3"/>
                    <a:pt x="16" y="3"/>
                    <a:pt x="16" y="3"/>
                  </a:cubicBezTo>
                  <a:cubicBezTo>
                    <a:pt x="26" y="13"/>
                    <a:pt x="26" y="13"/>
                    <a:pt x="26" y="13"/>
                  </a:cubicBezTo>
                  <a:cubicBezTo>
                    <a:pt x="34" y="6"/>
                    <a:pt x="34" y="6"/>
                    <a:pt x="34" y="6"/>
                  </a:cubicBezTo>
                  <a:cubicBezTo>
                    <a:pt x="37" y="8"/>
                    <a:pt x="37" y="8"/>
                    <a:pt x="37" y="8"/>
                  </a:cubicBezTo>
                  <a:cubicBezTo>
                    <a:pt x="42" y="11"/>
                    <a:pt x="42" y="11"/>
                    <a:pt x="42" y="11"/>
                  </a:cubicBezTo>
                  <a:cubicBezTo>
                    <a:pt x="47" y="13"/>
                    <a:pt x="47" y="13"/>
                    <a:pt x="47" y="13"/>
                  </a:cubicBezTo>
                  <a:cubicBezTo>
                    <a:pt x="47" y="13"/>
                    <a:pt x="55" y="14"/>
                    <a:pt x="57" y="14"/>
                  </a:cubicBezTo>
                  <a:cubicBezTo>
                    <a:pt x="61" y="22"/>
                    <a:pt x="61" y="22"/>
                    <a:pt x="61" y="22"/>
                  </a:cubicBezTo>
                  <a:cubicBezTo>
                    <a:pt x="71" y="21"/>
                    <a:pt x="71" y="21"/>
                    <a:pt x="71" y="21"/>
                  </a:cubicBezTo>
                  <a:cubicBezTo>
                    <a:pt x="71" y="33"/>
                    <a:pt x="71" y="33"/>
                    <a:pt x="71" y="33"/>
                  </a:cubicBezTo>
                  <a:cubicBezTo>
                    <a:pt x="0" y="33"/>
                    <a:pt x="0" y="33"/>
                    <a:pt x="0" y="33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003A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6" name="ïśḷïḍe"/>
            <p:cNvSpPr/>
            <p:nvPr/>
          </p:nvSpPr>
          <p:spPr bwMode="auto">
            <a:xfrm>
              <a:off x="4283075" y="4481513"/>
              <a:ext cx="1041400" cy="192088"/>
            </a:xfrm>
            <a:custGeom>
              <a:avLst/>
              <a:gdLst>
                <a:gd name="T0" fmla="*/ 0 w 656"/>
                <a:gd name="T1" fmla="*/ 47 h 121"/>
                <a:gd name="T2" fmla="*/ 93 w 656"/>
                <a:gd name="T3" fmla="*/ 0 h 121"/>
                <a:gd name="T4" fmla="*/ 130 w 656"/>
                <a:gd name="T5" fmla="*/ 37 h 121"/>
                <a:gd name="T6" fmla="*/ 167 w 656"/>
                <a:gd name="T7" fmla="*/ 47 h 121"/>
                <a:gd name="T8" fmla="*/ 250 w 656"/>
                <a:gd name="T9" fmla="*/ 19 h 121"/>
                <a:gd name="T10" fmla="*/ 296 w 656"/>
                <a:gd name="T11" fmla="*/ 47 h 121"/>
                <a:gd name="T12" fmla="*/ 361 w 656"/>
                <a:gd name="T13" fmla="*/ 75 h 121"/>
                <a:gd name="T14" fmla="*/ 435 w 656"/>
                <a:gd name="T15" fmla="*/ 93 h 121"/>
                <a:gd name="T16" fmla="*/ 527 w 656"/>
                <a:gd name="T17" fmla="*/ 93 h 121"/>
                <a:gd name="T18" fmla="*/ 583 w 656"/>
                <a:gd name="T19" fmla="*/ 93 h 121"/>
                <a:gd name="T20" fmla="*/ 656 w 656"/>
                <a:gd name="T21" fmla="*/ 121 h 121"/>
                <a:gd name="T22" fmla="*/ 0 w 656"/>
                <a:gd name="T23" fmla="*/ 121 h 121"/>
                <a:gd name="T24" fmla="*/ 0 w 656"/>
                <a:gd name="T25" fmla="*/ 47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6" h="121">
                  <a:moveTo>
                    <a:pt x="0" y="47"/>
                  </a:moveTo>
                  <a:lnTo>
                    <a:pt x="93" y="0"/>
                  </a:lnTo>
                  <a:lnTo>
                    <a:pt x="130" y="37"/>
                  </a:lnTo>
                  <a:lnTo>
                    <a:pt x="167" y="47"/>
                  </a:lnTo>
                  <a:lnTo>
                    <a:pt x="250" y="19"/>
                  </a:lnTo>
                  <a:lnTo>
                    <a:pt x="296" y="47"/>
                  </a:lnTo>
                  <a:lnTo>
                    <a:pt x="361" y="75"/>
                  </a:lnTo>
                  <a:lnTo>
                    <a:pt x="435" y="93"/>
                  </a:lnTo>
                  <a:lnTo>
                    <a:pt x="527" y="93"/>
                  </a:lnTo>
                  <a:lnTo>
                    <a:pt x="583" y="93"/>
                  </a:lnTo>
                  <a:lnTo>
                    <a:pt x="656" y="121"/>
                  </a:lnTo>
                  <a:lnTo>
                    <a:pt x="0" y="121"/>
                  </a:lnTo>
                  <a:lnTo>
                    <a:pt x="0" y="47"/>
                  </a:lnTo>
                  <a:close/>
                </a:path>
              </a:pathLst>
            </a:custGeom>
            <a:solidFill>
              <a:srgbClr val="1F75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7" name="íṡľíḍé"/>
            <p:cNvSpPr/>
            <p:nvPr/>
          </p:nvSpPr>
          <p:spPr bwMode="auto">
            <a:xfrm>
              <a:off x="5749925" y="4202113"/>
              <a:ext cx="660400" cy="1060450"/>
            </a:xfrm>
            <a:custGeom>
              <a:avLst/>
              <a:gdLst>
                <a:gd name="T0" fmla="*/ 416 w 416"/>
                <a:gd name="T1" fmla="*/ 659 h 668"/>
                <a:gd name="T2" fmla="*/ 0 w 416"/>
                <a:gd name="T3" fmla="*/ 668 h 668"/>
                <a:gd name="T4" fmla="*/ 10 w 416"/>
                <a:gd name="T5" fmla="*/ 0 h 668"/>
                <a:gd name="T6" fmla="*/ 416 w 416"/>
                <a:gd name="T7" fmla="*/ 0 h 668"/>
                <a:gd name="T8" fmla="*/ 416 w 416"/>
                <a:gd name="T9" fmla="*/ 659 h 6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6" h="668">
                  <a:moveTo>
                    <a:pt x="416" y="659"/>
                  </a:moveTo>
                  <a:lnTo>
                    <a:pt x="0" y="668"/>
                  </a:lnTo>
                  <a:lnTo>
                    <a:pt x="10" y="0"/>
                  </a:lnTo>
                  <a:lnTo>
                    <a:pt x="416" y="0"/>
                  </a:lnTo>
                  <a:lnTo>
                    <a:pt x="416" y="659"/>
                  </a:lnTo>
                  <a:close/>
                </a:path>
              </a:pathLst>
            </a:custGeom>
            <a:solidFill>
              <a:srgbClr val="1F75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8" name="î$ľiḋe"/>
            <p:cNvSpPr/>
            <p:nvPr/>
          </p:nvSpPr>
          <p:spPr bwMode="auto">
            <a:xfrm>
              <a:off x="6557963" y="4481513"/>
              <a:ext cx="703263" cy="766763"/>
            </a:xfrm>
            <a:prstGeom prst="rect">
              <a:avLst/>
            </a:prstGeom>
            <a:solidFill>
              <a:srgbClr val="1F75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9" name="îšḻîḋe"/>
            <p:cNvSpPr/>
            <p:nvPr/>
          </p:nvSpPr>
          <p:spPr bwMode="auto">
            <a:xfrm>
              <a:off x="7467600" y="4364038"/>
              <a:ext cx="660400" cy="884238"/>
            </a:xfrm>
            <a:prstGeom prst="rect">
              <a:avLst/>
            </a:prstGeom>
            <a:solidFill>
              <a:srgbClr val="1F75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0" name="íṧḻïḍê"/>
            <p:cNvSpPr/>
            <p:nvPr/>
          </p:nvSpPr>
          <p:spPr bwMode="auto">
            <a:xfrm>
              <a:off x="8259763" y="4732338"/>
              <a:ext cx="719138" cy="515938"/>
            </a:xfrm>
            <a:prstGeom prst="rect">
              <a:avLst/>
            </a:prstGeom>
            <a:solidFill>
              <a:srgbClr val="1F75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1" name="îŝ1îďe"/>
            <p:cNvSpPr/>
            <p:nvPr/>
          </p:nvSpPr>
          <p:spPr bwMode="auto">
            <a:xfrm>
              <a:off x="4240213" y="1951038"/>
              <a:ext cx="5002213" cy="2133600"/>
            </a:xfrm>
            <a:custGeom>
              <a:avLst/>
              <a:gdLst>
                <a:gd name="T0" fmla="*/ 3151 w 3151"/>
                <a:gd name="T1" fmla="*/ 408 h 1344"/>
                <a:gd name="T2" fmla="*/ 2495 w 3151"/>
                <a:gd name="T3" fmla="*/ 519 h 1344"/>
                <a:gd name="T4" fmla="*/ 2495 w 3151"/>
                <a:gd name="T5" fmla="*/ 945 h 1344"/>
                <a:gd name="T6" fmla="*/ 2088 w 3151"/>
                <a:gd name="T7" fmla="*/ 751 h 1344"/>
                <a:gd name="T8" fmla="*/ 1885 w 3151"/>
                <a:gd name="T9" fmla="*/ 1094 h 1344"/>
                <a:gd name="T10" fmla="*/ 1876 w 3151"/>
                <a:gd name="T11" fmla="*/ 1084 h 1344"/>
                <a:gd name="T12" fmla="*/ 739 w 3151"/>
                <a:gd name="T13" fmla="*/ 630 h 1344"/>
                <a:gd name="T14" fmla="*/ 711 w 3151"/>
                <a:gd name="T15" fmla="*/ 1270 h 1344"/>
                <a:gd name="T16" fmla="*/ 0 w 3151"/>
                <a:gd name="T17" fmla="*/ 1344 h 1344"/>
                <a:gd name="T18" fmla="*/ 0 w 3151"/>
                <a:gd name="T19" fmla="*/ 1307 h 1344"/>
                <a:gd name="T20" fmla="*/ 665 w 3151"/>
                <a:gd name="T21" fmla="*/ 1233 h 1344"/>
                <a:gd name="T22" fmla="*/ 702 w 3151"/>
                <a:gd name="T23" fmla="*/ 574 h 1344"/>
                <a:gd name="T24" fmla="*/ 1876 w 3151"/>
                <a:gd name="T25" fmla="*/ 1038 h 1344"/>
                <a:gd name="T26" fmla="*/ 2070 w 3151"/>
                <a:gd name="T27" fmla="*/ 704 h 1344"/>
                <a:gd name="T28" fmla="*/ 2458 w 3151"/>
                <a:gd name="T29" fmla="*/ 880 h 1344"/>
                <a:gd name="T30" fmla="*/ 2458 w 3151"/>
                <a:gd name="T31" fmla="*/ 491 h 1344"/>
                <a:gd name="T32" fmla="*/ 3105 w 3151"/>
                <a:gd name="T33" fmla="*/ 380 h 1344"/>
                <a:gd name="T34" fmla="*/ 3031 w 3151"/>
                <a:gd name="T35" fmla="*/ 9 h 1344"/>
                <a:gd name="T36" fmla="*/ 3077 w 3151"/>
                <a:gd name="T37" fmla="*/ 0 h 1344"/>
                <a:gd name="T38" fmla="*/ 3151 w 3151"/>
                <a:gd name="T39" fmla="*/ 408 h 1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151" h="1344">
                  <a:moveTo>
                    <a:pt x="3151" y="408"/>
                  </a:moveTo>
                  <a:lnTo>
                    <a:pt x="2495" y="519"/>
                  </a:lnTo>
                  <a:lnTo>
                    <a:pt x="2495" y="945"/>
                  </a:lnTo>
                  <a:lnTo>
                    <a:pt x="2088" y="751"/>
                  </a:lnTo>
                  <a:lnTo>
                    <a:pt x="1885" y="1094"/>
                  </a:lnTo>
                  <a:lnTo>
                    <a:pt x="1876" y="1084"/>
                  </a:lnTo>
                  <a:lnTo>
                    <a:pt x="739" y="630"/>
                  </a:lnTo>
                  <a:lnTo>
                    <a:pt x="711" y="1270"/>
                  </a:lnTo>
                  <a:lnTo>
                    <a:pt x="0" y="1344"/>
                  </a:lnTo>
                  <a:lnTo>
                    <a:pt x="0" y="1307"/>
                  </a:lnTo>
                  <a:lnTo>
                    <a:pt x="665" y="1233"/>
                  </a:lnTo>
                  <a:lnTo>
                    <a:pt x="702" y="574"/>
                  </a:lnTo>
                  <a:lnTo>
                    <a:pt x="1876" y="1038"/>
                  </a:lnTo>
                  <a:lnTo>
                    <a:pt x="2070" y="704"/>
                  </a:lnTo>
                  <a:lnTo>
                    <a:pt x="2458" y="880"/>
                  </a:lnTo>
                  <a:lnTo>
                    <a:pt x="2458" y="491"/>
                  </a:lnTo>
                  <a:lnTo>
                    <a:pt x="3105" y="380"/>
                  </a:lnTo>
                  <a:lnTo>
                    <a:pt x="3031" y="9"/>
                  </a:lnTo>
                  <a:lnTo>
                    <a:pt x="3077" y="0"/>
                  </a:lnTo>
                  <a:lnTo>
                    <a:pt x="3151" y="408"/>
                  </a:lnTo>
                  <a:close/>
                </a:path>
              </a:pathLst>
            </a:custGeom>
            <a:solidFill>
              <a:srgbClr val="FFBD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2" name="išḻiḑé"/>
            <p:cNvSpPr/>
            <p:nvPr/>
          </p:nvSpPr>
          <p:spPr bwMode="auto">
            <a:xfrm>
              <a:off x="5281613" y="2760663"/>
              <a:ext cx="277813" cy="263525"/>
            </a:xfrm>
            <a:custGeom>
              <a:avLst/>
              <a:gdLst>
                <a:gd name="T0" fmla="*/ 13 w 19"/>
                <a:gd name="T1" fmla="*/ 2 h 18"/>
                <a:gd name="T2" fmla="*/ 17 w 19"/>
                <a:gd name="T3" fmla="*/ 13 h 18"/>
                <a:gd name="T4" fmla="*/ 6 w 19"/>
                <a:gd name="T5" fmla="*/ 17 h 18"/>
                <a:gd name="T6" fmla="*/ 2 w 19"/>
                <a:gd name="T7" fmla="*/ 6 h 18"/>
                <a:gd name="T8" fmla="*/ 13 w 19"/>
                <a:gd name="T9" fmla="*/ 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8">
                  <a:moveTo>
                    <a:pt x="13" y="2"/>
                  </a:moveTo>
                  <a:cubicBezTo>
                    <a:pt x="17" y="4"/>
                    <a:pt x="19" y="8"/>
                    <a:pt x="17" y="13"/>
                  </a:cubicBezTo>
                  <a:cubicBezTo>
                    <a:pt x="15" y="17"/>
                    <a:pt x="10" y="18"/>
                    <a:pt x="6" y="17"/>
                  </a:cubicBezTo>
                  <a:cubicBezTo>
                    <a:pt x="2" y="15"/>
                    <a:pt x="0" y="10"/>
                    <a:pt x="2" y="6"/>
                  </a:cubicBezTo>
                  <a:cubicBezTo>
                    <a:pt x="4" y="2"/>
                    <a:pt x="8" y="0"/>
                    <a:pt x="13" y="2"/>
                  </a:cubicBezTo>
                  <a:close/>
                </a:path>
              </a:pathLst>
            </a:custGeom>
            <a:solidFill>
              <a:srgbClr val="29B9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3" name="îśľiďé"/>
            <p:cNvSpPr/>
            <p:nvPr/>
          </p:nvSpPr>
          <p:spPr bwMode="auto">
            <a:xfrm>
              <a:off x="5192713" y="3805238"/>
              <a:ext cx="279400" cy="265113"/>
            </a:xfrm>
            <a:custGeom>
              <a:avLst/>
              <a:gdLst>
                <a:gd name="T0" fmla="*/ 13 w 19"/>
                <a:gd name="T1" fmla="*/ 2 h 18"/>
                <a:gd name="T2" fmla="*/ 17 w 19"/>
                <a:gd name="T3" fmla="*/ 13 h 18"/>
                <a:gd name="T4" fmla="*/ 6 w 19"/>
                <a:gd name="T5" fmla="*/ 17 h 18"/>
                <a:gd name="T6" fmla="*/ 2 w 19"/>
                <a:gd name="T7" fmla="*/ 6 h 18"/>
                <a:gd name="T8" fmla="*/ 13 w 19"/>
                <a:gd name="T9" fmla="*/ 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8">
                  <a:moveTo>
                    <a:pt x="13" y="2"/>
                  </a:moveTo>
                  <a:cubicBezTo>
                    <a:pt x="17" y="4"/>
                    <a:pt x="19" y="8"/>
                    <a:pt x="17" y="13"/>
                  </a:cubicBezTo>
                  <a:cubicBezTo>
                    <a:pt x="15" y="17"/>
                    <a:pt x="10" y="18"/>
                    <a:pt x="6" y="17"/>
                  </a:cubicBezTo>
                  <a:cubicBezTo>
                    <a:pt x="2" y="15"/>
                    <a:pt x="0" y="10"/>
                    <a:pt x="2" y="6"/>
                  </a:cubicBezTo>
                  <a:cubicBezTo>
                    <a:pt x="4" y="2"/>
                    <a:pt x="9" y="0"/>
                    <a:pt x="13" y="2"/>
                  </a:cubicBezTo>
                  <a:close/>
                </a:path>
              </a:pathLst>
            </a:custGeom>
            <a:solidFill>
              <a:srgbClr val="29B9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4" name="îṧļíďé"/>
            <p:cNvSpPr/>
            <p:nvPr/>
          </p:nvSpPr>
          <p:spPr bwMode="auto">
            <a:xfrm>
              <a:off x="7115175" y="3467101"/>
              <a:ext cx="263525" cy="263525"/>
            </a:xfrm>
            <a:custGeom>
              <a:avLst/>
              <a:gdLst>
                <a:gd name="T0" fmla="*/ 12 w 18"/>
                <a:gd name="T1" fmla="*/ 1 h 18"/>
                <a:gd name="T2" fmla="*/ 16 w 18"/>
                <a:gd name="T3" fmla="*/ 12 h 18"/>
                <a:gd name="T4" fmla="*/ 5 w 18"/>
                <a:gd name="T5" fmla="*/ 16 h 18"/>
                <a:gd name="T6" fmla="*/ 1 w 18"/>
                <a:gd name="T7" fmla="*/ 5 h 18"/>
                <a:gd name="T8" fmla="*/ 12 w 18"/>
                <a:gd name="T9" fmla="*/ 1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8">
                  <a:moveTo>
                    <a:pt x="12" y="1"/>
                  </a:moveTo>
                  <a:cubicBezTo>
                    <a:pt x="16" y="3"/>
                    <a:pt x="18" y="8"/>
                    <a:pt x="16" y="12"/>
                  </a:cubicBezTo>
                  <a:cubicBezTo>
                    <a:pt x="14" y="16"/>
                    <a:pt x="10" y="18"/>
                    <a:pt x="5" y="16"/>
                  </a:cubicBezTo>
                  <a:cubicBezTo>
                    <a:pt x="1" y="14"/>
                    <a:pt x="0" y="10"/>
                    <a:pt x="1" y="5"/>
                  </a:cubicBezTo>
                  <a:cubicBezTo>
                    <a:pt x="3" y="1"/>
                    <a:pt x="8" y="0"/>
                    <a:pt x="12" y="1"/>
                  </a:cubicBezTo>
                  <a:close/>
                </a:path>
              </a:pathLst>
            </a:custGeom>
            <a:solidFill>
              <a:srgbClr val="29B9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5" name="íśḻîḑé"/>
            <p:cNvSpPr/>
            <p:nvPr/>
          </p:nvSpPr>
          <p:spPr bwMode="auto">
            <a:xfrm>
              <a:off x="7408863" y="2951163"/>
              <a:ext cx="277813" cy="279400"/>
            </a:xfrm>
            <a:custGeom>
              <a:avLst/>
              <a:gdLst>
                <a:gd name="T0" fmla="*/ 13 w 19"/>
                <a:gd name="T1" fmla="*/ 2 h 19"/>
                <a:gd name="T2" fmla="*/ 17 w 19"/>
                <a:gd name="T3" fmla="*/ 13 h 19"/>
                <a:gd name="T4" fmla="*/ 6 w 19"/>
                <a:gd name="T5" fmla="*/ 17 h 19"/>
                <a:gd name="T6" fmla="*/ 2 w 19"/>
                <a:gd name="T7" fmla="*/ 6 h 19"/>
                <a:gd name="T8" fmla="*/ 13 w 19"/>
                <a:gd name="T9" fmla="*/ 2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9">
                  <a:moveTo>
                    <a:pt x="13" y="2"/>
                  </a:moveTo>
                  <a:cubicBezTo>
                    <a:pt x="17" y="4"/>
                    <a:pt x="19" y="9"/>
                    <a:pt x="17" y="13"/>
                  </a:cubicBezTo>
                  <a:cubicBezTo>
                    <a:pt x="15" y="17"/>
                    <a:pt x="10" y="19"/>
                    <a:pt x="6" y="17"/>
                  </a:cubicBezTo>
                  <a:cubicBezTo>
                    <a:pt x="2" y="15"/>
                    <a:pt x="0" y="10"/>
                    <a:pt x="2" y="6"/>
                  </a:cubicBezTo>
                  <a:cubicBezTo>
                    <a:pt x="4" y="2"/>
                    <a:pt x="9" y="0"/>
                    <a:pt x="13" y="2"/>
                  </a:cubicBezTo>
                  <a:close/>
                </a:path>
              </a:pathLst>
            </a:custGeom>
            <a:solidFill>
              <a:srgbClr val="29B9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6" name="íṥ1îḓé"/>
            <p:cNvSpPr/>
            <p:nvPr/>
          </p:nvSpPr>
          <p:spPr bwMode="auto">
            <a:xfrm>
              <a:off x="8024813" y="2613026"/>
              <a:ext cx="279400" cy="265113"/>
            </a:xfrm>
            <a:custGeom>
              <a:avLst/>
              <a:gdLst>
                <a:gd name="T0" fmla="*/ 13 w 19"/>
                <a:gd name="T1" fmla="*/ 2 h 18"/>
                <a:gd name="T2" fmla="*/ 17 w 19"/>
                <a:gd name="T3" fmla="*/ 13 h 18"/>
                <a:gd name="T4" fmla="*/ 6 w 19"/>
                <a:gd name="T5" fmla="*/ 17 h 18"/>
                <a:gd name="T6" fmla="*/ 2 w 19"/>
                <a:gd name="T7" fmla="*/ 6 h 18"/>
                <a:gd name="T8" fmla="*/ 13 w 19"/>
                <a:gd name="T9" fmla="*/ 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8">
                  <a:moveTo>
                    <a:pt x="13" y="2"/>
                  </a:moveTo>
                  <a:cubicBezTo>
                    <a:pt x="17" y="4"/>
                    <a:pt x="19" y="8"/>
                    <a:pt x="17" y="13"/>
                  </a:cubicBezTo>
                  <a:cubicBezTo>
                    <a:pt x="15" y="17"/>
                    <a:pt x="10" y="18"/>
                    <a:pt x="6" y="17"/>
                  </a:cubicBezTo>
                  <a:cubicBezTo>
                    <a:pt x="2" y="15"/>
                    <a:pt x="0" y="10"/>
                    <a:pt x="2" y="6"/>
                  </a:cubicBezTo>
                  <a:cubicBezTo>
                    <a:pt x="4" y="2"/>
                    <a:pt x="9" y="0"/>
                    <a:pt x="13" y="2"/>
                  </a:cubicBezTo>
                  <a:close/>
                </a:path>
              </a:pathLst>
            </a:custGeom>
            <a:solidFill>
              <a:srgbClr val="29B9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7" name="íşlíďè"/>
            <p:cNvSpPr/>
            <p:nvPr/>
          </p:nvSpPr>
          <p:spPr bwMode="auto">
            <a:xfrm>
              <a:off x="8039100" y="3260726"/>
              <a:ext cx="265113" cy="279400"/>
            </a:xfrm>
            <a:custGeom>
              <a:avLst/>
              <a:gdLst>
                <a:gd name="T0" fmla="*/ 13 w 18"/>
                <a:gd name="T1" fmla="*/ 2 h 19"/>
                <a:gd name="T2" fmla="*/ 17 w 18"/>
                <a:gd name="T3" fmla="*/ 13 h 19"/>
                <a:gd name="T4" fmla="*/ 6 w 18"/>
                <a:gd name="T5" fmla="*/ 17 h 19"/>
                <a:gd name="T6" fmla="*/ 2 w 18"/>
                <a:gd name="T7" fmla="*/ 6 h 19"/>
                <a:gd name="T8" fmla="*/ 13 w 18"/>
                <a:gd name="T9" fmla="*/ 2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9">
                  <a:moveTo>
                    <a:pt x="13" y="2"/>
                  </a:moveTo>
                  <a:cubicBezTo>
                    <a:pt x="17" y="4"/>
                    <a:pt x="18" y="8"/>
                    <a:pt x="17" y="13"/>
                  </a:cubicBezTo>
                  <a:cubicBezTo>
                    <a:pt x="15" y="17"/>
                    <a:pt x="10" y="19"/>
                    <a:pt x="6" y="17"/>
                  </a:cubicBezTo>
                  <a:cubicBezTo>
                    <a:pt x="2" y="15"/>
                    <a:pt x="0" y="10"/>
                    <a:pt x="2" y="6"/>
                  </a:cubicBezTo>
                  <a:cubicBezTo>
                    <a:pt x="4" y="2"/>
                    <a:pt x="8" y="0"/>
                    <a:pt x="13" y="2"/>
                  </a:cubicBezTo>
                  <a:close/>
                </a:path>
              </a:pathLst>
            </a:custGeom>
            <a:solidFill>
              <a:srgbClr val="29B9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8" name="iṣlide"/>
            <p:cNvSpPr/>
            <p:nvPr/>
          </p:nvSpPr>
          <p:spPr bwMode="auto">
            <a:xfrm>
              <a:off x="9066213" y="2436813"/>
              <a:ext cx="279400" cy="279400"/>
            </a:xfrm>
            <a:custGeom>
              <a:avLst/>
              <a:gdLst>
                <a:gd name="T0" fmla="*/ 13 w 19"/>
                <a:gd name="T1" fmla="*/ 2 h 19"/>
                <a:gd name="T2" fmla="*/ 17 w 19"/>
                <a:gd name="T3" fmla="*/ 13 h 19"/>
                <a:gd name="T4" fmla="*/ 6 w 19"/>
                <a:gd name="T5" fmla="*/ 17 h 19"/>
                <a:gd name="T6" fmla="*/ 2 w 19"/>
                <a:gd name="T7" fmla="*/ 6 h 19"/>
                <a:gd name="T8" fmla="*/ 13 w 19"/>
                <a:gd name="T9" fmla="*/ 2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9">
                  <a:moveTo>
                    <a:pt x="13" y="2"/>
                  </a:moveTo>
                  <a:cubicBezTo>
                    <a:pt x="17" y="4"/>
                    <a:pt x="19" y="9"/>
                    <a:pt x="17" y="13"/>
                  </a:cubicBezTo>
                  <a:cubicBezTo>
                    <a:pt x="15" y="17"/>
                    <a:pt x="10" y="19"/>
                    <a:pt x="6" y="17"/>
                  </a:cubicBezTo>
                  <a:cubicBezTo>
                    <a:pt x="2" y="15"/>
                    <a:pt x="0" y="10"/>
                    <a:pt x="2" y="6"/>
                  </a:cubicBezTo>
                  <a:cubicBezTo>
                    <a:pt x="4" y="2"/>
                    <a:pt x="9" y="0"/>
                    <a:pt x="13" y="2"/>
                  </a:cubicBezTo>
                  <a:close/>
                </a:path>
              </a:pathLst>
            </a:custGeom>
            <a:solidFill>
              <a:srgbClr val="29B9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9" name="î$ḻiḋé"/>
            <p:cNvSpPr/>
            <p:nvPr/>
          </p:nvSpPr>
          <p:spPr bwMode="auto">
            <a:xfrm>
              <a:off x="8963025" y="1803401"/>
              <a:ext cx="265113" cy="279400"/>
            </a:xfrm>
            <a:custGeom>
              <a:avLst/>
              <a:gdLst>
                <a:gd name="T0" fmla="*/ 13 w 18"/>
                <a:gd name="T1" fmla="*/ 2 h 19"/>
                <a:gd name="T2" fmla="*/ 17 w 18"/>
                <a:gd name="T3" fmla="*/ 13 h 19"/>
                <a:gd name="T4" fmla="*/ 6 w 18"/>
                <a:gd name="T5" fmla="*/ 17 h 19"/>
                <a:gd name="T6" fmla="*/ 2 w 18"/>
                <a:gd name="T7" fmla="*/ 6 h 19"/>
                <a:gd name="T8" fmla="*/ 13 w 18"/>
                <a:gd name="T9" fmla="*/ 2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9">
                  <a:moveTo>
                    <a:pt x="13" y="2"/>
                  </a:moveTo>
                  <a:cubicBezTo>
                    <a:pt x="17" y="4"/>
                    <a:pt x="18" y="9"/>
                    <a:pt x="17" y="13"/>
                  </a:cubicBezTo>
                  <a:cubicBezTo>
                    <a:pt x="15" y="17"/>
                    <a:pt x="10" y="19"/>
                    <a:pt x="6" y="17"/>
                  </a:cubicBezTo>
                  <a:cubicBezTo>
                    <a:pt x="2" y="15"/>
                    <a:pt x="0" y="10"/>
                    <a:pt x="2" y="6"/>
                  </a:cubicBezTo>
                  <a:cubicBezTo>
                    <a:pt x="4" y="2"/>
                    <a:pt x="8" y="0"/>
                    <a:pt x="13" y="2"/>
                  </a:cubicBezTo>
                  <a:close/>
                </a:path>
              </a:pathLst>
            </a:custGeom>
            <a:solidFill>
              <a:srgbClr val="29B9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0" name="íśḻídé"/>
            <p:cNvSpPr/>
            <p:nvPr/>
          </p:nvSpPr>
          <p:spPr bwMode="auto">
            <a:xfrm>
              <a:off x="4106863" y="3952876"/>
              <a:ext cx="279400" cy="279400"/>
            </a:xfrm>
            <a:custGeom>
              <a:avLst/>
              <a:gdLst>
                <a:gd name="T0" fmla="*/ 13 w 19"/>
                <a:gd name="T1" fmla="*/ 2 h 19"/>
                <a:gd name="T2" fmla="*/ 17 w 19"/>
                <a:gd name="T3" fmla="*/ 13 h 19"/>
                <a:gd name="T4" fmla="*/ 6 w 19"/>
                <a:gd name="T5" fmla="*/ 17 h 19"/>
                <a:gd name="T6" fmla="*/ 2 w 19"/>
                <a:gd name="T7" fmla="*/ 6 h 19"/>
                <a:gd name="T8" fmla="*/ 13 w 19"/>
                <a:gd name="T9" fmla="*/ 2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9">
                  <a:moveTo>
                    <a:pt x="13" y="2"/>
                  </a:moveTo>
                  <a:cubicBezTo>
                    <a:pt x="17" y="4"/>
                    <a:pt x="19" y="9"/>
                    <a:pt x="17" y="13"/>
                  </a:cubicBezTo>
                  <a:cubicBezTo>
                    <a:pt x="15" y="17"/>
                    <a:pt x="10" y="19"/>
                    <a:pt x="6" y="17"/>
                  </a:cubicBezTo>
                  <a:cubicBezTo>
                    <a:pt x="2" y="15"/>
                    <a:pt x="0" y="10"/>
                    <a:pt x="2" y="6"/>
                  </a:cubicBezTo>
                  <a:cubicBezTo>
                    <a:pt x="4" y="2"/>
                    <a:pt x="9" y="0"/>
                    <a:pt x="13" y="2"/>
                  </a:cubicBezTo>
                  <a:close/>
                </a:path>
              </a:pathLst>
            </a:custGeom>
            <a:solidFill>
              <a:srgbClr val="29B9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1" name="iṡlíḓê"/>
            <p:cNvSpPr/>
            <p:nvPr/>
          </p:nvSpPr>
          <p:spPr bwMode="auto">
            <a:xfrm>
              <a:off x="5075238" y="5394326"/>
              <a:ext cx="190500" cy="236538"/>
            </a:xfrm>
            <a:custGeom>
              <a:avLst/>
              <a:gdLst>
                <a:gd name="T0" fmla="*/ 84 w 120"/>
                <a:gd name="T1" fmla="*/ 0 h 149"/>
                <a:gd name="T2" fmla="*/ 56 w 120"/>
                <a:gd name="T3" fmla="*/ 9 h 149"/>
                <a:gd name="T4" fmla="*/ 65 w 120"/>
                <a:gd name="T5" fmla="*/ 56 h 149"/>
                <a:gd name="T6" fmla="*/ 56 w 120"/>
                <a:gd name="T7" fmla="*/ 74 h 149"/>
                <a:gd name="T8" fmla="*/ 0 w 120"/>
                <a:gd name="T9" fmla="*/ 149 h 149"/>
                <a:gd name="T10" fmla="*/ 120 w 120"/>
                <a:gd name="T11" fmla="*/ 74 h 149"/>
                <a:gd name="T12" fmla="*/ 84 w 120"/>
                <a:gd name="T13" fmla="*/ 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0" h="149">
                  <a:moveTo>
                    <a:pt x="84" y="0"/>
                  </a:moveTo>
                  <a:lnTo>
                    <a:pt x="56" y="9"/>
                  </a:lnTo>
                  <a:lnTo>
                    <a:pt x="65" y="56"/>
                  </a:lnTo>
                  <a:lnTo>
                    <a:pt x="56" y="74"/>
                  </a:lnTo>
                  <a:lnTo>
                    <a:pt x="0" y="149"/>
                  </a:lnTo>
                  <a:lnTo>
                    <a:pt x="120" y="74"/>
                  </a:lnTo>
                  <a:lnTo>
                    <a:pt x="84" y="0"/>
                  </a:lnTo>
                  <a:close/>
                </a:path>
              </a:pathLst>
            </a:custGeom>
            <a:solidFill>
              <a:srgbClr val="7A92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2" name="îSļïḓê"/>
            <p:cNvSpPr/>
            <p:nvPr/>
          </p:nvSpPr>
          <p:spPr bwMode="auto">
            <a:xfrm>
              <a:off x="5208588" y="5335588"/>
              <a:ext cx="204788" cy="192088"/>
            </a:xfrm>
            <a:custGeom>
              <a:avLst/>
              <a:gdLst>
                <a:gd name="T0" fmla="*/ 18 w 129"/>
                <a:gd name="T1" fmla="*/ 0 h 121"/>
                <a:gd name="T2" fmla="*/ 46 w 129"/>
                <a:gd name="T3" fmla="*/ 0 h 121"/>
                <a:gd name="T4" fmla="*/ 46 w 129"/>
                <a:gd name="T5" fmla="*/ 46 h 121"/>
                <a:gd name="T6" fmla="*/ 55 w 129"/>
                <a:gd name="T7" fmla="*/ 56 h 121"/>
                <a:gd name="T8" fmla="*/ 129 w 129"/>
                <a:gd name="T9" fmla="*/ 121 h 121"/>
                <a:gd name="T10" fmla="*/ 0 w 129"/>
                <a:gd name="T11" fmla="*/ 74 h 121"/>
                <a:gd name="T12" fmla="*/ 18 w 129"/>
                <a:gd name="T13" fmla="*/ 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9" h="121">
                  <a:moveTo>
                    <a:pt x="18" y="0"/>
                  </a:moveTo>
                  <a:lnTo>
                    <a:pt x="46" y="0"/>
                  </a:lnTo>
                  <a:lnTo>
                    <a:pt x="46" y="46"/>
                  </a:lnTo>
                  <a:lnTo>
                    <a:pt x="55" y="56"/>
                  </a:lnTo>
                  <a:lnTo>
                    <a:pt x="129" y="121"/>
                  </a:lnTo>
                  <a:lnTo>
                    <a:pt x="0" y="74"/>
                  </a:lnTo>
                  <a:lnTo>
                    <a:pt x="18" y="0"/>
                  </a:lnTo>
                  <a:close/>
                </a:path>
              </a:pathLst>
            </a:custGeom>
            <a:solidFill>
              <a:srgbClr val="7A92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3" name="íśḷiḋe"/>
            <p:cNvSpPr/>
            <p:nvPr/>
          </p:nvSpPr>
          <p:spPr bwMode="auto">
            <a:xfrm>
              <a:off x="4899025" y="3613151"/>
              <a:ext cx="455613" cy="1855788"/>
            </a:xfrm>
            <a:custGeom>
              <a:avLst/>
              <a:gdLst>
                <a:gd name="T0" fmla="*/ 10 w 287"/>
                <a:gd name="T1" fmla="*/ 0 h 1169"/>
                <a:gd name="T2" fmla="*/ 0 w 287"/>
                <a:gd name="T3" fmla="*/ 612 h 1169"/>
                <a:gd name="T4" fmla="*/ 167 w 287"/>
                <a:gd name="T5" fmla="*/ 1169 h 1169"/>
                <a:gd name="T6" fmla="*/ 222 w 287"/>
                <a:gd name="T7" fmla="*/ 1150 h 1169"/>
                <a:gd name="T8" fmla="*/ 130 w 287"/>
                <a:gd name="T9" fmla="*/ 649 h 1169"/>
                <a:gd name="T10" fmla="*/ 287 w 287"/>
                <a:gd name="T11" fmla="*/ 130 h 1169"/>
                <a:gd name="T12" fmla="*/ 10 w 287"/>
                <a:gd name="T13" fmla="*/ 0 h 1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7" h="1169">
                  <a:moveTo>
                    <a:pt x="10" y="0"/>
                  </a:moveTo>
                  <a:lnTo>
                    <a:pt x="0" y="612"/>
                  </a:lnTo>
                  <a:lnTo>
                    <a:pt x="167" y="1169"/>
                  </a:lnTo>
                  <a:lnTo>
                    <a:pt x="222" y="1150"/>
                  </a:lnTo>
                  <a:lnTo>
                    <a:pt x="130" y="649"/>
                  </a:lnTo>
                  <a:lnTo>
                    <a:pt x="287" y="130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rgbClr val="1F0B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4" name="í$lïdè"/>
            <p:cNvSpPr/>
            <p:nvPr/>
          </p:nvSpPr>
          <p:spPr bwMode="auto">
            <a:xfrm>
              <a:off x="5192713" y="3613151"/>
              <a:ext cx="469900" cy="1781175"/>
            </a:xfrm>
            <a:custGeom>
              <a:avLst/>
              <a:gdLst>
                <a:gd name="T0" fmla="*/ 65 w 296"/>
                <a:gd name="T1" fmla="*/ 112 h 1122"/>
                <a:gd name="T2" fmla="*/ 65 w 296"/>
                <a:gd name="T3" fmla="*/ 631 h 1122"/>
                <a:gd name="T4" fmla="*/ 0 w 296"/>
                <a:gd name="T5" fmla="*/ 1122 h 1122"/>
                <a:gd name="T6" fmla="*/ 65 w 296"/>
                <a:gd name="T7" fmla="*/ 1122 h 1122"/>
                <a:gd name="T8" fmla="*/ 185 w 296"/>
                <a:gd name="T9" fmla="*/ 622 h 1122"/>
                <a:gd name="T10" fmla="*/ 296 w 296"/>
                <a:gd name="T11" fmla="*/ 0 h 1122"/>
                <a:gd name="T12" fmla="*/ 65 w 296"/>
                <a:gd name="T13" fmla="*/ 112 h 1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6" h="1122">
                  <a:moveTo>
                    <a:pt x="65" y="112"/>
                  </a:moveTo>
                  <a:lnTo>
                    <a:pt x="65" y="631"/>
                  </a:lnTo>
                  <a:lnTo>
                    <a:pt x="0" y="1122"/>
                  </a:lnTo>
                  <a:lnTo>
                    <a:pt x="65" y="1122"/>
                  </a:lnTo>
                  <a:lnTo>
                    <a:pt x="185" y="622"/>
                  </a:lnTo>
                  <a:lnTo>
                    <a:pt x="296" y="0"/>
                  </a:lnTo>
                  <a:lnTo>
                    <a:pt x="65" y="112"/>
                  </a:lnTo>
                  <a:close/>
                </a:path>
              </a:pathLst>
            </a:custGeom>
            <a:solidFill>
              <a:srgbClr val="3512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5" name="ïSlíḋè"/>
            <p:cNvSpPr/>
            <p:nvPr/>
          </p:nvSpPr>
          <p:spPr bwMode="auto">
            <a:xfrm>
              <a:off x="6381750" y="3333751"/>
              <a:ext cx="190500" cy="133350"/>
            </a:xfrm>
            <a:custGeom>
              <a:avLst/>
              <a:gdLst>
                <a:gd name="T0" fmla="*/ 0 w 13"/>
                <a:gd name="T1" fmla="*/ 1 h 9"/>
                <a:gd name="T2" fmla="*/ 10 w 13"/>
                <a:gd name="T3" fmla="*/ 1 h 9"/>
                <a:gd name="T4" fmla="*/ 0 w 13"/>
                <a:gd name="T5" fmla="*/ 4 h 9"/>
                <a:gd name="T6" fmla="*/ 0 w 13"/>
                <a:gd name="T7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9">
                  <a:moveTo>
                    <a:pt x="0" y="1"/>
                  </a:moveTo>
                  <a:cubicBezTo>
                    <a:pt x="0" y="1"/>
                    <a:pt x="9" y="0"/>
                    <a:pt x="10" y="1"/>
                  </a:cubicBezTo>
                  <a:cubicBezTo>
                    <a:pt x="11" y="3"/>
                    <a:pt x="13" y="9"/>
                    <a:pt x="0" y="4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F8AC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6" name="ïSḷîdé"/>
            <p:cNvSpPr/>
            <p:nvPr/>
          </p:nvSpPr>
          <p:spPr bwMode="auto">
            <a:xfrm>
              <a:off x="5545138" y="2509838"/>
              <a:ext cx="850900" cy="898525"/>
            </a:xfrm>
            <a:custGeom>
              <a:avLst/>
              <a:gdLst>
                <a:gd name="T0" fmla="*/ 1 w 58"/>
                <a:gd name="T1" fmla="*/ 18 h 61"/>
                <a:gd name="T2" fmla="*/ 5 w 58"/>
                <a:gd name="T3" fmla="*/ 57 h 61"/>
                <a:gd name="T4" fmla="*/ 58 w 58"/>
                <a:gd name="T5" fmla="*/ 61 h 61"/>
                <a:gd name="T6" fmla="*/ 58 w 58"/>
                <a:gd name="T7" fmla="*/ 57 h 61"/>
                <a:gd name="T8" fmla="*/ 18 w 58"/>
                <a:gd name="T9" fmla="*/ 47 h 61"/>
                <a:gd name="T10" fmla="*/ 12 w 58"/>
                <a:gd name="T11" fmla="*/ 12 h 61"/>
                <a:gd name="T12" fmla="*/ 3 w 58"/>
                <a:gd name="T13" fmla="*/ 2 h 61"/>
                <a:gd name="T14" fmla="*/ 1 w 58"/>
                <a:gd name="T15" fmla="*/ 18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8" h="61">
                  <a:moveTo>
                    <a:pt x="1" y="18"/>
                  </a:moveTo>
                  <a:cubicBezTo>
                    <a:pt x="5" y="57"/>
                    <a:pt x="5" y="57"/>
                    <a:pt x="5" y="57"/>
                  </a:cubicBezTo>
                  <a:cubicBezTo>
                    <a:pt x="58" y="61"/>
                    <a:pt x="58" y="61"/>
                    <a:pt x="58" y="61"/>
                  </a:cubicBezTo>
                  <a:cubicBezTo>
                    <a:pt x="58" y="57"/>
                    <a:pt x="58" y="57"/>
                    <a:pt x="58" y="57"/>
                  </a:cubicBezTo>
                  <a:cubicBezTo>
                    <a:pt x="18" y="47"/>
                    <a:pt x="18" y="47"/>
                    <a:pt x="18" y="47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12"/>
                    <a:pt x="11" y="0"/>
                    <a:pt x="3" y="2"/>
                  </a:cubicBezTo>
                  <a:cubicBezTo>
                    <a:pt x="3" y="2"/>
                    <a:pt x="0" y="10"/>
                    <a:pt x="1" y="18"/>
                  </a:cubicBezTo>
                  <a:close/>
                </a:path>
              </a:pathLst>
            </a:custGeom>
            <a:solidFill>
              <a:srgbClr val="FFC7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7" name="íšḻíḑê"/>
            <p:cNvSpPr/>
            <p:nvPr/>
          </p:nvSpPr>
          <p:spPr bwMode="auto">
            <a:xfrm>
              <a:off x="4856163" y="2465388"/>
              <a:ext cx="909638" cy="1487488"/>
            </a:xfrm>
            <a:custGeom>
              <a:avLst/>
              <a:gdLst>
                <a:gd name="T0" fmla="*/ 22 w 62"/>
                <a:gd name="T1" fmla="*/ 5 h 101"/>
                <a:gd name="T2" fmla="*/ 1 w 62"/>
                <a:gd name="T3" fmla="*/ 22 h 101"/>
                <a:gd name="T4" fmla="*/ 5 w 62"/>
                <a:gd name="T5" fmla="*/ 57 h 101"/>
                <a:gd name="T6" fmla="*/ 4 w 62"/>
                <a:gd name="T7" fmla="*/ 85 h 101"/>
                <a:gd name="T8" fmla="*/ 54 w 62"/>
                <a:gd name="T9" fmla="*/ 83 h 101"/>
                <a:gd name="T10" fmla="*/ 54 w 62"/>
                <a:gd name="T11" fmla="*/ 37 h 101"/>
                <a:gd name="T12" fmla="*/ 53 w 62"/>
                <a:gd name="T13" fmla="*/ 5 h 101"/>
                <a:gd name="T14" fmla="*/ 22 w 62"/>
                <a:gd name="T15" fmla="*/ 5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2" h="101">
                  <a:moveTo>
                    <a:pt x="22" y="5"/>
                  </a:moveTo>
                  <a:cubicBezTo>
                    <a:pt x="15" y="7"/>
                    <a:pt x="2" y="13"/>
                    <a:pt x="1" y="22"/>
                  </a:cubicBezTo>
                  <a:cubicBezTo>
                    <a:pt x="0" y="32"/>
                    <a:pt x="5" y="57"/>
                    <a:pt x="5" y="57"/>
                  </a:cubicBezTo>
                  <a:cubicBezTo>
                    <a:pt x="4" y="85"/>
                    <a:pt x="4" y="85"/>
                    <a:pt x="4" y="85"/>
                  </a:cubicBezTo>
                  <a:cubicBezTo>
                    <a:pt x="4" y="85"/>
                    <a:pt x="29" y="101"/>
                    <a:pt x="54" y="83"/>
                  </a:cubicBezTo>
                  <a:cubicBezTo>
                    <a:pt x="54" y="83"/>
                    <a:pt x="53" y="50"/>
                    <a:pt x="54" y="37"/>
                  </a:cubicBezTo>
                  <a:cubicBezTo>
                    <a:pt x="54" y="30"/>
                    <a:pt x="62" y="8"/>
                    <a:pt x="53" y="5"/>
                  </a:cubicBezTo>
                  <a:cubicBezTo>
                    <a:pt x="38" y="0"/>
                    <a:pt x="28" y="3"/>
                    <a:pt x="22" y="5"/>
                  </a:cubicBezTo>
                  <a:close/>
                </a:path>
              </a:pathLst>
            </a:custGeom>
            <a:solidFill>
              <a:srgbClr val="FF23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8" name="íṧľïḓê"/>
            <p:cNvSpPr/>
            <p:nvPr/>
          </p:nvSpPr>
          <p:spPr bwMode="auto">
            <a:xfrm>
              <a:off x="5222875" y="2376488"/>
              <a:ext cx="204788" cy="280988"/>
            </a:xfrm>
            <a:custGeom>
              <a:avLst/>
              <a:gdLst>
                <a:gd name="T0" fmla="*/ 2 w 14"/>
                <a:gd name="T1" fmla="*/ 1 h 19"/>
                <a:gd name="T2" fmla="*/ 0 w 14"/>
                <a:gd name="T3" fmla="*/ 11 h 19"/>
                <a:gd name="T4" fmla="*/ 12 w 14"/>
                <a:gd name="T5" fmla="*/ 14 h 19"/>
                <a:gd name="T6" fmla="*/ 9 w 14"/>
                <a:gd name="T7" fmla="*/ 0 h 19"/>
                <a:gd name="T8" fmla="*/ 2 w 14"/>
                <a:gd name="T9" fmla="*/ 1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9">
                  <a:moveTo>
                    <a:pt x="2" y="1"/>
                  </a:moveTo>
                  <a:cubicBezTo>
                    <a:pt x="0" y="11"/>
                    <a:pt x="0" y="11"/>
                    <a:pt x="0" y="11"/>
                  </a:cubicBezTo>
                  <a:cubicBezTo>
                    <a:pt x="0" y="11"/>
                    <a:pt x="14" y="19"/>
                    <a:pt x="12" y="14"/>
                  </a:cubicBezTo>
                  <a:cubicBezTo>
                    <a:pt x="10" y="9"/>
                    <a:pt x="9" y="0"/>
                    <a:pt x="9" y="0"/>
                  </a:cubicBezTo>
                  <a:lnTo>
                    <a:pt x="2" y="1"/>
                  </a:lnTo>
                  <a:close/>
                </a:path>
              </a:pathLst>
            </a:custGeom>
            <a:solidFill>
              <a:srgbClr val="FFC1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9" name="ï$1îďê"/>
            <p:cNvSpPr/>
            <p:nvPr/>
          </p:nvSpPr>
          <p:spPr bwMode="auto">
            <a:xfrm>
              <a:off x="5208588" y="2155826"/>
              <a:ext cx="204788" cy="323850"/>
            </a:xfrm>
            <a:custGeom>
              <a:avLst/>
              <a:gdLst>
                <a:gd name="T0" fmla="*/ 1 w 14"/>
                <a:gd name="T1" fmla="*/ 4 h 22"/>
                <a:gd name="T2" fmla="*/ 1 w 14"/>
                <a:gd name="T3" fmla="*/ 13 h 22"/>
                <a:gd name="T4" fmla="*/ 8 w 14"/>
                <a:gd name="T5" fmla="*/ 21 h 22"/>
                <a:gd name="T6" fmla="*/ 13 w 14"/>
                <a:gd name="T7" fmla="*/ 18 h 22"/>
                <a:gd name="T8" fmla="*/ 8 w 14"/>
                <a:gd name="T9" fmla="*/ 2 h 22"/>
                <a:gd name="T10" fmla="*/ 1 w 14"/>
                <a:gd name="T11" fmla="*/ 4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" h="22">
                  <a:moveTo>
                    <a:pt x="1" y="4"/>
                  </a:moveTo>
                  <a:cubicBezTo>
                    <a:pt x="1" y="6"/>
                    <a:pt x="0" y="10"/>
                    <a:pt x="1" y="13"/>
                  </a:cubicBezTo>
                  <a:cubicBezTo>
                    <a:pt x="3" y="15"/>
                    <a:pt x="5" y="20"/>
                    <a:pt x="8" y="21"/>
                  </a:cubicBezTo>
                  <a:cubicBezTo>
                    <a:pt x="12" y="22"/>
                    <a:pt x="13" y="19"/>
                    <a:pt x="13" y="18"/>
                  </a:cubicBezTo>
                  <a:cubicBezTo>
                    <a:pt x="14" y="15"/>
                    <a:pt x="13" y="4"/>
                    <a:pt x="8" y="2"/>
                  </a:cubicBezTo>
                  <a:cubicBezTo>
                    <a:pt x="4" y="0"/>
                    <a:pt x="2" y="2"/>
                    <a:pt x="1" y="4"/>
                  </a:cubicBezTo>
                  <a:close/>
                </a:path>
              </a:pathLst>
            </a:custGeom>
            <a:solidFill>
              <a:srgbClr val="FFC1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0" name="í$lïḍé"/>
            <p:cNvSpPr/>
            <p:nvPr/>
          </p:nvSpPr>
          <p:spPr bwMode="auto">
            <a:xfrm>
              <a:off x="5178425" y="2127251"/>
              <a:ext cx="176213" cy="249238"/>
            </a:xfrm>
            <a:custGeom>
              <a:avLst/>
              <a:gdLst>
                <a:gd name="T0" fmla="*/ 12 w 12"/>
                <a:gd name="T1" fmla="*/ 5 h 17"/>
                <a:gd name="T2" fmla="*/ 7 w 12"/>
                <a:gd name="T3" fmla="*/ 7 h 17"/>
                <a:gd name="T4" fmla="*/ 4 w 12"/>
                <a:gd name="T5" fmla="*/ 11 h 17"/>
                <a:gd name="T6" fmla="*/ 4 w 12"/>
                <a:gd name="T7" fmla="*/ 16 h 17"/>
                <a:gd name="T8" fmla="*/ 2 w 12"/>
                <a:gd name="T9" fmla="*/ 6 h 17"/>
                <a:gd name="T10" fmla="*/ 12 w 12"/>
                <a:gd name="T11" fmla="*/ 5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7">
                  <a:moveTo>
                    <a:pt x="12" y="5"/>
                  </a:moveTo>
                  <a:cubicBezTo>
                    <a:pt x="12" y="5"/>
                    <a:pt x="10" y="8"/>
                    <a:pt x="7" y="7"/>
                  </a:cubicBezTo>
                  <a:cubicBezTo>
                    <a:pt x="3" y="7"/>
                    <a:pt x="4" y="10"/>
                    <a:pt x="4" y="11"/>
                  </a:cubicBezTo>
                  <a:cubicBezTo>
                    <a:pt x="4" y="11"/>
                    <a:pt x="5" y="16"/>
                    <a:pt x="4" y="16"/>
                  </a:cubicBezTo>
                  <a:cubicBezTo>
                    <a:pt x="3" y="17"/>
                    <a:pt x="0" y="11"/>
                    <a:pt x="2" y="6"/>
                  </a:cubicBezTo>
                  <a:cubicBezTo>
                    <a:pt x="3" y="2"/>
                    <a:pt x="10" y="0"/>
                    <a:pt x="12" y="5"/>
                  </a:cubicBezTo>
                  <a:close/>
                </a:path>
              </a:pathLst>
            </a:custGeom>
            <a:solidFill>
              <a:srgbClr val="171B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1" name="î$ḻidé"/>
            <p:cNvSpPr/>
            <p:nvPr/>
          </p:nvSpPr>
          <p:spPr bwMode="auto">
            <a:xfrm>
              <a:off x="5251450" y="2333626"/>
              <a:ext cx="176213" cy="146050"/>
            </a:xfrm>
            <a:custGeom>
              <a:avLst/>
              <a:gdLst>
                <a:gd name="T0" fmla="*/ 0 w 12"/>
                <a:gd name="T1" fmla="*/ 4 h 10"/>
                <a:gd name="T2" fmla="*/ 8 w 12"/>
                <a:gd name="T3" fmla="*/ 6 h 10"/>
                <a:gd name="T4" fmla="*/ 11 w 12"/>
                <a:gd name="T5" fmla="*/ 1 h 10"/>
                <a:gd name="T6" fmla="*/ 7 w 12"/>
                <a:gd name="T7" fmla="*/ 9 h 10"/>
                <a:gd name="T8" fmla="*/ 0 w 12"/>
                <a:gd name="T9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0">
                  <a:moveTo>
                    <a:pt x="0" y="4"/>
                  </a:moveTo>
                  <a:cubicBezTo>
                    <a:pt x="0" y="4"/>
                    <a:pt x="4" y="7"/>
                    <a:pt x="8" y="6"/>
                  </a:cubicBezTo>
                  <a:cubicBezTo>
                    <a:pt x="10" y="6"/>
                    <a:pt x="11" y="2"/>
                    <a:pt x="11" y="1"/>
                  </a:cubicBezTo>
                  <a:cubicBezTo>
                    <a:pt x="10" y="0"/>
                    <a:pt x="12" y="8"/>
                    <a:pt x="7" y="9"/>
                  </a:cubicBezTo>
                  <a:cubicBezTo>
                    <a:pt x="2" y="10"/>
                    <a:pt x="0" y="4"/>
                    <a:pt x="0" y="4"/>
                  </a:cubicBezTo>
                  <a:close/>
                </a:path>
              </a:pathLst>
            </a:custGeom>
            <a:solidFill>
              <a:srgbClr val="171B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2" name="iš1iḓè"/>
            <p:cNvSpPr/>
            <p:nvPr/>
          </p:nvSpPr>
          <p:spPr bwMode="auto">
            <a:xfrm>
              <a:off x="5164138" y="2936876"/>
              <a:ext cx="1819275" cy="1030288"/>
            </a:xfrm>
            <a:custGeom>
              <a:avLst/>
              <a:gdLst>
                <a:gd name="T0" fmla="*/ 1146 w 1146"/>
                <a:gd name="T1" fmla="*/ 139 h 649"/>
                <a:gd name="T2" fmla="*/ 64 w 1146"/>
                <a:gd name="T3" fmla="*/ 649 h 649"/>
                <a:gd name="T4" fmla="*/ 0 w 1146"/>
                <a:gd name="T5" fmla="*/ 500 h 649"/>
                <a:gd name="T6" fmla="*/ 1081 w 1146"/>
                <a:gd name="T7" fmla="*/ 0 h 649"/>
                <a:gd name="T8" fmla="*/ 1146 w 1146"/>
                <a:gd name="T9" fmla="*/ 139 h 6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46" h="649">
                  <a:moveTo>
                    <a:pt x="1146" y="139"/>
                  </a:moveTo>
                  <a:lnTo>
                    <a:pt x="64" y="649"/>
                  </a:lnTo>
                  <a:lnTo>
                    <a:pt x="0" y="500"/>
                  </a:lnTo>
                  <a:lnTo>
                    <a:pt x="1081" y="0"/>
                  </a:lnTo>
                  <a:lnTo>
                    <a:pt x="1146" y="139"/>
                  </a:lnTo>
                  <a:close/>
                </a:path>
              </a:pathLst>
            </a:custGeom>
            <a:solidFill>
              <a:srgbClr val="FFBD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3" name="ísḷíḑè"/>
            <p:cNvSpPr/>
            <p:nvPr/>
          </p:nvSpPr>
          <p:spPr bwMode="auto">
            <a:xfrm>
              <a:off x="5559425" y="3613151"/>
              <a:ext cx="176213" cy="147638"/>
            </a:xfrm>
            <a:custGeom>
              <a:avLst/>
              <a:gdLst>
                <a:gd name="T0" fmla="*/ 1 w 12"/>
                <a:gd name="T1" fmla="*/ 0 h 10"/>
                <a:gd name="T2" fmla="*/ 11 w 12"/>
                <a:gd name="T3" fmla="*/ 2 h 10"/>
                <a:gd name="T4" fmla="*/ 0 w 12"/>
                <a:gd name="T5" fmla="*/ 3 h 10"/>
                <a:gd name="T6" fmla="*/ 1 w 12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0">
                  <a:moveTo>
                    <a:pt x="1" y="0"/>
                  </a:moveTo>
                  <a:cubicBezTo>
                    <a:pt x="1" y="0"/>
                    <a:pt x="10" y="0"/>
                    <a:pt x="11" y="2"/>
                  </a:cubicBezTo>
                  <a:cubicBezTo>
                    <a:pt x="12" y="3"/>
                    <a:pt x="12" y="10"/>
                    <a:pt x="0" y="3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rgbClr val="FFC1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4" name="išlíḓê"/>
            <p:cNvSpPr/>
            <p:nvPr/>
          </p:nvSpPr>
          <p:spPr bwMode="auto">
            <a:xfrm>
              <a:off x="4811713" y="2627313"/>
              <a:ext cx="777875" cy="1044575"/>
            </a:xfrm>
            <a:custGeom>
              <a:avLst/>
              <a:gdLst>
                <a:gd name="T0" fmla="*/ 2 w 53"/>
                <a:gd name="T1" fmla="*/ 19 h 71"/>
                <a:gd name="T2" fmla="*/ 0 w 53"/>
                <a:gd name="T3" fmla="*/ 58 h 71"/>
                <a:gd name="T4" fmla="*/ 52 w 53"/>
                <a:gd name="T5" fmla="*/ 71 h 71"/>
                <a:gd name="T6" fmla="*/ 53 w 53"/>
                <a:gd name="T7" fmla="*/ 67 h 71"/>
                <a:gd name="T8" fmla="*/ 15 w 53"/>
                <a:gd name="T9" fmla="*/ 51 h 71"/>
                <a:gd name="T10" fmla="*/ 15 w 53"/>
                <a:gd name="T11" fmla="*/ 15 h 71"/>
                <a:gd name="T12" fmla="*/ 8 w 53"/>
                <a:gd name="T13" fmla="*/ 4 h 71"/>
                <a:gd name="T14" fmla="*/ 2 w 53"/>
                <a:gd name="T15" fmla="*/ 19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3" h="71">
                  <a:moveTo>
                    <a:pt x="2" y="19"/>
                  </a:moveTo>
                  <a:cubicBezTo>
                    <a:pt x="0" y="58"/>
                    <a:pt x="0" y="58"/>
                    <a:pt x="0" y="58"/>
                  </a:cubicBezTo>
                  <a:cubicBezTo>
                    <a:pt x="52" y="71"/>
                    <a:pt x="52" y="71"/>
                    <a:pt x="52" y="71"/>
                  </a:cubicBezTo>
                  <a:cubicBezTo>
                    <a:pt x="53" y="67"/>
                    <a:pt x="53" y="67"/>
                    <a:pt x="53" y="67"/>
                  </a:cubicBezTo>
                  <a:cubicBezTo>
                    <a:pt x="15" y="51"/>
                    <a:pt x="15" y="51"/>
                    <a:pt x="15" y="51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0"/>
                    <a:pt x="8" y="4"/>
                  </a:cubicBezTo>
                  <a:cubicBezTo>
                    <a:pt x="4" y="5"/>
                    <a:pt x="3" y="11"/>
                    <a:pt x="2" y="19"/>
                  </a:cubicBezTo>
                  <a:close/>
                </a:path>
              </a:pathLst>
            </a:custGeom>
            <a:solidFill>
              <a:srgbClr val="FFC7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5" name="ís1ïdê"/>
            <p:cNvSpPr/>
            <p:nvPr/>
          </p:nvSpPr>
          <p:spPr bwMode="auto">
            <a:xfrm>
              <a:off x="6880225" y="2936876"/>
              <a:ext cx="307975" cy="220663"/>
            </a:xfrm>
            <a:custGeom>
              <a:avLst/>
              <a:gdLst>
                <a:gd name="T0" fmla="*/ 0 w 194"/>
                <a:gd name="T1" fmla="*/ 0 h 139"/>
                <a:gd name="T2" fmla="*/ 194 w 194"/>
                <a:gd name="T3" fmla="*/ 0 h 139"/>
                <a:gd name="T4" fmla="*/ 65 w 194"/>
                <a:gd name="T5" fmla="*/ 139 h 139"/>
                <a:gd name="T6" fmla="*/ 0 w 194"/>
                <a:gd name="T7" fmla="*/ 0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4" h="139">
                  <a:moveTo>
                    <a:pt x="0" y="0"/>
                  </a:moveTo>
                  <a:lnTo>
                    <a:pt x="194" y="0"/>
                  </a:lnTo>
                  <a:lnTo>
                    <a:pt x="65" y="13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F75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</p:grpSp>
    </p:spTree>
    <p:custDataLst>
      <p:tags r:id="rId2"/>
    </p:custData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菱形 4"/>
          <p:cNvSpPr/>
          <p:nvPr/>
        </p:nvSpPr>
        <p:spPr>
          <a:xfrm>
            <a:off x="3238959" y="440675"/>
            <a:ext cx="1597445" cy="1597445"/>
          </a:xfrm>
          <a:prstGeom prst="diamond">
            <a:avLst/>
          </a:prstGeom>
          <a:gradFill>
            <a:gsLst>
              <a:gs pos="0">
                <a:srgbClr val="0870D3"/>
              </a:gs>
              <a:gs pos="100000">
                <a:srgbClr val="4EBCF7"/>
              </a:gs>
            </a:gsLst>
            <a:lin ang="9000000" scaled="0"/>
          </a:gradFill>
          <a:ln>
            <a:noFill/>
          </a:ln>
          <a:effectLst>
            <a:outerShdw blurRad="177800" dist="762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3200" dirty="0">
                <a:effectLst/>
                <a:latin typeface="思源黑体 CN Bold" panose="020B0800000000000000" pitchFamily="34" charset="-122"/>
                <a:ea typeface="思源黑体 CN Bold" panose="020B0800000000000000" pitchFamily="34" charset="-122"/>
              </a:rPr>
              <a:t>01</a:t>
            </a:r>
          </a:p>
        </p:txBody>
      </p:sp>
      <p:sp>
        <p:nvSpPr>
          <p:cNvPr id="26" name="菱形 25"/>
          <p:cNvSpPr/>
          <p:nvPr/>
        </p:nvSpPr>
        <p:spPr>
          <a:xfrm>
            <a:off x="4447374" y="3567630"/>
            <a:ext cx="1597445" cy="1597445"/>
          </a:xfrm>
          <a:prstGeom prst="diamond">
            <a:avLst/>
          </a:prstGeom>
          <a:gradFill>
            <a:gsLst>
              <a:gs pos="0">
                <a:srgbClr val="0870D3"/>
              </a:gs>
              <a:gs pos="100000">
                <a:srgbClr val="4EBCF7"/>
              </a:gs>
            </a:gsLst>
            <a:lin ang="9000000" scaled="0"/>
          </a:gradFill>
          <a:ln>
            <a:noFill/>
          </a:ln>
          <a:effectLst>
            <a:outerShdw blurRad="177800" dist="762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3200" dirty="0">
                <a:effectLst/>
                <a:latin typeface="思源黑体 CN Bold" panose="020B0800000000000000" pitchFamily="34" charset="-122"/>
                <a:ea typeface="思源黑体 CN Bold" panose="020B0800000000000000" pitchFamily="34" charset="-122"/>
              </a:rPr>
              <a:t>03</a:t>
            </a:r>
          </a:p>
        </p:txBody>
      </p:sp>
      <p:sp>
        <p:nvSpPr>
          <p:cNvPr id="27" name="菱形 26"/>
          <p:cNvSpPr/>
          <p:nvPr/>
        </p:nvSpPr>
        <p:spPr>
          <a:xfrm>
            <a:off x="4447374" y="1680072"/>
            <a:ext cx="1597445" cy="1597445"/>
          </a:xfrm>
          <a:prstGeom prst="diamond">
            <a:avLst/>
          </a:prstGeom>
          <a:gradFill>
            <a:gsLst>
              <a:gs pos="0">
                <a:srgbClr val="4EBCF7"/>
              </a:gs>
              <a:gs pos="100000">
                <a:srgbClr val="0870D3"/>
              </a:gs>
            </a:gsLst>
            <a:lin ang="9000000" scaled="0"/>
          </a:gradFill>
          <a:ln>
            <a:noFill/>
          </a:ln>
          <a:effectLst>
            <a:outerShdw blurRad="177800" dist="762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3200" dirty="0">
                <a:effectLst/>
                <a:latin typeface="思源黑体 CN Bold" panose="020B0800000000000000" pitchFamily="34" charset="-122"/>
                <a:ea typeface="思源黑体 CN Bold" panose="020B0800000000000000" pitchFamily="34" charset="-122"/>
              </a:rPr>
              <a:t>02</a:t>
            </a:r>
          </a:p>
        </p:txBody>
      </p:sp>
      <p:sp>
        <p:nvSpPr>
          <p:cNvPr id="28" name="菱形 27"/>
          <p:cNvSpPr/>
          <p:nvPr/>
        </p:nvSpPr>
        <p:spPr>
          <a:xfrm>
            <a:off x="3238959" y="4773976"/>
            <a:ext cx="1597445" cy="1597445"/>
          </a:xfrm>
          <a:prstGeom prst="diamond">
            <a:avLst/>
          </a:prstGeom>
          <a:gradFill>
            <a:gsLst>
              <a:gs pos="0">
                <a:srgbClr val="4EBCF7"/>
              </a:gs>
              <a:gs pos="100000">
                <a:srgbClr val="0870D3"/>
              </a:gs>
            </a:gsLst>
            <a:lin ang="9000000" scaled="0"/>
          </a:gradFill>
          <a:ln>
            <a:noFill/>
          </a:ln>
          <a:effectLst>
            <a:outerShdw blurRad="177800" dist="762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3200" dirty="0">
                <a:effectLst/>
                <a:latin typeface="思源黑体 CN Bold" panose="020B0800000000000000" pitchFamily="34" charset="-122"/>
                <a:ea typeface="思源黑体 CN Bold" panose="020B0800000000000000" pitchFamily="34" charset="-122"/>
              </a:rPr>
              <a:t>04</a:t>
            </a:r>
          </a:p>
        </p:txBody>
      </p:sp>
      <p:sp>
        <p:nvSpPr>
          <p:cNvPr id="29" name="文本框 28"/>
          <p:cNvSpPr txBox="1"/>
          <p:nvPr/>
        </p:nvSpPr>
        <p:spPr>
          <a:xfrm>
            <a:off x="957705" y="2978339"/>
            <a:ext cx="237879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3600" dirty="0">
                <a:solidFill>
                  <a:srgbClr val="0870D3"/>
                </a:solidFill>
                <a:effectLst/>
                <a:latin typeface="思源黑体 CN Bold" panose="020B0800000000000000" pitchFamily="34" charset="-122"/>
                <a:ea typeface="思源黑体 CN Bold" panose="020B0800000000000000" pitchFamily="34" charset="-122"/>
              </a:rPr>
              <a:t>CONTENT</a:t>
            </a:r>
          </a:p>
        </p:txBody>
      </p:sp>
      <p:sp>
        <p:nvSpPr>
          <p:cNvPr id="30" name="文本框 29"/>
          <p:cNvSpPr txBox="1"/>
          <p:nvPr/>
        </p:nvSpPr>
        <p:spPr>
          <a:xfrm>
            <a:off x="1029304" y="3556757"/>
            <a:ext cx="25549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en-US" altLang="zh-CN" sz="1200" dirty="0">
                <a:solidFill>
                  <a:srgbClr val="0870D3"/>
                </a:solidFill>
                <a:effectLst/>
                <a:latin typeface="思源黑体 CN Bold" panose="020B0800000000000000" pitchFamily="34" charset="-122"/>
                <a:ea typeface="思源黑体 CN Bold" panose="020B0800000000000000" pitchFamily="34" charset="-122"/>
              </a:rPr>
              <a:t>WELCOME TO OUR CREATIVE</a:t>
            </a:r>
          </a:p>
        </p:txBody>
      </p:sp>
      <p:grpSp>
        <p:nvGrpSpPr>
          <p:cNvPr id="33" name="组合 32"/>
          <p:cNvGrpSpPr/>
          <p:nvPr/>
        </p:nvGrpSpPr>
        <p:grpSpPr>
          <a:xfrm>
            <a:off x="5347764" y="904013"/>
            <a:ext cx="2512102" cy="643745"/>
            <a:chOff x="5401269" y="392092"/>
            <a:chExt cx="2512102" cy="643745"/>
          </a:xfrm>
        </p:grpSpPr>
        <p:sp>
          <p:nvSpPr>
            <p:cNvPr id="31" name="TextBox 7"/>
            <p:cNvSpPr txBox="1"/>
            <p:nvPr/>
          </p:nvSpPr>
          <p:spPr bwMode="auto">
            <a:xfrm>
              <a:off x="5401269" y="392092"/>
              <a:ext cx="184731" cy="400110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2000" kern="0" dirty="0">
                <a:solidFill>
                  <a:srgbClr val="0870D3"/>
                </a:solidFill>
                <a:effectLst/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endParaRPr>
            </a:p>
          </p:txBody>
        </p:sp>
        <p:sp>
          <p:nvSpPr>
            <p:cNvPr id="32" name="TextBox 8"/>
            <p:cNvSpPr txBox="1"/>
            <p:nvPr/>
          </p:nvSpPr>
          <p:spPr bwMode="auto">
            <a:xfrm>
              <a:off x="5413969" y="758838"/>
              <a:ext cx="2499402" cy="276999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1200" kern="0" dirty="0">
                  <a:solidFill>
                    <a:srgbClr val="0870D3"/>
                  </a:solidFill>
                  <a:effectLst/>
                  <a:latin typeface="思源黑体 CN Bold" panose="020B0800000000000000" pitchFamily="34" charset="-122"/>
                  <a:ea typeface="思源黑体 CN Bold" panose="020B0800000000000000" pitchFamily="34" charset="-122"/>
                  <a:cs typeface="+mn-ea"/>
                  <a:sym typeface="+mn-lt"/>
                </a:rPr>
                <a:t>Enter your text Enter your text</a:t>
              </a:r>
            </a:p>
          </p:txBody>
        </p:sp>
      </p:grpSp>
      <p:grpSp>
        <p:nvGrpSpPr>
          <p:cNvPr id="34" name="组合 33"/>
          <p:cNvGrpSpPr/>
          <p:nvPr/>
        </p:nvGrpSpPr>
        <p:grpSpPr>
          <a:xfrm>
            <a:off x="6323059" y="2038120"/>
            <a:ext cx="2565126" cy="643745"/>
            <a:chOff x="5401269" y="392092"/>
            <a:chExt cx="2565126" cy="643745"/>
          </a:xfrm>
        </p:grpSpPr>
        <p:sp>
          <p:nvSpPr>
            <p:cNvPr id="35" name="TextBox 7"/>
            <p:cNvSpPr txBox="1"/>
            <p:nvPr/>
          </p:nvSpPr>
          <p:spPr bwMode="auto">
            <a:xfrm>
              <a:off x="5401269" y="392092"/>
              <a:ext cx="2565126" cy="400110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2000" kern="0" dirty="0">
                  <a:solidFill>
                    <a:srgbClr val="0870D3"/>
                  </a:solidFill>
                  <a:effectLst/>
                  <a:latin typeface="思源黑体 CN Bold" panose="020B0800000000000000" pitchFamily="34" charset="-122"/>
                  <a:ea typeface="思源黑体 CN Bold" panose="020B0800000000000000" pitchFamily="34" charset="-122"/>
                  <a:cs typeface="+mn-ea"/>
                  <a:sym typeface="+mn-lt"/>
                </a:rPr>
                <a:t>ENTER YOUR TITLE</a:t>
              </a:r>
            </a:p>
          </p:txBody>
        </p:sp>
        <p:sp>
          <p:nvSpPr>
            <p:cNvPr id="36" name="TextBox 8"/>
            <p:cNvSpPr txBox="1"/>
            <p:nvPr/>
          </p:nvSpPr>
          <p:spPr bwMode="auto">
            <a:xfrm>
              <a:off x="5413969" y="758838"/>
              <a:ext cx="2499402" cy="276999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1200" kern="0" dirty="0">
                  <a:solidFill>
                    <a:srgbClr val="0870D3"/>
                  </a:solidFill>
                  <a:effectLst/>
                  <a:latin typeface="思源黑体 CN Bold" panose="020B0800000000000000" pitchFamily="34" charset="-122"/>
                  <a:ea typeface="思源黑体 CN Bold" panose="020B0800000000000000" pitchFamily="34" charset="-122"/>
                  <a:cs typeface="+mn-ea"/>
                  <a:sym typeface="+mn-lt"/>
                </a:rPr>
                <a:t>Enter your text Enter your text</a:t>
              </a:r>
            </a:p>
          </p:txBody>
        </p:sp>
      </p:grpSp>
      <p:grpSp>
        <p:nvGrpSpPr>
          <p:cNvPr id="37" name="组合 36"/>
          <p:cNvGrpSpPr/>
          <p:nvPr/>
        </p:nvGrpSpPr>
        <p:grpSpPr>
          <a:xfrm>
            <a:off x="6323059" y="3952731"/>
            <a:ext cx="2565126" cy="643745"/>
            <a:chOff x="5401269" y="392092"/>
            <a:chExt cx="2565126" cy="643745"/>
          </a:xfrm>
        </p:grpSpPr>
        <p:sp>
          <p:nvSpPr>
            <p:cNvPr id="38" name="TextBox 7"/>
            <p:cNvSpPr txBox="1"/>
            <p:nvPr/>
          </p:nvSpPr>
          <p:spPr bwMode="auto">
            <a:xfrm>
              <a:off x="5401269" y="392092"/>
              <a:ext cx="2565126" cy="400110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2000" kern="0" dirty="0">
                  <a:solidFill>
                    <a:srgbClr val="0870D3"/>
                  </a:solidFill>
                  <a:effectLst/>
                  <a:latin typeface="思源黑体 CN Bold" panose="020B0800000000000000" pitchFamily="34" charset="-122"/>
                  <a:ea typeface="思源黑体 CN Bold" panose="020B0800000000000000" pitchFamily="34" charset="-122"/>
                  <a:cs typeface="+mn-ea"/>
                  <a:sym typeface="+mn-lt"/>
                </a:rPr>
                <a:t>ENTER YOUR TITLE</a:t>
              </a:r>
            </a:p>
          </p:txBody>
        </p:sp>
        <p:sp>
          <p:nvSpPr>
            <p:cNvPr id="39" name="TextBox 8"/>
            <p:cNvSpPr txBox="1"/>
            <p:nvPr/>
          </p:nvSpPr>
          <p:spPr bwMode="auto">
            <a:xfrm>
              <a:off x="5413969" y="758838"/>
              <a:ext cx="2499402" cy="276999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1200" kern="0" dirty="0">
                  <a:solidFill>
                    <a:srgbClr val="0870D3"/>
                  </a:solidFill>
                  <a:effectLst/>
                  <a:latin typeface="思源黑体 CN Bold" panose="020B0800000000000000" pitchFamily="34" charset="-122"/>
                  <a:ea typeface="思源黑体 CN Bold" panose="020B0800000000000000" pitchFamily="34" charset="-122"/>
                  <a:cs typeface="+mn-ea"/>
                  <a:sym typeface="+mn-lt"/>
                </a:rPr>
                <a:t>Enter your text Enter your text</a:t>
              </a:r>
            </a:p>
          </p:txBody>
        </p:sp>
      </p:grpSp>
      <p:grpSp>
        <p:nvGrpSpPr>
          <p:cNvPr id="40" name="组合 39"/>
          <p:cNvGrpSpPr/>
          <p:nvPr/>
        </p:nvGrpSpPr>
        <p:grpSpPr>
          <a:xfrm>
            <a:off x="5347764" y="5329062"/>
            <a:ext cx="2565126" cy="643745"/>
            <a:chOff x="5401269" y="392092"/>
            <a:chExt cx="2565126" cy="643745"/>
          </a:xfrm>
        </p:grpSpPr>
        <p:sp>
          <p:nvSpPr>
            <p:cNvPr id="41" name="TextBox 7"/>
            <p:cNvSpPr txBox="1"/>
            <p:nvPr/>
          </p:nvSpPr>
          <p:spPr bwMode="auto">
            <a:xfrm>
              <a:off x="5401269" y="392092"/>
              <a:ext cx="2565126" cy="400110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2000" kern="0" dirty="0">
                  <a:solidFill>
                    <a:srgbClr val="0870D3"/>
                  </a:solidFill>
                  <a:effectLst/>
                  <a:latin typeface="思源黑体 CN Bold" panose="020B0800000000000000" pitchFamily="34" charset="-122"/>
                  <a:ea typeface="思源黑体 CN Bold" panose="020B0800000000000000" pitchFamily="34" charset="-122"/>
                  <a:cs typeface="+mn-ea"/>
                  <a:sym typeface="+mn-lt"/>
                </a:rPr>
                <a:t>ENTER YOUR TITLE</a:t>
              </a:r>
            </a:p>
          </p:txBody>
        </p:sp>
        <p:sp>
          <p:nvSpPr>
            <p:cNvPr id="42" name="TextBox 8"/>
            <p:cNvSpPr txBox="1"/>
            <p:nvPr/>
          </p:nvSpPr>
          <p:spPr bwMode="auto">
            <a:xfrm>
              <a:off x="5413969" y="758838"/>
              <a:ext cx="2499402" cy="276999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1200" kern="0" dirty="0">
                  <a:solidFill>
                    <a:srgbClr val="0870D3"/>
                  </a:solidFill>
                  <a:effectLst/>
                  <a:latin typeface="思源黑体 CN Bold" panose="020B0800000000000000" pitchFamily="34" charset="-122"/>
                  <a:ea typeface="思源黑体 CN Bold" panose="020B0800000000000000" pitchFamily="34" charset="-122"/>
                  <a:cs typeface="+mn-ea"/>
                  <a:sym typeface="+mn-lt"/>
                </a:rPr>
                <a:t>Enter your text Enter your text</a:t>
              </a:r>
            </a:p>
          </p:txBody>
        </p:sp>
      </p:grpSp>
      <p:pic>
        <p:nvPicPr>
          <p:cNvPr id="20" name="图片 19"/>
          <p:cNvPicPr>
            <a:picLocks noChangeAspect="1"/>
          </p:cNvPicPr>
          <p:nvPr/>
        </p:nvPicPr>
        <p:blipFill rotWithShape="1"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862" r="66319" b="42695"/>
          <a:stretch>
            <a:fillRect/>
          </a:stretch>
        </p:blipFill>
        <p:spPr>
          <a:xfrm rot="10800000">
            <a:off x="9345766" y="2928000"/>
            <a:ext cx="2846234" cy="3930000"/>
          </a:xfrm>
          <a:prstGeom prst="rect">
            <a:avLst/>
          </a:prstGeom>
        </p:spPr>
      </p:pic>
      <p:pic>
        <p:nvPicPr>
          <p:cNvPr id="21" name="图片 20"/>
          <p:cNvPicPr>
            <a:picLocks noChangeAspect="1"/>
          </p:cNvPicPr>
          <p:nvPr/>
        </p:nvPicPr>
        <p:blipFill rotWithShape="1"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424" t="-1" r="66319" b="37016"/>
          <a:stretch>
            <a:fillRect/>
          </a:stretch>
        </p:blipFill>
        <p:spPr>
          <a:xfrm>
            <a:off x="0" y="0"/>
            <a:ext cx="2909133" cy="4319477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3000">
        <p:fade/>
      </p:transition>
    </mc:Choice>
    <mc:Fallback xmlns="">
      <p:transition spd="med" advClick="0" advTm="3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/>
      <p:bldP spid="30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/>
          <p:cNvPicPr>
            <a:picLocks noChangeAspect="1"/>
          </p:cNvPicPr>
          <p:nvPr/>
        </p:nvPicPr>
        <p:blipFill rotWithShape="1"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16" r="11588"/>
          <a:stretch>
            <a:fillRect/>
          </a:stretch>
        </p:blipFill>
        <p:spPr>
          <a:xfrm rot="10800000">
            <a:off x="0" y="-22731"/>
            <a:ext cx="12192000" cy="6858000"/>
          </a:xfrm>
          <a:prstGeom prst="rect">
            <a:avLst/>
          </a:prstGeom>
        </p:spPr>
      </p:pic>
      <p:grpSp>
        <p:nvGrpSpPr>
          <p:cNvPr id="4" name="组合 3"/>
          <p:cNvGrpSpPr/>
          <p:nvPr/>
        </p:nvGrpSpPr>
        <p:grpSpPr>
          <a:xfrm>
            <a:off x="3089200" y="2403618"/>
            <a:ext cx="4988000" cy="2050764"/>
            <a:chOff x="2723241" y="2832201"/>
            <a:chExt cx="3991407" cy="2050764"/>
          </a:xfrm>
        </p:grpSpPr>
        <p:sp>
          <p:nvSpPr>
            <p:cNvPr id="6" name="文本框 5"/>
            <p:cNvSpPr txBox="1"/>
            <p:nvPr/>
          </p:nvSpPr>
          <p:spPr>
            <a:xfrm>
              <a:off x="2723241" y="2832201"/>
              <a:ext cx="1953848" cy="100110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kumimoji="1" lang="zh-CN" altLang="en-US" sz="4400" dirty="0">
                  <a:solidFill>
                    <a:srgbClr val="0870D3"/>
                  </a:solidFill>
                  <a:effectLst/>
                  <a:latin typeface="思源黑体 CN Bold" panose="020B0800000000000000" pitchFamily="34" charset="-122"/>
                  <a:ea typeface="思源黑体 CN Bold" panose="020B0800000000000000" pitchFamily="34" charset="-122"/>
                  <a:cs typeface="+mn-ea"/>
                  <a:sym typeface="+mn-lt"/>
                </a:rPr>
                <a:t>工作概述</a:t>
              </a:r>
            </a:p>
          </p:txBody>
        </p:sp>
        <p:sp>
          <p:nvSpPr>
            <p:cNvPr id="7" name="Content Placeholder 2"/>
            <p:cNvSpPr txBox="1"/>
            <p:nvPr/>
          </p:nvSpPr>
          <p:spPr>
            <a:xfrm>
              <a:off x="2723241" y="3833310"/>
              <a:ext cx="3991407" cy="1049655"/>
            </a:xfrm>
            <a:prstGeom prst="rect">
              <a:avLst/>
            </a:prstGeom>
          </p:spPr>
          <p:txBody>
            <a:bodyPr vert="horz" lIns="121920" tIns="60960" rIns="121920" bIns="60960" rtlCol="0">
              <a:noAutofit/>
            </a:bodyPr>
            <a:lstStyle>
              <a:lvl1pPr marL="342900" indent="-3429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20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05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»"/>
                <a:defRPr sz="105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50000"/>
                </a:lnSpc>
                <a:buNone/>
              </a:pPr>
              <a:r>
                <a:rPr lang="en-US" altLang="zh-CN" sz="1800" dirty="0">
                  <a:solidFill>
                    <a:srgbClr val="0870D3"/>
                  </a:solidFill>
                  <a:effectLst/>
                  <a:latin typeface="思源黑体 CN Bold" panose="020B0800000000000000" pitchFamily="34" charset="-122"/>
                  <a:ea typeface="思源黑体 CN Bold" panose="020B0800000000000000" pitchFamily="34" charset="-122"/>
                  <a:cs typeface="+mn-ea"/>
                  <a:sym typeface="+mn-lt"/>
                </a:rPr>
                <a:t>Efficiently pontificate B2B imperatives for principle-centered schemas. </a:t>
              </a:r>
            </a:p>
          </p:txBody>
        </p:sp>
      </p:grpSp>
      <p:sp>
        <p:nvSpPr>
          <p:cNvPr id="10" name="菱形 9"/>
          <p:cNvSpPr/>
          <p:nvPr/>
        </p:nvSpPr>
        <p:spPr>
          <a:xfrm>
            <a:off x="1143459" y="2351035"/>
            <a:ext cx="1597445" cy="1597445"/>
          </a:xfrm>
          <a:prstGeom prst="diamond">
            <a:avLst/>
          </a:prstGeom>
          <a:gradFill>
            <a:gsLst>
              <a:gs pos="0">
                <a:srgbClr val="0870D3"/>
              </a:gs>
              <a:gs pos="100000">
                <a:srgbClr val="4EBCF7"/>
              </a:gs>
            </a:gsLst>
            <a:lin ang="9000000" scaled="0"/>
          </a:gradFill>
          <a:ln>
            <a:noFill/>
          </a:ln>
          <a:effectLst>
            <a:outerShdw blurRad="177800" dist="762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3200" dirty="0">
                <a:effectLst/>
                <a:latin typeface="思源黑体 CN Bold" panose="020B0800000000000000" pitchFamily="34" charset="-122"/>
                <a:ea typeface="思源黑体 CN Bold" panose="020B0800000000000000" pitchFamily="34" charset="-122"/>
              </a:rPr>
              <a:t>01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3000">
        <p:fade/>
      </p:transition>
    </mc:Choice>
    <mc:Fallback xmlns="">
      <p:transition spd="med" advClick="0" advTm="3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>
              <a:latin typeface="思源黑体 CN Normal" panose="020B0400000000000000" pitchFamily="34" charset="-122"/>
              <a:ea typeface="思源黑体 CN Normal" panose="020B0400000000000000" pitchFamily="34" charset="-122"/>
            </a:endParaRPr>
          </a:p>
        </p:txBody>
      </p:sp>
      <p:sp>
        <p:nvSpPr>
          <p:cNvPr id="4" name="íṡliḑe"/>
          <p:cNvSpPr/>
          <p:nvPr/>
        </p:nvSpPr>
        <p:spPr bwMode="auto">
          <a:xfrm flipV="1">
            <a:off x="0" y="0"/>
            <a:ext cx="12192000" cy="2885236"/>
          </a:xfrm>
          <a:custGeom>
            <a:avLst/>
            <a:gdLst>
              <a:gd name="T0" fmla="*/ 0 w 2926"/>
              <a:gd name="T1" fmla="*/ 1652 h 1652"/>
              <a:gd name="T2" fmla="*/ 2926 w 2926"/>
              <a:gd name="T3" fmla="*/ 1652 h 1652"/>
              <a:gd name="T4" fmla="*/ 2926 w 2926"/>
              <a:gd name="T5" fmla="*/ 1176 h 1652"/>
              <a:gd name="T6" fmla="*/ 2882 w 2926"/>
              <a:gd name="T7" fmla="*/ 1157 h 1652"/>
              <a:gd name="T8" fmla="*/ 2513 w 2926"/>
              <a:gd name="T9" fmla="*/ 901 h 1652"/>
              <a:gd name="T10" fmla="*/ 2268 w 2926"/>
              <a:gd name="T11" fmla="*/ 768 h 1652"/>
              <a:gd name="T12" fmla="*/ 1850 w 2926"/>
              <a:gd name="T13" fmla="*/ 878 h 1652"/>
              <a:gd name="T14" fmla="*/ 1489 w 2926"/>
              <a:gd name="T15" fmla="*/ 1138 h 1652"/>
              <a:gd name="T16" fmla="*/ 1064 w 2926"/>
              <a:gd name="T17" fmla="*/ 1187 h 1652"/>
              <a:gd name="T18" fmla="*/ 831 w 2926"/>
              <a:gd name="T19" fmla="*/ 872 h 1652"/>
              <a:gd name="T20" fmla="*/ 759 w 2926"/>
              <a:gd name="T21" fmla="*/ 474 h 1652"/>
              <a:gd name="T22" fmla="*/ 580 w 2926"/>
              <a:gd name="T23" fmla="*/ 94 h 1652"/>
              <a:gd name="T24" fmla="*/ 482 w 2926"/>
              <a:gd name="T25" fmla="*/ 0 h 1652"/>
              <a:gd name="T26" fmla="*/ 0 w 2926"/>
              <a:gd name="T27" fmla="*/ 0 h 1652"/>
              <a:gd name="T28" fmla="*/ 0 w 2926"/>
              <a:gd name="T29" fmla="*/ 1652 h 1652"/>
              <a:gd name="connsiteX0" fmla="*/ 11 w 10011"/>
              <a:gd name="connsiteY0" fmla="*/ 10000 h 10000"/>
              <a:gd name="connsiteX1" fmla="*/ 10011 w 10011"/>
              <a:gd name="connsiteY1" fmla="*/ 10000 h 10000"/>
              <a:gd name="connsiteX2" fmla="*/ 10011 w 10011"/>
              <a:gd name="connsiteY2" fmla="*/ 7119 h 10000"/>
              <a:gd name="connsiteX3" fmla="*/ 9861 w 10011"/>
              <a:gd name="connsiteY3" fmla="*/ 7004 h 10000"/>
              <a:gd name="connsiteX4" fmla="*/ 8600 w 10011"/>
              <a:gd name="connsiteY4" fmla="*/ 5454 h 10000"/>
              <a:gd name="connsiteX5" fmla="*/ 7762 w 10011"/>
              <a:gd name="connsiteY5" fmla="*/ 4649 h 10000"/>
              <a:gd name="connsiteX6" fmla="*/ 6334 w 10011"/>
              <a:gd name="connsiteY6" fmla="*/ 5315 h 10000"/>
              <a:gd name="connsiteX7" fmla="*/ 5100 w 10011"/>
              <a:gd name="connsiteY7" fmla="*/ 6889 h 10000"/>
              <a:gd name="connsiteX8" fmla="*/ 3647 w 10011"/>
              <a:gd name="connsiteY8" fmla="*/ 7185 h 10000"/>
              <a:gd name="connsiteX9" fmla="*/ 2851 w 10011"/>
              <a:gd name="connsiteY9" fmla="*/ 5278 h 10000"/>
              <a:gd name="connsiteX10" fmla="*/ 2605 w 10011"/>
              <a:gd name="connsiteY10" fmla="*/ 2869 h 10000"/>
              <a:gd name="connsiteX11" fmla="*/ 1993 w 10011"/>
              <a:gd name="connsiteY11" fmla="*/ 569 h 10000"/>
              <a:gd name="connsiteX12" fmla="*/ 1658 w 10011"/>
              <a:gd name="connsiteY12" fmla="*/ 0 h 10000"/>
              <a:gd name="connsiteX13" fmla="*/ 0 w 10011"/>
              <a:gd name="connsiteY13" fmla="*/ 5519 h 10000"/>
              <a:gd name="connsiteX14" fmla="*/ 11 w 10011"/>
              <a:gd name="connsiteY14" fmla="*/ 10000 h 10000"/>
              <a:gd name="connsiteX0-1" fmla="*/ 11 w 10011"/>
              <a:gd name="connsiteY0-2" fmla="*/ 9431 h 9431"/>
              <a:gd name="connsiteX1-3" fmla="*/ 10011 w 10011"/>
              <a:gd name="connsiteY1-4" fmla="*/ 9431 h 9431"/>
              <a:gd name="connsiteX2-5" fmla="*/ 10011 w 10011"/>
              <a:gd name="connsiteY2-6" fmla="*/ 6550 h 9431"/>
              <a:gd name="connsiteX3-7" fmla="*/ 9861 w 10011"/>
              <a:gd name="connsiteY3-8" fmla="*/ 6435 h 9431"/>
              <a:gd name="connsiteX4-9" fmla="*/ 8600 w 10011"/>
              <a:gd name="connsiteY4-10" fmla="*/ 4885 h 9431"/>
              <a:gd name="connsiteX5-11" fmla="*/ 7762 w 10011"/>
              <a:gd name="connsiteY5-12" fmla="*/ 4080 h 9431"/>
              <a:gd name="connsiteX6-13" fmla="*/ 6334 w 10011"/>
              <a:gd name="connsiteY6-14" fmla="*/ 4746 h 9431"/>
              <a:gd name="connsiteX7-15" fmla="*/ 5100 w 10011"/>
              <a:gd name="connsiteY7-16" fmla="*/ 6320 h 9431"/>
              <a:gd name="connsiteX8-17" fmla="*/ 3647 w 10011"/>
              <a:gd name="connsiteY8-18" fmla="*/ 6616 h 9431"/>
              <a:gd name="connsiteX9-19" fmla="*/ 2851 w 10011"/>
              <a:gd name="connsiteY9-20" fmla="*/ 4709 h 9431"/>
              <a:gd name="connsiteX10-21" fmla="*/ 2605 w 10011"/>
              <a:gd name="connsiteY10-22" fmla="*/ 2300 h 9431"/>
              <a:gd name="connsiteX11-23" fmla="*/ 1993 w 10011"/>
              <a:gd name="connsiteY11-24" fmla="*/ 0 h 9431"/>
              <a:gd name="connsiteX12-25" fmla="*/ 0 w 10011"/>
              <a:gd name="connsiteY12-26" fmla="*/ 4950 h 9431"/>
              <a:gd name="connsiteX13-27" fmla="*/ 11 w 10011"/>
              <a:gd name="connsiteY13-28" fmla="*/ 9431 h 9431"/>
              <a:gd name="connsiteX0-29" fmla="*/ 11 w 10000"/>
              <a:gd name="connsiteY0-30" fmla="*/ 7561 h 7561"/>
              <a:gd name="connsiteX1-31" fmla="*/ 10000 w 10000"/>
              <a:gd name="connsiteY1-32" fmla="*/ 7561 h 7561"/>
              <a:gd name="connsiteX2-33" fmla="*/ 10000 w 10000"/>
              <a:gd name="connsiteY2-34" fmla="*/ 4506 h 7561"/>
              <a:gd name="connsiteX3-35" fmla="*/ 9850 w 10000"/>
              <a:gd name="connsiteY3-36" fmla="*/ 4384 h 7561"/>
              <a:gd name="connsiteX4-37" fmla="*/ 8591 w 10000"/>
              <a:gd name="connsiteY4-38" fmla="*/ 2741 h 7561"/>
              <a:gd name="connsiteX5-39" fmla="*/ 7753 w 10000"/>
              <a:gd name="connsiteY5-40" fmla="*/ 1887 h 7561"/>
              <a:gd name="connsiteX6-41" fmla="*/ 6327 w 10000"/>
              <a:gd name="connsiteY6-42" fmla="*/ 2593 h 7561"/>
              <a:gd name="connsiteX7-43" fmla="*/ 5094 w 10000"/>
              <a:gd name="connsiteY7-44" fmla="*/ 4262 h 7561"/>
              <a:gd name="connsiteX8-45" fmla="*/ 3643 w 10000"/>
              <a:gd name="connsiteY8-46" fmla="*/ 4576 h 7561"/>
              <a:gd name="connsiteX9-47" fmla="*/ 2848 w 10000"/>
              <a:gd name="connsiteY9-48" fmla="*/ 2554 h 7561"/>
              <a:gd name="connsiteX10-49" fmla="*/ 2602 w 10000"/>
              <a:gd name="connsiteY10-50" fmla="*/ 0 h 7561"/>
              <a:gd name="connsiteX11-51" fmla="*/ 0 w 10000"/>
              <a:gd name="connsiteY11-52" fmla="*/ 2810 h 7561"/>
              <a:gd name="connsiteX12-53" fmla="*/ 11 w 10000"/>
              <a:gd name="connsiteY12-54" fmla="*/ 7561 h 7561"/>
              <a:gd name="connsiteX0-55" fmla="*/ 11 w 10000"/>
              <a:gd name="connsiteY0-56" fmla="*/ 10000 h 10000"/>
              <a:gd name="connsiteX1-57" fmla="*/ 10000 w 10000"/>
              <a:gd name="connsiteY1-58" fmla="*/ 10000 h 10000"/>
              <a:gd name="connsiteX2-59" fmla="*/ 10000 w 10000"/>
              <a:gd name="connsiteY2-60" fmla="*/ 5960 h 10000"/>
              <a:gd name="connsiteX3-61" fmla="*/ 9850 w 10000"/>
              <a:gd name="connsiteY3-62" fmla="*/ 5798 h 10000"/>
              <a:gd name="connsiteX4-63" fmla="*/ 8591 w 10000"/>
              <a:gd name="connsiteY4-64" fmla="*/ 3625 h 10000"/>
              <a:gd name="connsiteX5-65" fmla="*/ 7753 w 10000"/>
              <a:gd name="connsiteY5-66" fmla="*/ 2496 h 10000"/>
              <a:gd name="connsiteX6-67" fmla="*/ 6327 w 10000"/>
              <a:gd name="connsiteY6-68" fmla="*/ 3429 h 10000"/>
              <a:gd name="connsiteX7-69" fmla="*/ 5094 w 10000"/>
              <a:gd name="connsiteY7-70" fmla="*/ 5637 h 10000"/>
              <a:gd name="connsiteX8-71" fmla="*/ 3643 w 10000"/>
              <a:gd name="connsiteY8-72" fmla="*/ 6052 h 10000"/>
              <a:gd name="connsiteX9-73" fmla="*/ 2848 w 10000"/>
              <a:gd name="connsiteY9-74" fmla="*/ 3378 h 10000"/>
              <a:gd name="connsiteX10-75" fmla="*/ 2602 w 10000"/>
              <a:gd name="connsiteY10-76" fmla="*/ 0 h 10000"/>
              <a:gd name="connsiteX11-77" fmla="*/ 0 w 10000"/>
              <a:gd name="connsiteY11-78" fmla="*/ 3716 h 10000"/>
              <a:gd name="connsiteX12-79" fmla="*/ 11 w 10000"/>
              <a:gd name="connsiteY12-80" fmla="*/ 10000 h 10000"/>
              <a:gd name="connsiteX0-81" fmla="*/ 11 w 10000"/>
              <a:gd name="connsiteY0-82" fmla="*/ 10023 h 10023"/>
              <a:gd name="connsiteX1-83" fmla="*/ 10000 w 10000"/>
              <a:gd name="connsiteY1-84" fmla="*/ 10023 h 10023"/>
              <a:gd name="connsiteX2-85" fmla="*/ 10000 w 10000"/>
              <a:gd name="connsiteY2-86" fmla="*/ 5983 h 10023"/>
              <a:gd name="connsiteX3-87" fmla="*/ 9850 w 10000"/>
              <a:gd name="connsiteY3-88" fmla="*/ 5821 h 10023"/>
              <a:gd name="connsiteX4-89" fmla="*/ 8591 w 10000"/>
              <a:gd name="connsiteY4-90" fmla="*/ 3648 h 10023"/>
              <a:gd name="connsiteX5-91" fmla="*/ 7753 w 10000"/>
              <a:gd name="connsiteY5-92" fmla="*/ 2519 h 10023"/>
              <a:gd name="connsiteX6-93" fmla="*/ 6327 w 10000"/>
              <a:gd name="connsiteY6-94" fmla="*/ 3452 h 10023"/>
              <a:gd name="connsiteX7-95" fmla="*/ 5094 w 10000"/>
              <a:gd name="connsiteY7-96" fmla="*/ 5660 h 10023"/>
              <a:gd name="connsiteX8-97" fmla="*/ 3643 w 10000"/>
              <a:gd name="connsiteY8-98" fmla="*/ 6075 h 10023"/>
              <a:gd name="connsiteX9-99" fmla="*/ 2848 w 10000"/>
              <a:gd name="connsiteY9-100" fmla="*/ 3401 h 10023"/>
              <a:gd name="connsiteX10-101" fmla="*/ 2602 w 10000"/>
              <a:gd name="connsiteY10-102" fmla="*/ 23 h 10023"/>
              <a:gd name="connsiteX11-103" fmla="*/ 0 w 10000"/>
              <a:gd name="connsiteY11-104" fmla="*/ 3739 h 10023"/>
              <a:gd name="connsiteX12-105" fmla="*/ 11 w 10000"/>
              <a:gd name="connsiteY12-106" fmla="*/ 10023 h 10023"/>
              <a:gd name="connsiteX0-107" fmla="*/ 11 w 10000"/>
              <a:gd name="connsiteY0-108" fmla="*/ 10023 h 10023"/>
              <a:gd name="connsiteX1-109" fmla="*/ 10000 w 10000"/>
              <a:gd name="connsiteY1-110" fmla="*/ 10023 h 10023"/>
              <a:gd name="connsiteX2-111" fmla="*/ 10000 w 10000"/>
              <a:gd name="connsiteY2-112" fmla="*/ 5983 h 10023"/>
              <a:gd name="connsiteX3-113" fmla="*/ 9850 w 10000"/>
              <a:gd name="connsiteY3-114" fmla="*/ 5821 h 10023"/>
              <a:gd name="connsiteX4-115" fmla="*/ 8591 w 10000"/>
              <a:gd name="connsiteY4-116" fmla="*/ 3648 h 10023"/>
              <a:gd name="connsiteX5-117" fmla="*/ 7753 w 10000"/>
              <a:gd name="connsiteY5-118" fmla="*/ 2519 h 10023"/>
              <a:gd name="connsiteX6-119" fmla="*/ 6327 w 10000"/>
              <a:gd name="connsiteY6-120" fmla="*/ 3452 h 10023"/>
              <a:gd name="connsiteX7-121" fmla="*/ 5094 w 10000"/>
              <a:gd name="connsiteY7-122" fmla="*/ 5660 h 10023"/>
              <a:gd name="connsiteX8-123" fmla="*/ 3643 w 10000"/>
              <a:gd name="connsiteY8-124" fmla="*/ 6075 h 10023"/>
              <a:gd name="connsiteX9-125" fmla="*/ 2848 w 10000"/>
              <a:gd name="connsiteY9-126" fmla="*/ 3401 h 10023"/>
              <a:gd name="connsiteX10-127" fmla="*/ 2602 w 10000"/>
              <a:gd name="connsiteY10-128" fmla="*/ 23 h 10023"/>
              <a:gd name="connsiteX11-129" fmla="*/ 0 w 10000"/>
              <a:gd name="connsiteY11-130" fmla="*/ 3739 h 10023"/>
              <a:gd name="connsiteX12-131" fmla="*/ 11 w 10000"/>
              <a:gd name="connsiteY12-132" fmla="*/ 10023 h 10023"/>
              <a:gd name="connsiteX0-133" fmla="*/ 11 w 10000"/>
              <a:gd name="connsiteY0-134" fmla="*/ 10160 h 10160"/>
              <a:gd name="connsiteX1-135" fmla="*/ 10000 w 10000"/>
              <a:gd name="connsiteY1-136" fmla="*/ 10160 h 10160"/>
              <a:gd name="connsiteX2-137" fmla="*/ 10000 w 10000"/>
              <a:gd name="connsiteY2-138" fmla="*/ 6120 h 10160"/>
              <a:gd name="connsiteX3-139" fmla="*/ 9850 w 10000"/>
              <a:gd name="connsiteY3-140" fmla="*/ 5958 h 10160"/>
              <a:gd name="connsiteX4-141" fmla="*/ 8591 w 10000"/>
              <a:gd name="connsiteY4-142" fmla="*/ 3785 h 10160"/>
              <a:gd name="connsiteX5-143" fmla="*/ 7753 w 10000"/>
              <a:gd name="connsiteY5-144" fmla="*/ 2656 h 10160"/>
              <a:gd name="connsiteX6-145" fmla="*/ 6327 w 10000"/>
              <a:gd name="connsiteY6-146" fmla="*/ 3589 h 10160"/>
              <a:gd name="connsiteX7-147" fmla="*/ 5094 w 10000"/>
              <a:gd name="connsiteY7-148" fmla="*/ 5797 h 10160"/>
              <a:gd name="connsiteX8-149" fmla="*/ 3643 w 10000"/>
              <a:gd name="connsiteY8-150" fmla="*/ 6212 h 10160"/>
              <a:gd name="connsiteX9-151" fmla="*/ 2848 w 10000"/>
              <a:gd name="connsiteY9-152" fmla="*/ 3538 h 10160"/>
              <a:gd name="connsiteX10-153" fmla="*/ 2602 w 10000"/>
              <a:gd name="connsiteY10-154" fmla="*/ 160 h 10160"/>
              <a:gd name="connsiteX11-155" fmla="*/ 0 w 10000"/>
              <a:gd name="connsiteY11-156" fmla="*/ 3876 h 10160"/>
              <a:gd name="connsiteX12-157" fmla="*/ 11 w 10000"/>
              <a:gd name="connsiteY12-158" fmla="*/ 10160 h 10160"/>
              <a:gd name="connsiteX0-159" fmla="*/ 11 w 10000"/>
              <a:gd name="connsiteY0-160" fmla="*/ 7580 h 7580"/>
              <a:gd name="connsiteX1-161" fmla="*/ 10000 w 10000"/>
              <a:gd name="connsiteY1-162" fmla="*/ 7580 h 7580"/>
              <a:gd name="connsiteX2-163" fmla="*/ 10000 w 10000"/>
              <a:gd name="connsiteY2-164" fmla="*/ 3540 h 7580"/>
              <a:gd name="connsiteX3-165" fmla="*/ 9850 w 10000"/>
              <a:gd name="connsiteY3-166" fmla="*/ 3378 h 7580"/>
              <a:gd name="connsiteX4-167" fmla="*/ 8591 w 10000"/>
              <a:gd name="connsiteY4-168" fmla="*/ 1205 h 7580"/>
              <a:gd name="connsiteX5-169" fmla="*/ 7753 w 10000"/>
              <a:gd name="connsiteY5-170" fmla="*/ 76 h 7580"/>
              <a:gd name="connsiteX6-171" fmla="*/ 6327 w 10000"/>
              <a:gd name="connsiteY6-172" fmla="*/ 1009 h 7580"/>
              <a:gd name="connsiteX7-173" fmla="*/ 5094 w 10000"/>
              <a:gd name="connsiteY7-174" fmla="*/ 3217 h 7580"/>
              <a:gd name="connsiteX8-175" fmla="*/ 3643 w 10000"/>
              <a:gd name="connsiteY8-176" fmla="*/ 3632 h 7580"/>
              <a:gd name="connsiteX9-177" fmla="*/ 2848 w 10000"/>
              <a:gd name="connsiteY9-178" fmla="*/ 958 h 7580"/>
              <a:gd name="connsiteX10-179" fmla="*/ 0 w 10000"/>
              <a:gd name="connsiteY10-180" fmla="*/ 1296 h 7580"/>
              <a:gd name="connsiteX11-181" fmla="*/ 11 w 10000"/>
              <a:gd name="connsiteY11-182" fmla="*/ 7580 h 7580"/>
              <a:gd name="connsiteX0-183" fmla="*/ 11 w 10000"/>
              <a:gd name="connsiteY0-184" fmla="*/ 9999 h 9999"/>
              <a:gd name="connsiteX1-185" fmla="*/ 10000 w 10000"/>
              <a:gd name="connsiteY1-186" fmla="*/ 9999 h 9999"/>
              <a:gd name="connsiteX2-187" fmla="*/ 10000 w 10000"/>
              <a:gd name="connsiteY2-188" fmla="*/ 4669 h 9999"/>
              <a:gd name="connsiteX3-189" fmla="*/ 9850 w 10000"/>
              <a:gd name="connsiteY3-190" fmla="*/ 4455 h 9999"/>
              <a:gd name="connsiteX4-191" fmla="*/ 8591 w 10000"/>
              <a:gd name="connsiteY4-192" fmla="*/ 1589 h 9999"/>
              <a:gd name="connsiteX5-193" fmla="*/ 7753 w 10000"/>
              <a:gd name="connsiteY5-194" fmla="*/ 99 h 9999"/>
              <a:gd name="connsiteX6-195" fmla="*/ 6327 w 10000"/>
              <a:gd name="connsiteY6-196" fmla="*/ 1330 h 9999"/>
              <a:gd name="connsiteX7-197" fmla="*/ 5094 w 10000"/>
              <a:gd name="connsiteY7-198" fmla="*/ 4243 h 9999"/>
              <a:gd name="connsiteX8-199" fmla="*/ 3643 w 10000"/>
              <a:gd name="connsiteY8-200" fmla="*/ 4791 h 9999"/>
              <a:gd name="connsiteX9-201" fmla="*/ 2848 w 10000"/>
              <a:gd name="connsiteY9-202" fmla="*/ 1263 h 9999"/>
              <a:gd name="connsiteX10-203" fmla="*/ 0 w 10000"/>
              <a:gd name="connsiteY10-204" fmla="*/ 1709 h 9999"/>
              <a:gd name="connsiteX11-205" fmla="*/ 11 w 10000"/>
              <a:gd name="connsiteY11-206" fmla="*/ 9999 h 9999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  <a:cxn ang="0">
                <a:pos x="connsiteX9-19" y="connsiteY9-20"/>
              </a:cxn>
              <a:cxn ang="0">
                <a:pos x="connsiteX10-21" y="connsiteY10-22"/>
              </a:cxn>
              <a:cxn ang="0">
                <a:pos x="connsiteX11-23" y="connsiteY11-24"/>
              </a:cxn>
            </a:cxnLst>
            <a:rect l="l" t="t" r="r" b="b"/>
            <a:pathLst>
              <a:path w="10000" h="9999">
                <a:moveTo>
                  <a:pt x="11" y="9999"/>
                </a:moveTo>
                <a:lnTo>
                  <a:pt x="10000" y="9999"/>
                </a:lnTo>
                <a:lnTo>
                  <a:pt x="10000" y="4669"/>
                </a:lnTo>
                <a:cubicBezTo>
                  <a:pt x="9949" y="4601"/>
                  <a:pt x="9897" y="4535"/>
                  <a:pt x="9850" y="4455"/>
                </a:cubicBezTo>
                <a:cubicBezTo>
                  <a:pt x="9389" y="3726"/>
                  <a:pt x="8996" y="2608"/>
                  <a:pt x="8591" y="1589"/>
                </a:cubicBezTo>
                <a:cubicBezTo>
                  <a:pt x="8334" y="950"/>
                  <a:pt x="8064" y="322"/>
                  <a:pt x="7753" y="99"/>
                </a:cubicBezTo>
                <a:cubicBezTo>
                  <a:pt x="7259" y="-261"/>
                  <a:pt x="6747" y="411"/>
                  <a:pt x="6327" y="1330"/>
                </a:cubicBezTo>
                <a:cubicBezTo>
                  <a:pt x="5904" y="2248"/>
                  <a:pt x="5535" y="3426"/>
                  <a:pt x="5094" y="4243"/>
                </a:cubicBezTo>
                <a:cubicBezTo>
                  <a:pt x="4654" y="5061"/>
                  <a:pt x="4104" y="5487"/>
                  <a:pt x="3643" y="4791"/>
                </a:cubicBezTo>
                <a:cubicBezTo>
                  <a:pt x="3226" y="4152"/>
                  <a:pt x="3376" y="3160"/>
                  <a:pt x="2848" y="1263"/>
                </a:cubicBezTo>
                <a:cubicBezTo>
                  <a:pt x="2320" y="-634"/>
                  <a:pt x="473" y="252"/>
                  <a:pt x="0" y="1709"/>
                </a:cubicBezTo>
                <a:cubicBezTo>
                  <a:pt x="4" y="4473"/>
                  <a:pt x="7" y="7235"/>
                  <a:pt x="11" y="9999"/>
                </a:cubicBezTo>
                <a:close/>
              </a:path>
            </a:pathLst>
          </a:custGeom>
          <a:gradFill>
            <a:gsLst>
              <a:gs pos="38000">
                <a:srgbClr val="4EBCF7"/>
              </a:gs>
              <a:gs pos="100000">
                <a:srgbClr val="0870D3"/>
              </a:gs>
            </a:gsLst>
            <a:lin ang="10800000" scaled="0"/>
          </a:gradFill>
          <a:ln>
            <a:noFill/>
          </a:ln>
          <a:effectLst>
            <a:outerShdw blurRad="762000" dist="2540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360000" bIns="45720" numCol="1" spcCol="0" rtlCol="0" fromWordArt="0" anchor="ctr" anchorCtr="0" forceAA="0" compatLnSpc="1">
            <a:noAutofit/>
          </a:bodyPr>
          <a:lstStyle/>
          <a:p>
            <a:pPr algn="r" defTabSz="914400"/>
            <a:endParaRPr lang="en-ID" sz="1400" b="1" dirty="0">
              <a:latin typeface="思源黑体 CN Normal" panose="020B0400000000000000" pitchFamily="34" charset="-122"/>
              <a:ea typeface="思源黑体 CN Normal" panose="020B0400000000000000" pitchFamily="34" charset="-122"/>
              <a:cs typeface="Open Sans" panose="020B0606030504020204" charset="0"/>
            </a:endParaRPr>
          </a:p>
        </p:txBody>
      </p:sp>
      <p:sp>
        <p:nvSpPr>
          <p:cNvPr id="30" name="îṧḷiḑê"/>
          <p:cNvSpPr/>
          <p:nvPr/>
        </p:nvSpPr>
        <p:spPr>
          <a:xfrm>
            <a:off x="669925" y="2123672"/>
            <a:ext cx="2324698" cy="3222698"/>
          </a:xfrm>
          <a:prstGeom prst="roundRect">
            <a:avLst>
              <a:gd name="adj" fmla="val 2689"/>
            </a:avLst>
          </a:prstGeom>
          <a:solidFill>
            <a:schemeClr val="bg1"/>
          </a:solidFill>
          <a:ln>
            <a:noFill/>
          </a:ln>
          <a:effectLst>
            <a:outerShdw blurRad="508000" dist="50800" dir="5400000" algn="ctr" rotWithShape="0">
              <a:srgbClr val="000000">
                <a:alpha val="12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/>
          <a:p>
            <a:pPr algn="ctr"/>
            <a:endParaRPr lang="en-ID" dirty="0">
              <a:latin typeface="思源黑体 CN Normal" panose="020B0400000000000000" pitchFamily="34" charset="-122"/>
              <a:ea typeface="思源黑体 CN Normal" panose="020B0400000000000000" pitchFamily="34" charset="-122"/>
            </a:endParaRPr>
          </a:p>
        </p:txBody>
      </p:sp>
      <p:grpSp>
        <p:nvGrpSpPr>
          <p:cNvPr id="32" name="íşlíḑê"/>
          <p:cNvGrpSpPr/>
          <p:nvPr/>
        </p:nvGrpSpPr>
        <p:grpSpPr>
          <a:xfrm>
            <a:off x="669925" y="3827750"/>
            <a:ext cx="2324698" cy="1298165"/>
            <a:chOff x="800223" y="2406469"/>
            <a:chExt cx="2775427" cy="1298165"/>
          </a:xfrm>
        </p:grpSpPr>
        <p:sp>
          <p:nvSpPr>
            <p:cNvPr id="33" name="í$ļíḍè"/>
            <p:cNvSpPr/>
            <p:nvPr/>
          </p:nvSpPr>
          <p:spPr bwMode="auto">
            <a:xfrm>
              <a:off x="800223" y="2848274"/>
              <a:ext cx="2775427" cy="8563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20000"/>
                </a:lnSpc>
              </a:pPr>
              <a:r>
                <a:rPr lang="en-US" altLang="zh-CN" sz="1100" dirty="0">
                  <a:latin typeface="思源黑体 CN Normal" panose="020B0400000000000000" pitchFamily="34" charset="-122"/>
                  <a:ea typeface="思源黑体 CN Normal" panose="020B0400000000000000" pitchFamily="34" charset="-122"/>
                </a:rPr>
                <a:t>Copy paste fonts. Choose the only option to retain text.</a:t>
              </a:r>
            </a:p>
            <a:p>
              <a:pPr algn="ctr">
                <a:lnSpc>
                  <a:spcPct val="120000"/>
                </a:lnSpc>
              </a:pPr>
              <a:r>
                <a:rPr lang="en-US" altLang="zh-CN" sz="1100" dirty="0">
                  <a:latin typeface="思源黑体 CN Normal" panose="020B0400000000000000" pitchFamily="34" charset="-122"/>
                  <a:ea typeface="思源黑体 CN Normal" panose="020B0400000000000000" pitchFamily="34" charset="-122"/>
                </a:rPr>
                <a:t>……</a:t>
              </a:r>
            </a:p>
          </p:txBody>
        </p:sp>
        <p:sp>
          <p:nvSpPr>
            <p:cNvPr id="34" name="îṥḻiḑe"/>
            <p:cNvSpPr txBox="1"/>
            <p:nvPr/>
          </p:nvSpPr>
          <p:spPr bwMode="auto">
            <a:xfrm>
              <a:off x="800223" y="2406469"/>
              <a:ext cx="2775427" cy="441805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zh-CN" altLang="en-US" sz="2000" dirty="0">
                  <a:latin typeface="思源黑体 CN Normal" panose="020B0400000000000000" pitchFamily="34" charset="-122"/>
                  <a:ea typeface="思源黑体 CN Normal" panose="020B0400000000000000" pitchFamily="34" charset="-122"/>
                </a:rPr>
                <a:t>添加标题</a:t>
              </a:r>
            </a:p>
          </p:txBody>
        </p:sp>
      </p:grpSp>
      <p:sp>
        <p:nvSpPr>
          <p:cNvPr id="25" name="isļiďé"/>
          <p:cNvSpPr/>
          <p:nvPr/>
        </p:nvSpPr>
        <p:spPr>
          <a:xfrm>
            <a:off x="3522853" y="1123950"/>
            <a:ext cx="2324698" cy="3222698"/>
          </a:xfrm>
          <a:prstGeom prst="roundRect">
            <a:avLst>
              <a:gd name="adj" fmla="val 2689"/>
            </a:avLst>
          </a:prstGeom>
          <a:solidFill>
            <a:schemeClr val="bg1"/>
          </a:solidFill>
          <a:ln>
            <a:noFill/>
          </a:ln>
          <a:effectLst>
            <a:outerShdw blurRad="508000" dist="50800" dir="5400000" algn="ctr" rotWithShape="0">
              <a:srgbClr val="000000">
                <a:alpha val="12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/>
          <a:p>
            <a:pPr algn="ctr"/>
            <a:endParaRPr lang="en-ID" dirty="0">
              <a:latin typeface="思源黑体 CN Normal" panose="020B0400000000000000" pitchFamily="34" charset="-122"/>
              <a:ea typeface="思源黑体 CN Normal" panose="020B0400000000000000" pitchFamily="34" charset="-122"/>
            </a:endParaRPr>
          </a:p>
        </p:txBody>
      </p:sp>
      <p:grpSp>
        <p:nvGrpSpPr>
          <p:cNvPr id="27" name="isļíḑê"/>
          <p:cNvGrpSpPr/>
          <p:nvPr/>
        </p:nvGrpSpPr>
        <p:grpSpPr>
          <a:xfrm>
            <a:off x="3522853" y="2828028"/>
            <a:ext cx="2324698" cy="1298165"/>
            <a:chOff x="800223" y="2406469"/>
            <a:chExt cx="2775427" cy="1298165"/>
          </a:xfrm>
        </p:grpSpPr>
        <p:sp>
          <p:nvSpPr>
            <p:cNvPr id="28" name="íşľïḑé"/>
            <p:cNvSpPr/>
            <p:nvPr/>
          </p:nvSpPr>
          <p:spPr bwMode="auto">
            <a:xfrm>
              <a:off x="800223" y="2848274"/>
              <a:ext cx="2775427" cy="8563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20000"/>
                </a:lnSpc>
              </a:pPr>
              <a:r>
                <a:rPr lang="en-US" altLang="zh-CN" sz="1100" dirty="0">
                  <a:latin typeface="思源黑体 CN Normal" panose="020B0400000000000000" pitchFamily="34" charset="-122"/>
                  <a:ea typeface="思源黑体 CN Normal" panose="020B0400000000000000" pitchFamily="34" charset="-122"/>
                </a:rPr>
                <a:t>Copy paste fonts. Choose the only option to retain text.</a:t>
              </a:r>
            </a:p>
            <a:p>
              <a:pPr algn="ctr">
                <a:lnSpc>
                  <a:spcPct val="120000"/>
                </a:lnSpc>
              </a:pPr>
              <a:r>
                <a:rPr lang="en-US" altLang="zh-CN" sz="1100" dirty="0">
                  <a:latin typeface="思源黑体 CN Normal" panose="020B0400000000000000" pitchFamily="34" charset="-122"/>
                  <a:ea typeface="思源黑体 CN Normal" panose="020B0400000000000000" pitchFamily="34" charset="-122"/>
                </a:rPr>
                <a:t>……</a:t>
              </a:r>
            </a:p>
          </p:txBody>
        </p:sp>
        <p:sp>
          <p:nvSpPr>
            <p:cNvPr id="29" name="íṩḷíďê"/>
            <p:cNvSpPr txBox="1"/>
            <p:nvPr/>
          </p:nvSpPr>
          <p:spPr bwMode="auto">
            <a:xfrm>
              <a:off x="800223" y="2406469"/>
              <a:ext cx="2775427" cy="441805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zh-CN" altLang="en-US" sz="2000" dirty="0">
                  <a:latin typeface="思源黑体 CN Normal" panose="020B0400000000000000" pitchFamily="34" charset="-122"/>
                  <a:ea typeface="思源黑体 CN Normal" panose="020B0400000000000000" pitchFamily="34" charset="-122"/>
                </a:rPr>
                <a:t>添加标题</a:t>
              </a:r>
            </a:p>
          </p:txBody>
        </p:sp>
      </p:grpSp>
      <p:sp>
        <p:nvSpPr>
          <p:cNvPr id="7" name="işḻïḑe"/>
          <p:cNvSpPr txBox="1"/>
          <p:nvPr/>
        </p:nvSpPr>
        <p:spPr>
          <a:xfrm>
            <a:off x="6464301" y="2894101"/>
            <a:ext cx="5056187" cy="700616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b" anchorCtr="0">
            <a:normAutofit/>
          </a:bodyPr>
          <a:lstStyle/>
          <a:p>
            <a:pPr algn="r">
              <a:buSzPct val="25000"/>
            </a:pPr>
            <a:r>
              <a:rPr lang="en-US" sz="2000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Unified fonts make reading more fluent</a:t>
            </a:r>
          </a:p>
        </p:txBody>
      </p:sp>
      <p:sp>
        <p:nvSpPr>
          <p:cNvPr id="8" name="íṣlîďé"/>
          <p:cNvSpPr txBox="1"/>
          <p:nvPr/>
        </p:nvSpPr>
        <p:spPr>
          <a:xfrm>
            <a:off x="6464300" y="3594716"/>
            <a:ext cx="5056187" cy="1042172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rmAutofit/>
          </a:bodyPr>
          <a:lstStyle/>
          <a:p>
            <a:pPr algn="r">
              <a:lnSpc>
                <a:spcPct val="150000"/>
              </a:lnSpc>
              <a:buSzPct val="25000"/>
            </a:pPr>
            <a:r>
              <a:rPr lang="en-US" sz="1200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Theme color makes PPT more convenient to change.</a:t>
            </a:r>
          </a:p>
          <a:p>
            <a:pPr algn="r">
              <a:lnSpc>
                <a:spcPct val="150000"/>
              </a:lnSpc>
              <a:buSzPct val="25000"/>
            </a:pPr>
            <a:r>
              <a:rPr lang="en-US" sz="1200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Adjust the spacing to adapt to Chinese typesetting, use the reference line in PPT</a:t>
            </a:r>
          </a:p>
        </p:txBody>
      </p:sp>
      <p:cxnSp>
        <p:nvCxnSpPr>
          <p:cNvPr id="9" name="直接连接符 8"/>
          <p:cNvCxnSpPr/>
          <p:nvPr/>
        </p:nvCxnSpPr>
        <p:spPr>
          <a:xfrm flipH="1">
            <a:off x="3675888" y="4782312"/>
            <a:ext cx="7844599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íş1íḋê"/>
          <p:cNvSpPr/>
          <p:nvPr/>
        </p:nvSpPr>
        <p:spPr>
          <a:xfrm>
            <a:off x="4098465" y="5283343"/>
            <a:ext cx="401606" cy="369435"/>
          </a:xfrm>
          <a:custGeom>
            <a:avLst/>
            <a:gdLst>
              <a:gd name="T0" fmla="*/ 1063 w 1485"/>
              <a:gd name="T1" fmla="*/ 120 h 1368"/>
              <a:gd name="T2" fmla="*/ 1131 w 1485"/>
              <a:gd name="T3" fmla="*/ 88 h 1368"/>
              <a:gd name="T4" fmla="*/ 1154 w 1485"/>
              <a:gd name="T5" fmla="*/ 171 h 1368"/>
              <a:gd name="T6" fmla="*/ 1281 w 1485"/>
              <a:gd name="T7" fmla="*/ 424 h 1368"/>
              <a:gd name="T8" fmla="*/ 1281 w 1485"/>
              <a:gd name="T9" fmla="*/ 522 h 1368"/>
              <a:gd name="T10" fmla="*/ 1299 w 1485"/>
              <a:gd name="T11" fmla="*/ 519 h 1368"/>
              <a:gd name="T12" fmla="*/ 1299 w 1485"/>
              <a:gd name="T13" fmla="*/ 619 h 1368"/>
              <a:gd name="T14" fmla="*/ 1244 w 1485"/>
              <a:gd name="T15" fmla="*/ 670 h 1368"/>
              <a:gd name="T16" fmla="*/ 1153 w 1485"/>
              <a:gd name="T17" fmla="*/ 871 h 1368"/>
              <a:gd name="T18" fmla="*/ 1485 w 1485"/>
              <a:gd name="T19" fmla="*/ 1328 h 1368"/>
              <a:gd name="T20" fmla="*/ 1353 w 1485"/>
              <a:gd name="T21" fmla="*/ 1328 h 1368"/>
              <a:gd name="T22" fmla="*/ 1018 w 1485"/>
              <a:gd name="T23" fmla="*/ 845 h 1368"/>
              <a:gd name="T24" fmla="*/ 1083 w 1485"/>
              <a:gd name="T25" fmla="*/ 682 h 1368"/>
              <a:gd name="T26" fmla="*/ 1148 w 1485"/>
              <a:gd name="T27" fmla="*/ 598 h 1368"/>
              <a:gd name="T28" fmla="*/ 1129 w 1485"/>
              <a:gd name="T29" fmla="*/ 436 h 1368"/>
              <a:gd name="T30" fmla="*/ 1129 w 1485"/>
              <a:gd name="T31" fmla="*/ 373 h 1368"/>
              <a:gd name="T32" fmla="*/ 1063 w 1485"/>
              <a:gd name="T33" fmla="*/ 120 h 1368"/>
              <a:gd name="T34" fmla="*/ 465 w 1485"/>
              <a:gd name="T35" fmla="*/ 846 h 1368"/>
              <a:gd name="T36" fmla="*/ 405 w 1485"/>
              <a:gd name="T37" fmla="*/ 682 h 1368"/>
              <a:gd name="T38" fmla="*/ 334 w 1485"/>
              <a:gd name="T39" fmla="*/ 596 h 1368"/>
              <a:gd name="T40" fmla="*/ 358 w 1485"/>
              <a:gd name="T41" fmla="*/ 436 h 1368"/>
              <a:gd name="T42" fmla="*/ 358 w 1485"/>
              <a:gd name="T43" fmla="*/ 372 h 1368"/>
              <a:gd name="T44" fmla="*/ 357 w 1485"/>
              <a:gd name="T45" fmla="*/ 316 h 1368"/>
              <a:gd name="T46" fmla="*/ 372 w 1485"/>
              <a:gd name="T47" fmla="*/ 161 h 1368"/>
              <a:gd name="T48" fmla="*/ 206 w 1485"/>
              <a:gd name="T49" fmla="*/ 424 h 1368"/>
              <a:gd name="T50" fmla="*/ 206 w 1485"/>
              <a:gd name="T51" fmla="*/ 522 h 1368"/>
              <a:gd name="T52" fmla="*/ 188 w 1485"/>
              <a:gd name="T53" fmla="*/ 519 h 1368"/>
              <a:gd name="T54" fmla="*/ 183 w 1485"/>
              <a:gd name="T55" fmla="*/ 617 h 1368"/>
              <a:gd name="T56" fmla="*/ 243 w 1485"/>
              <a:gd name="T57" fmla="*/ 670 h 1368"/>
              <a:gd name="T58" fmla="*/ 329 w 1485"/>
              <a:gd name="T59" fmla="*/ 872 h 1368"/>
              <a:gd name="T60" fmla="*/ 0 w 1485"/>
              <a:gd name="T61" fmla="*/ 1328 h 1368"/>
              <a:gd name="T62" fmla="*/ 132 w 1485"/>
              <a:gd name="T63" fmla="*/ 1328 h 1368"/>
              <a:gd name="T64" fmla="*/ 465 w 1485"/>
              <a:gd name="T65" fmla="*/ 846 h 1368"/>
              <a:gd name="T66" fmla="*/ 941 w 1485"/>
              <a:gd name="T67" fmla="*/ 864 h 1368"/>
              <a:gd name="T68" fmla="*/ 1041 w 1485"/>
              <a:gd name="T69" fmla="*/ 642 h 1368"/>
              <a:gd name="T70" fmla="*/ 1102 w 1485"/>
              <a:gd name="T71" fmla="*/ 586 h 1368"/>
              <a:gd name="T72" fmla="*/ 1102 w 1485"/>
              <a:gd name="T73" fmla="*/ 476 h 1368"/>
              <a:gd name="T74" fmla="*/ 1081 w 1485"/>
              <a:gd name="T75" fmla="*/ 479 h 1368"/>
              <a:gd name="T76" fmla="*/ 1081 w 1485"/>
              <a:gd name="T77" fmla="*/ 372 h 1368"/>
              <a:gd name="T78" fmla="*/ 941 w 1485"/>
              <a:gd name="T79" fmla="*/ 92 h 1368"/>
              <a:gd name="T80" fmla="*/ 916 w 1485"/>
              <a:gd name="T81" fmla="*/ 0 h 1368"/>
              <a:gd name="T82" fmla="*/ 640 w 1485"/>
              <a:gd name="T83" fmla="*/ 73 h 1368"/>
              <a:gd name="T84" fmla="*/ 643 w 1485"/>
              <a:gd name="T85" fmla="*/ 74 h 1368"/>
              <a:gd name="T86" fmla="*/ 406 w 1485"/>
              <a:gd name="T87" fmla="*/ 372 h 1368"/>
              <a:gd name="T88" fmla="*/ 406 w 1485"/>
              <a:gd name="T89" fmla="*/ 479 h 1368"/>
              <a:gd name="T90" fmla="*/ 386 w 1485"/>
              <a:gd name="T91" fmla="*/ 476 h 1368"/>
              <a:gd name="T92" fmla="*/ 380 w 1485"/>
              <a:gd name="T93" fmla="*/ 584 h 1368"/>
              <a:gd name="T94" fmla="*/ 446 w 1485"/>
              <a:gd name="T95" fmla="*/ 642 h 1368"/>
              <a:gd name="T96" fmla="*/ 541 w 1485"/>
              <a:gd name="T97" fmla="*/ 865 h 1368"/>
              <a:gd name="T98" fmla="*/ 178 w 1485"/>
              <a:gd name="T99" fmla="*/ 1368 h 1368"/>
              <a:gd name="T100" fmla="*/ 1307 w 1485"/>
              <a:gd name="T101" fmla="*/ 1368 h 1368"/>
              <a:gd name="T102" fmla="*/ 941 w 1485"/>
              <a:gd name="T103" fmla="*/ 864 h 1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485" h="1368">
                <a:moveTo>
                  <a:pt x="1063" y="120"/>
                </a:moveTo>
                <a:cubicBezTo>
                  <a:pt x="1092" y="111"/>
                  <a:pt x="1117" y="101"/>
                  <a:pt x="1131" y="88"/>
                </a:cubicBezTo>
                <a:cubicBezTo>
                  <a:pt x="1131" y="88"/>
                  <a:pt x="1132" y="127"/>
                  <a:pt x="1154" y="171"/>
                </a:cubicBezTo>
                <a:cubicBezTo>
                  <a:pt x="1269" y="215"/>
                  <a:pt x="1284" y="318"/>
                  <a:pt x="1281" y="424"/>
                </a:cubicBezTo>
                <a:lnTo>
                  <a:pt x="1281" y="522"/>
                </a:lnTo>
                <a:cubicBezTo>
                  <a:pt x="1287" y="519"/>
                  <a:pt x="1293" y="518"/>
                  <a:pt x="1299" y="519"/>
                </a:cubicBezTo>
                <a:cubicBezTo>
                  <a:pt x="1319" y="525"/>
                  <a:pt x="1308" y="584"/>
                  <a:pt x="1299" y="619"/>
                </a:cubicBezTo>
                <a:cubicBezTo>
                  <a:pt x="1290" y="653"/>
                  <a:pt x="1264" y="674"/>
                  <a:pt x="1244" y="670"/>
                </a:cubicBezTo>
                <a:cubicBezTo>
                  <a:pt x="1230" y="762"/>
                  <a:pt x="1198" y="828"/>
                  <a:pt x="1153" y="871"/>
                </a:cubicBezTo>
                <a:cubicBezTo>
                  <a:pt x="1347" y="941"/>
                  <a:pt x="1485" y="1119"/>
                  <a:pt x="1485" y="1328"/>
                </a:cubicBezTo>
                <a:lnTo>
                  <a:pt x="1353" y="1328"/>
                </a:lnTo>
                <a:cubicBezTo>
                  <a:pt x="1338" y="1123"/>
                  <a:pt x="1209" y="938"/>
                  <a:pt x="1018" y="845"/>
                </a:cubicBezTo>
                <a:cubicBezTo>
                  <a:pt x="1047" y="800"/>
                  <a:pt x="1069" y="746"/>
                  <a:pt x="1083" y="682"/>
                </a:cubicBezTo>
                <a:cubicBezTo>
                  <a:pt x="1113" y="668"/>
                  <a:pt x="1137" y="638"/>
                  <a:pt x="1148" y="598"/>
                </a:cubicBezTo>
                <a:cubicBezTo>
                  <a:pt x="1157" y="564"/>
                  <a:pt x="1182" y="466"/>
                  <a:pt x="1129" y="436"/>
                </a:cubicBezTo>
                <a:lnTo>
                  <a:pt x="1129" y="373"/>
                </a:lnTo>
                <a:cubicBezTo>
                  <a:pt x="1131" y="316"/>
                  <a:pt x="1134" y="203"/>
                  <a:pt x="1063" y="120"/>
                </a:cubicBezTo>
                <a:close/>
                <a:moveTo>
                  <a:pt x="465" y="846"/>
                </a:moveTo>
                <a:cubicBezTo>
                  <a:pt x="438" y="802"/>
                  <a:pt x="418" y="748"/>
                  <a:pt x="405" y="682"/>
                </a:cubicBezTo>
                <a:cubicBezTo>
                  <a:pt x="372" y="668"/>
                  <a:pt x="344" y="635"/>
                  <a:pt x="334" y="596"/>
                </a:cubicBezTo>
                <a:cubicBezTo>
                  <a:pt x="324" y="556"/>
                  <a:pt x="306" y="465"/>
                  <a:pt x="358" y="436"/>
                </a:cubicBezTo>
                <a:lnTo>
                  <a:pt x="358" y="372"/>
                </a:lnTo>
                <a:cubicBezTo>
                  <a:pt x="358" y="352"/>
                  <a:pt x="357" y="334"/>
                  <a:pt x="357" y="316"/>
                </a:cubicBezTo>
                <a:cubicBezTo>
                  <a:pt x="355" y="256"/>
                  <a:pt x="356" y="204"/>
                  <a:pt x="372" y="161"/>
                </a:cubicBezTo>
                <a:cubicBezTo>
                  <a:pt x="175" y="193"/>
                  <a:pt x="206" y="281"/>
                  <a:pt x="206" y="424"/>
                </a:cubicBezTo>
                <a:lnTo>
                  <a:pt x="206" y="522"/>
                </a:lnTo>
                <a:cubicBezTo>
                  <a:pt x="200" y="519"/>
                  <a:pt x="194" y="518"/>
                  <a:pt x="188" y="519"/>
                </a:cubicBezTo>
                <a:cubicBezTo>
                  <a:pt x="168" y="525"/>
                  <a:pt x="174" y="582"/>
                  <a:pt x="183" y="617"/>
                </a:cubicBezTo>
                <a:cubicBezTo>
                  <a:pt x="192" y="651"/>
                  <a:pt x="223" y="674"/>
                  <a:pt x="243" y="670"/>
                </a:cubicBezTo>
                <a:cubicBezTo>
                  <a:pt x="258" y="766"/>
                  <a:pt x="288" y="830"/>
                  <a:pt x="329" y="872"/>
                </a:cubicBezTo>
                <a:cubicBezTo>
                  <a:pt x="137" y="943"/>
                  <a:pt x="0" y="1120"/>
                  <a:pt x="0" y="1328"/>
                </a:cubicBezTo>
                <a:lnTo>
                  <a:pt x="132" y="1328"/>
                </a:lnTo>
                <a:cubicBezTo>
                  <a:pt x="147" y="1124"/>
                  <a:pt x="275" y="939"/>
                  <a:pt x="465" y="846"/>
                </a:cubicBezTo>
                <a:close/>
                <a:moveTo>
                  <a:pt x="941" y="864"/>
                </a:moveTo>
                <a:cubicBezTo>
                  <a:pt x="990" y="816"/>
                  <a:pt x="1025" y="743"/>
                  <a:pt x="1041" y="642"/>
                </a:cubicBezTo>
                <a:cubicBezTo>
                  <a:pt x="1063" y="646"/>
                  <a:pt x="1092" y="624"/>
                  <a:pt x="1102" y="586"/>
                </a:cubicBezTo>
                <a:cubicBezTo>
                  <a:pt x="1112" y="547"/>
                  <a:pt x="1124" y="482"/>
                  <a:pt x="1102" y="476"/>
                </a:cubicBezTo>
                <a:cubicBezTo>
                  <a:pt x="1095" y="475"/>
                  <a:pt x="1088" y="476"/>
                  <a:pt x="1081" y="479"/>
                </a:cubicBezTo>
                <a:lnTo>
                  <a:pt x="1081" y="372"/>
                </a:lnTo>
                <a:cubicBezTo>
                  <a:pt x="1085" y="254"/>
                  <a:pt x="1069" y="141"/>
                  <a:pt x="941" y="92"/>
                </a:cubicBezTo>
                <a:cubicBezTo>
                  <a:pt x="918" y="44"/>
                  <a:pt x="916" y="0"/>
                  <a:pt x="916" y="0"/>
                </a:cubicBezTo>
                <a:cubicBezTo>
                  <a:pt x="859" y="52"/>
                  <a:pt x="640" y="73"/>
                  <a:pt x="640" y="73"/>
                </a:cubicBezTo>
                <a:lnTo>
                  <a:pt x="643" y="74"/>
                </a:lnTo>
                <a:cubicBezTo>
                  <a:pt x="366" y="102"/>
                  <a:pt x="406" y="202"/>
                  <a:pt x="406" y="372"/>
                </a:cubicBezTo>
                <a:lnTo>
                  <a:pt x="406" y="479"/>
                </a:lnTo>
                <a:cubicBezTo>
                  <a:pt x="399" y="476"/>
                  <a:pt x="392" y="475"/>
                  <a:pt x="386" y="476"/>
                </a:cubicBezTo>
                <a:cubicBezTo>
                  <a:pt x="363" y="482"/>
                  <a:pt x="370" y="545"/>
                  <a:pt x="380" y="584"/>
                </a:cubicBezTo>
                <a:cubicBezTo>
                  <a:pt x="390" y="622"/>
                  <a:pt x="424" y="647"/>
                  <a:pt x="446" y="642"/>
                </a:cubicBezTo>
                <a:cubicBezTo>
                  <a:pt x="463" y="749"/>
                  <a:pt x="496" y="819"/>
                  <a:pt x="541" y="865"/>
                </a:cubicBezTo>
                <a:cubicBezTo>
                  <a:pt x="329" y="943"/>
                  <a:pt x="178" y="1139"/>
                  <a:pt x="178" y="1368"/>
                </a:cubicBezTo>
                <a:lnTo>
                  <a:pt x="1307" y="1368"/>
                </a:lnTo>
                <a:cubicBezTo>
                  <a:pt x="1306" y="1137"/>
                  <a:pt x="1154" y="941"/>
                  <a:pt x="941" y="864"/>
                </a:cubicBezTo>
                <a:close/>
              </a:path>
            </a:pathLst>
          </a:custGeom>
          <a:gradFill>
            <a:gsLst>
              <a:gs pos="30000">
                <a:srgbClr val="0870D3"/>
              </a:gs>
              <a:gs pos="79000">
                <a:srgbClr val="A0E2FC"/>
              </a:gs>
            </a:gsLst>
            <a:lin ang="8400000" scaled="0"/>
          </a:gradFill>
          <a:ln w="3175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 fontScale="925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 defTabSz="914400"/>
            <a:endParaRPr lang="zh-CN" altLang="en-US" sz="2000" b="1" i="1" dirty="0">
              <a:solidFill>
                <a:schemeClr val="tx1"/>
              </a:solidFill>
              <a:latin typeface="思源黑体 CN Normal" panose="020B0400000000000000" pitchFamily="34" charset="-122"/>
              <a:ea typeface="思源黑体 CN Normal" panose="020B0400000000000000" pitchFamily="34" charset="-122"/>
            </a:endParaRPr>
          </a:p>
        </p:txBody>
      </p:sp>
      <p:sp>
        <p:nvSpPr>
          <p:cNvPr id="24" name="i$ḷîdè"/>
          <p:cNvSpPr txBox="1"/>
          <p:nvPr/>
        </p:nvSpPr>
        <p:spPr bwMode="auto">
          <a:xfrm>
            <a:off x="3675888" y="5850842"/>
            <a:ext cx="1134312" cy="354439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spcBef>
                <a:spcPct val="0"/>
              </a:spcBef>
            </a:pPr>
            <a:r>
              <a:rPr lang="en-US" altLang="zh-CN" sz="1200" b="1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…Text</a:t>
            </a:r>
          </a:p>
        </p:txBody>
      </p:sp>
      <p:sp>
        <p:nvSpPr>
          <p:cNvPr id="21" name="ïṧ1iḓe"/>
          <p:cNvSpPr/>
          <p:nvPr/>
        </p:nvSpPr>
        <p:spPr>
          <a:xfrm>
            <a:off x="5685437" y="5283343"/>
            <a:ext cx="401606" cy="369435"/>
          </a:xfrm>
          <a:custGeom>
            <a:avLst/>
            <a:gdLst>
              <a:gd name="T0" fmla="*/ 1063 w 1485"/>
              <a:gd name="T1" fmla="*/ 120 h 1368"/>
              <a:gd name="T2" fmla="*/ 1131 w 1485"/>
              <a:gd name="T3" fmla="*/ 88 h 1368"/>
              <a:gd name="T4" fmla="*/ 1154 w 1485"/>
              <a:gd name="T5" fmla="*/ 171 h 1368"/>
              <a:gd name="T6" fmla="*/ 1281 w 1485"/>
              <a:gd name="T7" fmla="*/ 424 h 1368"/>
              <a:gd name="T8" fmla="*/ 1281 w 1485"/>
              <a:gd name="T9" fmla="*/ 522 h 1368"/>
              <a:gd name="T10" fmla="*/ 1299 w 1485"/>
              <a:gd name="T11" fmla="*/ 519 h 1368"/>
              <a:gd name="T12" fmla="*/ 1299 w 1485"/>
              <a:gd name="T13" fmla="*/ 619 h 1368"/>
              <a:gd name="T14" fmla="*/ 1244 w 1485"/>
              <a:gd name="T15" fmla="*/ 670 h 1368"/>
              <a:gd name="T16" fmla="*/ 1153 w 1485"/>
              <a:gd name="T17" fmla="*/ 871 h 1368"/>
              <a:gd name="T18" fmla="*/ 1485 w 1485"/>
              <a:gd name="T19" fmla="*/ 1328 h 1368"/>
              <a:gd name="T20" fmla="*/ 1353 w 1485"/>
              <a:gd name="T21" fmla="*/ 1328 h 1368"/>
              <a:gd name="T22" fmla="*/ 1018 w 1485"/>
              <a:gd name="T23" fmla="*/ 845 h 1368"/>
              <a:gd name="T24" fmla="*/ 1083 w 1485"/>
              <a:gd name="T25" fmla="*/ 682 h 1368"/>
              <a:gd name="T26" fmla="*/ 1148 w 1485"/>
              <a:gd name="T27" fmla="*/ 598 h 1368"/>
              <a:gd name="T28" fmla="*/ 1129 w 1485"/>
              <a:gd name="T29" fmla="*/ 436 h 1368"/>
              <a:gd name="T30" fmla="*/ 1129 w 1485"/>
              <a:gd name="T31" fmla="*/ 373 h 1368"/>
              <a:gd name="T32" fmla="*/ 1063 w 1485"/>
              <a:gd name="T33" fmla="*/ 120 h 1368"/>
              <a:gd name="T34" fmla="*/ 465 w 1485"/>
              <a:gd name="T35" fmla="*/ 846 h 1368"/>
              <a:gd name="T36" fmla="*/ 405 w 1485"/>
              <a:gd name="T37" fmla="*/ 682 h 1368"/>
              <a:gd name="T38" fmla="*/ 334 w 1485"/>
              <a:gd name="T39" fmla="*/ 596 h 1368"/>
              <a:gd name="T40" fmla="*/ 358 w 1485"/>
              <a:gd name="T41" fmla="*/ 436 h 1368"/>
              <a:gd name="T42" fmla="*/ 358 w 1485"/>
              <a:gd name="T43" fmla="*/ 372 h 1368"/>
              <a:gd name="T44" fmla="*/ 357 w 1485"/>
              <a:gd name="T45" fmla="*/ 316 h 1368"/>
              <a:gd name="T46" fmla="*/ 372 w 1485"/>
              <a:gd name="T47" fmla="*/ 161 h 1368"/>
              <a:gd name="T48" fmla="*/ 206 w 1485"/>
              <a:gd name="T49" fmla="*/ 424 h 1368"/>
              <a:gd name="T50" fmla="*/ 206 w 1485"/>
              <a:gd name="T51" fmla="*/ 522 h 1368"/>
              <a:gd name="T52" fmla="*/ 188 w 1485"/>
              <a:gd name="T53" fmla="*/ 519 h 1368"/>
              <a:gd name="T54" fmla="*/ 183 w 1485"/>
              <a:gd name="T55" fmla="*/ 617 h 1368"/>
              <a:gd name="T56" fmla="*/ 243 w 1485"/>
              <a:gd name="T57" fmla="*/ 670 h 1368"/>
              <a:gd name="T58" fmla="*/ 329 w 1485"/>
              <a:gd name="T59" fmla="*/ 872 h 1368"/>
              <a:gd name="T60" fmla="*/ 0 w 1485"/>
              <a:gd name="T61" fmla="*/ 1328 h 1368"/>
              <a:gd name="T62" fmla="*/ 132 w 1485"/>
              <a:gd name="T63" fmla="*/ 1328 h 1368"/>
              <a:gd name="T64" fmla="*/ 465 w 1485"/>
              <a:gd name="T65" fmla="*/ 846 h 1368"/>
              <a:gd name="T66" fmla="*/ 941 w 1485"/>
              <a:gd name="T67" fmla="*/ 864 h 1368"/>
              <a:gd name="T68" fmla="*/ 1041 w 1485"/>
              <a:gd name="T69" fmla="*/ 642 h 1368"/>
              <a:gd name="T70" fmla="*/ 1102 w 1485"/>
              <a:gd name="T71" fmla="*/ 586 h 1368"/>
              <a:gd name="T72" fmla="*/ 1102 w 1485"/>
              <a:gd name="T73" fmla="*/ 476 h 1368"/>
              <a:gd name="T74" fmla="*/ 1081 w 1485"/>
              <a:gd name="T75" fmla="*/ 479 h 1368"/>
              <a:gd name="T76" fmla="*/ 1081 w 1485"/>
              <a:gd name="T77" fmla="*/ 372 h 1368"/>
              <a:gd name="T78" fmla="*/ 941 w 1485"/>
              <a:gd name="T79" fmla="*/ 92 h 1368"/>
              <a:gd name="T80" fmla="*/ 916 w 1485"/>
              <a:gd name="T81" fmla="*/ 0 h 1368"/>
              <a:gd name="T82" fmla="*/ 640 w 1485"/>
              <a:gd name="T83" fmla="*/ 73 h 1368"/>
              <a:gd name="T84" fmla="*/ 643 w 1485"/>
              <a:gd name="T85" fmla="*/ 74 h 1368"/>
              <a:gd name="T86" fmla="*/ 406 w 1485"/>
              <a:gd name="T87" fmla="*/ 372 h 1368"/>
              <a:gd name="T88" fmla="*/ 406 w 1485"/>
              <a:gd name="T89" fmla="*/ 479 h 1368"/>
              <a:gd name="T90" fmla="*/ 386 w 1485"/>
              <a:gd name="T91" fmla="*/ 476 h 1368"/>
              <a:gd name="T92" fmla="*/ 380 w 1485"/>
              <a:gd name="T93" fmla="*/ 584 h 1368"/>
              <a:gd name="T94" fmla="*/ 446 w 1485"/>
              <a:gd name="T95" fmla="*/ 642 h 1368"/>
              <a:gd name="T96" fmla="*/ 541 w 1485"/>
              <a:gd name="T97" fmla="*/ 865 h 1368"/>
              <a:gd name="T98" fmla="*/ 178 w 1485"/>
              <a:gd name="T99" fmla="*/ 1368 h 1368"/>
              <a:gd name="T100" fmla="*/ 1307 w 1485"/>
              <a:gd name="T101" fmla="*/ 1368 h 1368"/>
              <a:gd name="T102" fmla="*/ 941 w 1485"/>
              <a:gd name="T103" fmla="*/ 864 h 1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485" h="1368">
                <a:moveTo>
                  <a:pt x="1063" y="120"/>
                </a:moveTo>
                <a:cubicBezTo>
                  <a:pt x="1092" y="111"/>
                  <a:pt x="1117" y="101"/>
                  <a:pt x="1131" y="88"/>
                </a:cubicBezTo>
                <a:cubicBezTo>
                  <a:pt x="1131" y="88"/>
                  <a:pt x="1132" y="127"/>
                  <a:pt x="1154" y="171"/>
                </a:cubicBezTo>
                <a:cubicBezTo>
                  <a:pt x="1269" y="215"/>
                  <a:pt x="1284" y="318"/>
                  <a:pt x="1281" y="424"/>
                </a:cubicBezTo>
                <a:lnTo>
                  <a:pt x="1281" y="522"/>
                </a:lnTo>
                <a:cubicBezTo>
                  <a:pt x="1287" y="519"/>
                  <a:pt x="1293" y="518"/>
                  <a:pt x="1299" y="519"/>
                </a:cubicBezTo>
                <a:cubicBezTo>
                  <a:pt x="1319" y="525"/>
                  <a:pt x="1308" y="584"/>
                  <a:pt x="1299" y="619"/>
                </a:cubicBezTo>
                <a:cubicBezTo>
                  <a:pt x="1290" y="653"/>
                  <a:pt x="1264" y="674"/>
                  <a:pt x="1244" y="670"/>
                </a:cubicBezTo>
                <a:cubicBezTo>
                  <a:pt x="1230" y="762"/>
                  <a:pt x="1198" y="828"/>
                  <a:pt x="1153" y="871"/>
                </a:cubicBezTo>
                <a:cubicBezTo>
                  <a:pt x="1347" y="941"/>
                  <a:pt x="1485" y="1119"/>
                  <a:pt x="1485" y="1328"/>
                </a:cubicBezTo>
                <a:lnTo>
                  <a:pt x="1353" y="1328"/>
                </a:lnTo>
                <a:cubicBezTo>
                  <a:pt x="1338" y="1123"/>
                  <a:pt x="1209" y="938"/>
                  <a:pt x="1018" y="845"/>
                </a:cubicBezTo>
                <a:cubicBezTo>
                  <a:pt x="1047" y="800"/>
                  <a:pt x="1069" y="746"/>
                  <a:pt x="1083" y="682"/>
                </a:cubicBezTo>
                <a:cubicBezTo>
                  <a:pt x="1113" y="668"/>
                  <a:pt x="1137" y="638"/>
                  <a:pt x="1148" y="598"/>
                </a:cubicBezTo>
                <a:cubicBezTo>
                  <a:pt x="1157" y="564"/>
                  <a:pt x="1182" y="466"/>
                  <a:pt x="1129" y="436"/>
                </a:cubicBezTo>
                <a:lnTo>
                  <a:pt x="1129" y="373"/>
                </a:lnTo>
                <a:cubicBezTo>
                  <a:pt x="1131" y="316"/>
                  <a:pt x="1134" y="203"/>
                  <a:pt x="1063" y="120"/>
                </a:cubicBezTo>
                <a:close/>
                <a:moveTo>
                  <a:pt x="465" y="846"/>
                </a:moveTo>
                <a:cubicBezTo>
                  <a:pt x="438" y="802"/>
                  <a:pt x="418" y="748"/>
                  <a:pt x="405" y="682"/>
                </a:cubicBezTo>
                <a:cubicBezTo>
                  <a:pt x="372" y="668"/>
                  <a:pt x="344" y="635"/>
                  <a:pt x="334" y="596"/>
                </a:cubicBezTo>
                <a:cubicBezTo>
                  <a:pt x="324" y="556"/>
                  <a:pt x="306" y="465"/>
                  <a:pt x="358" y="436"/>
                </a:cubicBezTo>
                <a:lnTo>
                  <a:pt x="358" y="372"/>
                </a:lnTo>
                <a:cubicBezTo>
                  <a:pt x="358" y="352"/>
                  <a:pt x="357" y="334"/>
                  <a:pt x="357" y="316"/>
                </a:cubicBezTo>
                <a:cubicBezTo>
                  <a:pt x="355" y="256"/>
                  <a:pt x="356" y="204"/>
                  <a:pt x="372" y="161"/>
                </a:cubicBezTo>
                <a:cubicBezTo>
                  <a:pt x="175" y="193"/>
                  <a:pt x="206" y="281"/>
                  <a:pt x="206" y="424"/>
                </a:cubicBezTo>
                <a:lnTo>
                  <a:pt x="206" y="522"/>
                </a:lnTo>
                <a:cubicBezTo>
                  <a:pt x="200" y="519"/>
                  <a:pt x="194" y="518"/>
                  <a:pt x="188" y="519"/>
                </a:cubicBezTo>
                <a:cubicBezTo>
                  <a:pt x="168" y="525"/>
                  <a:pt x="174" y="582"/>
                  <a:pt x="183" y="617"/>
                </a:cubicBezTo>
                <a:cubicBezTo>
                  <a:pt x="192" y="651"/>
                  <a:pt x="223" y="674"/>
                  <a:pt x="243" y="670"/>
                </a:cubicBezTo>
                <a:cubicBezTo>
                  <a:pt x="258" y="766"/>
                  <a:pt x="288" y="830"/>
                  <a:pt x="329" y="872"/>
                </a:cubicBezTo>
                <a:cubicBezTo>
                  <a:pt x="137" y="943"/>
                  <a:pt x="0" y="1120"/>
                  <a:pt x="0" y="1328"/>
                </a:cubicBezTo>
                <a:lnTo>
                  <a:pt x="132" y="1328"/>
                </a:lnTo>
                <a:cubicBezTo>
                  <a:pt x="147" y="1124"/>
                  <a:pt x="275" y="939"/>
                  <a:pt x="465" y="846"/>
                </a:cubicBezTo>
                <a:close/>
                <a:moveTo>
                  <a:pt x="941" y="864"/>
                </a:moveTo>
                <a:cubicBezTo>
                  <a:pt x="990" y="816"/>
                  <a:pt x="1025" y="743"/>
                  <a:pt x="1041" y="642"/>
                </a:cubicBezTo>
                <a:cubicBezTo>
                  <a:pt x="1063" y="646"/>
                  <a:pt x="1092" y="624"/>
                  <a:pt x="1102" y="586"/>
                </a:cubicBezTo>
                <a:cubicBezTo>
                  <a:pt x="1112" y="547"/>
                  <a:pt x="1124" y="482"/>
                  <a:pt x="1102" y="476"/>
                </a:cubicBezTo>
                <a:cubicBezTo>
                  <a:pt x="1095" y="475"/>
                  <a:pt x="1088" y="476"/>
                  <a:pt x="1081" y="479"/>
                </a:cubicBezTo>
                <a:lnTo>
                  <a:pt x="1081" y="372"/>
                </a:lnTo>
                <a:cubicBezTo>
                  <a:pt x="1085" y="254"/>
                  <a:pt x="1069" y="141"/>
                  <a:pt x="941" y="92"/>
                </a:cubicBezTo>
                <a:cubicBezTo>
                  <a:pt x="918" y="44"/>
                  <a:pt x="916" y="0"/>
                  <a:pt x="916" y="0"/>
                </a:cubicBezTo>
                <a:cubicBezTo>
                  <a:pt x="859" y="52"/>
                  <a:pt x="640" y="73"/>
                  <a:pt x="640" y="73"/>
                </a:cubicBezTo>
                <a:lnTo>
                  <a:pt x="643" y="74"/>
                </a:lnTo>
                <a:cubicBezTo>
                  <a:pt x="366" y="102"/>
                  <a:pt x="406" y="202"/>
                  <a:pt x="406" y="372"/>
                </a:cubicBezTo>
                <a:lnTo>
                  <a:pt x="406" y="479"/>
                </a:lnTo>
                <a:cubicBezTo>
                  <a:pt x="399" y="476"/>
                  <a:pt x="392" y="475"/>
                  <a:pt x="386" y="476"/>
                </a:cubicBezTo>
                <a:cubicBezTo>
                  <a:pt x="363" y="482"/>
                  <a:pt x="370" y="545"/>
                  <a:pt x="380" y="584"/>
                </a:cubicBezTo>
                <a:cubicBezTo>
                  <a:pt x="390" y="622"/>
                  <a:pt x="424" y="647"/>
                  <a:pt x="446" y="642"/>
                </a:cubicBezTo>
                <a:cubicBezTo>
                  <a:pt x="463" y="749"/>
                  <a:pt x="496" y="819"/>
                  <a:pt x="541" y="865"/>
                </a:cubicBezTo>
                <a:cubicBezTo>
                  <a:pt x="329" y="943"/>
                  <a:pt x="178" y="1139"/>
                  <a:pt x="178" y="1368"/>
                </a:cubicBezTo>
                <a:lnTo>
                  <a:pt x="1307" y="1368"/>
                </a:lnTo>
                <a:cubicBezTo>
                  <a:pt x="1306" y="1137"/>
                  <a:pt x="1154" y="941"/>
                  <a:pt x="941" y="864"/>
                </a:cubicBezTo>
                <a:close/>
              </a:path>
            </a:pathLst>
          </a:custGeom>
          <a:gradFill>
            <a:gsLst>
              <a:gs pos="30000">
                <a:srgbClr val="0870D3"/>
              </a:gs>
              <a:gs pos="79000">
                <a:srgbClr val="A0E2FC"/>
              </a:gs>
            </a:gsLst>
            <a:lin ang="8400000" scaled="0"/>
          </a:gradFill>
          <a:ln w="3175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 fontScale="925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 defTabSz="914400"/>
            <a:endParaRPr lang="zh-CN" altLang="en-US" sz="2000" b="1" i="1" dirty="0">
              <a:solidFill>
                <a:schemeClr val="tx1"/>
              </a:solidFill>
              <a:latin typeface="思源黑体 CN Normal" panose="020B0400000000000000" pitchFamily="34" charset="-122"/>
              <a:ea typeface="思源黑体 CN Normal" panose="020B0400000000000000" pitchFamily="34" charset="-122"/>
            </a:endParaRPr>
          </a:p>
        </p:txBody>
      </p:sp>
      <p:sp>
        <p:nvSpPr>
          <p:cNvPr id="22" name="íš1îďê"/>
          <p:cNvSpPr txBox="1"/>
          <p:nvPr/>
        </p:nvSpPr>
        <p:spPr bwMode="auto">
          <a:xfrm>
            <a:off x="5262860" y="5850842"/>
            <a:ext cx="1134312" cy="354439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spcBef>
                <a:spcPct val="0"/>
              </a:spcBef>
            </a:pPr>
            <a:r>
              <a:rPr lang="en-US" altLang="zh-CN" sz="1200" b="1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…Text</a:t>
            </a:r>
          </a:p>
        </p:txBody>
      </p:sp>
      <p:sp>
        <p:nvSpPr>
          <p:cNvPr id="19" name="îŝľîďê"/>
          <p:cNvSpPr/>
          <p:nvPr/>
        </p:nvSpPr>
        <p:spPr>
          <a:xfrm>
            <a:off x="7272409" y="5283343"/>
            <a:ext cx="401606" cy="369435"/>
          </a:xfrm>
          <a:custGeom>
            <a:avLst/>
            <a:gdLst>
              <a:gd name="T0" fmla="*/ 1063 w 1485"/>
              <a:gd name="T1" fmla="*/ 120 h 1368"/>
              <a:gd name="T2" fmla="*/ 1131 w 1485"/>
              <a:gd name="T3" fmla="*/ 88 h 1368"/>
              <a:gd name="T4" fmla="*/ 1154 w 1485"/>
              <a:gd name="T5" fmla="*/ 171 h 1368"/>
              <a:gd name="T6" fmla="*/ 1281 w 1485"/>
              <a:gd name="T7" fmla="*/ 424 h 1368"/>
              <a:gd name="T8" fmla="*/ 1281 w 1485"/>
              <a:gd name="T9" fmla="*/ 522 h 1368"/>
              <a:gd name="T10" fmla="*/ 1299 w 1485"/>
              <a:gd name="T11" fmla="*/ 519 h 1368"/>
              <a:gd name="T12" fmla="*/ 1299 w 1485"/>
              <a:gd name="T13" fmla="*/ 619 h 1368"/>
              <a:gd name="T14" fmla="*/ 1244 w 1485"/>
              <a:gd name="T15" fmla="*/ 670 h 1368"/>
              <a:gd name="T16" fmla="*/ 1153 w 1485"/>
              <a:gd name="T17" fmla="*/ 871 h 1368"/>
              <a:gd name="T18" fmla="*/ 1485 w 1485"/>
              <a:gd name="T19" fmla="*/ 1328 h 1368"/>
              <a:gd name="T20" fmla="*/ 1353 w 1485"/>
              <a:gd name="T21" fmla="*/ 1328 h 1368"/>
              <a:gd name="T22" fmla="*/ 1018 w 1485"/>
              <a:gd name="T23" fmla="*/ 845 h 1368"/>
              <a:gd name="T24" fmla="*/ 1083 w 1485"/>
              <a:gd name="T25" fmla="*/ 682 h 1368"/>
              <a:gd name="T26" fmla="*/ 1148 w 1485"/>
              <a:gd name="T27" fmla="*/ 598 h 1368"/>
              <a:gd name="T28" fmla="*/ 1129 w 1485"/>
              <a:gd name="T29" fmla="*/ 436 h 1368"/>
              <a:gd name="T30" fmla="*/ 1129 w 1485"/>
              <a:gd name="T31" fmla="*/ 373 h 1368"/>
              <a:gd name="T32" fmla="*/ 1063 w 1485"/>
              <a:gd name="T33" fmla="*/ 120 h 1368"/>
              <a:gd name="T34" fmla="*/ 465 w 1485"/>
              <a:gd name="T35" fmla="*/ 846 h 1368"/>
              <a:gd name="T36" fmla="*/ 405 w 1485"/>
              <a:gd name="T37" fmla="*/ 682 h 1368"/>
              <a:gd name="T38" fmla="*/ 334 w 1485"/>
              <a:gd name="T39" fmla="*/ 596 h 1368"/>
              <a:gd name="T40" fmla="*/ 358 w 1485"/>
              <a:gd name="T41" fmla="*/ 436 h 1368"/>
              <a:gd name="T42" fmla="*/ 358 w 1485"/>
              <a:gd name="T43" fmla="*/ 372 h 1368"/>
              <a:gd name="T44" fmla="*/ 357 w 1485"/>
              <a:gd name="T45" fmla="*/ 316 h 1368"/>
              <a:gd name="T46" fmla="*/ 372 w 1485"/>
              <a:gd name="T47" fmla="*/ 161 h 1368"/>
              <a:gd name="T48" fmla="*/ 206 w 1485"/>
              <a:gd name="T49" fmla="*/ 424 h 1368"/>
              <a:gd name="T50" fmla="*/ 206 w 1485"/>
              <a:gd name="T51" fmla="*/ 522 h 1368"/>
              <a:gd name="T52" fmla="*/ 188 w 1485"/>
              <a:gd name="T53" fmla="*/ 519 h 1368"/>
              <a:gd name="T54" fmla="*/ 183 w 1485"/>
              <a:gd name="T55" fmla="*/ 617 h 1368"/>
              <a:gd name="T56" fmla="*/ 243 w 1485"/>
              <a:gd name="T57" fmla="*/ 670 h 1368"/>
              <a:gd name="T58" fmla="*/ 329 w 1485"/>
              <a:gd name="T59" fmla="*/ 872 h 1368"/>
              <a:gd name="T60" fmla="*/ 0 w 1485"/>
              <a:gd name="T61" fmla="*/ 1328 h 1368"/>
              <a:gd name="T62" fmla="*/ 132 w 1485"/>
              <a:gd name="T63" fmla="*/ 1328 h 1368"/>
              <a:gd name="T64" fmla="*/ 465 w 1485"/>
              <a:gd name="T65" fmla="*/ 846 h 1368"/>
              <a:gd name="T66" fmla="*/ 941 w 1485"/>
              <a:gd name="T67" fmla="*/ 864 h 1368"/>
              <a:gd name="T68" fmla="*/ 1041 w 1485"/>
              <a:gd name="T69" fmla="*/ 642 h 1368"/>
              <a:gd name="T70" fmla="*/ 1102 w 1485"/>
              <a:gd name="T71" fmla="*/ 586 h 1368"/>
              <a:gd name="T72" fmla="*/ 1102 w 1485"/>
              <a:gd name="T73" fmla="*/ 476 h 1368"/>
              <a:gd name="T74" fmla="*/ 1081 w 1485"/>
              <a:gd name="T75" fmla="*/ 479 h 1368"/>
              <a:gd name="T76" fmla="*/ 1081 w 1485"/>
              <a:gd name="T77" fmla="*/ 372 h 1368"/>
              <a:gd name="T78" fmla="*/ 941 w 1485"/>
              <a:gd name="T79" fmla="*/ 92 h 1368"/>
              <a:gd name="T80" fmla="*/ 916 w 1485"/>
              <a:gd name="T81" fmla="*/ 0 h 1368"/>
              <a:gd name="T82" fmla="*/ 640 w 1485"/>
              <a:gd name="T83" fmla="*/ 73 h 1368"/>
              <a:gd name="T84" fmla="*/ 643 w 1485"/>
              <a:gd name="T85" fmla="*/ 74 h 1368"/>
              <a:gd name="T86" fmla="*/ 406 w 1485"/>
              <a:gd name="T87" fmla="*/ 372 h 1368"/>
              <a:gd name="T88" fmla="*/ 406 w 1485"/>
              <a:gd name="T89" fmla="*/ 479 h 1368"/>
              <a:gd name="T90" fmla="*/ 386 w 1485"/>
              <a:gd name="T91" fmla="*/ 476 h 1368"/>
              <a:gd name="T92" fmla="*/ 380 w 1485"/>
              <a:gd name="T93" fmla="*/ 584 h 1368"/>
              <a:gd name="T94" fmla="*/ 446 w 1485"/>
              <a:gd name="T95" fmla="*/ 642 h 1368"/>
              <a:gd name="T96" fmla="*/ 541 w 1485"/>
              <a:gd name="T97" fmla="*/ 865 h 1368"/>
              <a:gd name="T98" fmla="*/ 178 w 1485"/>
              <a:gd name="T99" fmla="*/ 1368 h 1368"/>
              <a:gd name="T100" fmla="*/ 1307 w 1485"/>
              <a:gd name="T101" fmla="*/ 1368 h 1368"/>
              <a:gd name="T102" fmla="*/ 941 w 1485"/>
              <a:gd name="T103" fmla="*/ 864 h 1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485" h="1368">
                <a:moveTo>
                  <a:pt x="1063" y="120"/>
                </a:moveTo>
                <a:cubicBezTo>
                  <a:pt x="1092" y="111"/>
                  <a:pt x="1117" y="101"/>
                  <a:pt x="1131" y="88"/>
                </a:cubicBezTo>
                <a:cubicBezTo>
                  <a:pt x="1131" y="88"/>
                  <a:pt x="1132" y="127"/>
                  <a:pt x="1154" y="171"/>
                </a:cubicBezTo>
                <a:cubicBezTo>
                  <a:pt x="1269" y="215"/>
                  <a:pt x="1284" y="318"/>
                  <a:pt x="1281" y="424"/>
                </a:cubicBezTo>
                <a:lnTo>
                  <a:pt x="1281" y="522"/>
                </a:lnTo>
                <a:cubicBezTo>
                  <a:pt x="1287" y="519"/>
                  <a:pt x="1293" y="518"/>
                  <a:pt x="1299" y="519"/>
                </a:cubicBezTo>
                <a:cubicBezTo>
                  <a:pt x="1319" y="525"/>
                  <a:pt x="1308" y="584"/>
                  <a:pt x="1299" y="619"/>
                </a:cubicBezTo>
                <a:cubicBezTo>
                  <a:pt x="1290" y="653"/>
                  <a:pt x="1264" y="674"/>
                  <a:pt x="1244" y="670"/>
                </a:cubicBezTo>
                <a:cubicBezTo>
                  <a:pt x="1230" y="762"/>
                  <a:pt x="1198" y="828"/>
                  <a:pt x="1153" y="871"/>
                </a:cubicBezTo>
                <a:cubicBezTo>
                  <a:pt x="1347" y="941"/>
                  <a:pt x="1485" y="1119"/>
                  <a:pt x="1485" y="1328"/>
                </a:cubicBezTo>
                <a:lnTo>
                  <a:pt x="1353" y="1328"/>
                </a:lnTo>
                <a:cubicBezTo>
                  <a:pt x="1338" y="1123"/>
                  <a:pt x="1209" y="938"/>
                  <a:pt x="1018" y="845"/>
                </a:cubicBezTo>
                <a:cubicBezTo>
                  <a:pt x="1047" y="800"/>
                  <a:pt x="1069" y="746"/>
                  <a:pt x="1083" y="682"/>
                </a:cubicBezTo>
                <a:cubicBezTo>
                  <a:pt x="1113" y="668"/>
                  <a:pt x="1137" y="638"/>
                  <a:pt x="1148" y="598"/>
                </a:cubicBezTo>
                <a:cubicBezTo>
                  <a:pt x="1157" y="564"/>
                  <a:pt x="1182" y="466"/>
                  <a:pt x="1129" y="436"/>
                </a:cubicBezTo>
                <a:lnTo>
                  <a:pt x="1129" y="373"/>
                </a:lnTo>
                <a:cubicBezTo>
                  <a:pt x="1131" y="316"/>
                  <a:pt x="1134" y="203"/>
                  <a:pt x="1063" y="120"/>
                </a:cubicBezTo>
                <a:close/>
                <a:moveTo>
                  <a:pt x="465" y="846"/>
                </a:moveTo>
                <a:cubicBezTo>
                  <a:pt x="438" y="802"/>
                  <a:pt x="418" y="748"/>
                  <a:pt x="405" y="682"/>
                </a:cubicBezTo>
                <a:cubicBezTo>
                  <a:pt x="372" y="668"/>
                  <a:pt x="344" y="635"/>
                  <a:pt x="334" y="596"/>
                </a:cubicBezTo>
                <a:cubicBezTo>
                  <a:pt x="324" y="556"/>
                  <a:pt x="306" y="465"/>
                  <a:pt x="358" y="436"/>
                </a:cubicBezTo>
                <a:lnTo>
                  <a:pt x="358" y="372"/>
                </a:lnTo>
                <a:cubicBezTo>
                  <a:pt x="358" y="352"/>
                  <a:pt x="357" y="334"/>
                  <a:pt x="357" y="316"/>
                </a:cubicBezTo>
                <a:cubicBezTo>
                  <a:pt x="355" y="256"/>
                  <a:pt x="356" y="204"/>
                  <a:pt x="372" y="161"/>
                </a:cubicBezTo>
                <a:cubicBezTo>
                  <a:pt x="175" y="193"/>
                  <a:pt x="206" y="281"/>
                  <a:pt x="206" y="424"/>
                </a:cubicBezTo>
                <a:lnTo>
                  <a:pt x="206" y="522"/>
                </a:lnTo>
                <a:cubicBezTo>
                  <a:pt x="200" y="519"/>
                  <a:pt x="194" y="518"/>
                  <a:pt x="188" y="519"/>
                </a:cubicBezTo>
                <a:cubicBezTo>
                  <a:pt x="168" y="525"/>
                  <a:pt x="174" y="582"/>
                  <a:pt x="183" y="617"/>
                </a:cubicBezTo>
                <a:cubicBezTo>
                  <a:pt x="192" y="651"/>
                  <a:pt x="223" y="674"/>
                  <a:pt x="243" y="670"/>
                </a:cubicBezTo>
                <a:cubicBezTo>
                  <a:pt x="258" y="766"/>
                  <a:pt x="288" y="830"/>
                  <a:pt x="329" y="872"/>
                </a:cubicBezTo>
                <a:cubicBezTo>
                  <a:pt x="137" y="943"/>
                  <a:pt x="0" y="1120"/>
                  <a:pt x="0" y="1328"/>
                </a:cubicBezTo>
                <a:lnTo>
                  <a:pt x="132" y="1328"/>
                </a:lnTo>
                <a:cubicBezTo>
                  <a:pt x="147" y="1124"/>
                  <a:pt x="275" y="939"/>
                  <a:pt x="465" y="846"/>
                </a:cubicBezTo>
                <a:close/>
                <a:moveTo>
                  <a:pt x="941" y="864"/>
                </a:moveTo>
                <a:cubicBezTo>
                  <a:pt x="990" y="816"/>
                  <a:pt x="1025" y="743"/>
                  <a:pt x="1041" y="642"/>
                </a:cubicBezTo>
                <a:cubicBezTo>
                  <a:pt x="1063" y="646"/>
                  <a:pt x="1092" y="624"/>
                  <a:pt x="1102" y="586"/>
                </a:cubicBezTo>
                <a:cubicBezTo>
                  <a:pt x="1112" y="547"/>
                  <a:pt x="1124" y="482"/>
                  <a:pt x="1102" y="476"/>
                </a:cubicBezTo>
                <a:cubicBezTo>
                  <a:pt x="1095" y="475"/>
                  <a:pt x="1088" y="476"/>
                  <a:pt x="1081" y="479"/>
                </a:cubicBezTo>
                <a:lnTo>
                  <a:pt x="1081" y="372"/>
                </a:lnTo>
                <a:cubicBezTo>
                  <a:pt x="1085" y="254"/>
                  <a:pt x="1069" y="141"/>
                  <a:pt x="941" y="92"/>
                </a:cubicBezTo>
                <a:cubicBezTo>
                  <a:pt x="918" y="44"/>
                  <a:pt x="916" y="0"/>
                  <a:pt x="916" y="0"/>
                </a:cubicBezTo>
                <a:cubicBezTo>
                  <a:pt x="859" y="52"/>
                  <a:pt x="640" y="73"/>
                  <a:pt x="640" y="73"/>
                </a:cubicBezTo>
                <a:lnTo>
                  <a:pt x="643" y="74"/>
                </a:lnTo>
                <a:cubicBezTo>
                  <a:pt x="366" y="102"/>
                  <a:pt x="406" y="202"/>
                  <a:pt x="406" y="372"/>
                </a:cubicBezTo>
                <a:lnTo>
                  <a:pt x="406" y="479"/>
                </a:lnTo>
                <a:cubicBezTo>
                  <a:pt x="399" y="476"/>
                  <a:pt x="392" y="475"/>
                  <a:pt x="386" y="476"/>
                </a:cubicBezTo>
                <a:cubicBezTo>
                  <a:pt x="363" y="482"/>
                  <a:pt x="370" y="545"/>
                  <a:pt x="380" y="584"/>
                </a:cubicBezTo>
                <a:cubicBezTo>
                  <a:pt x="390" y="622"/>
                  <a:pt x="424" y="647"/>
                  <a:pt x="446" y="642"/>
                </a:cubicBezTo>
                <a:cubicBezTo>
                  <a:pt x="463" y="749"/>
                  <a:pt x="496" y="819"/>
                  <a:pt x="541" y="865"/>
                </a:cubicBezTo>
                <a:cubicBezTo>
                  <a:pt x="329" y="943"/>
                  <a:pt x="178" y="1139"/>
                  <a:pt x="178" y="1368"/>
                </a:cubicBezTo>
                <a:lnTo>
                  <a:pt x="1307" y="1368"/>
                </a:lnTo>
                <a:cubicBezTo>
                  <a:pt x="1306" y="1137"/>
                  <a:pt x="1154" y="941"/>
                  <a:pt x="941" y="864"/>
                </a:cubicBezTo>
                <a:close/>
              </a:path>
            </a:pathLst>
          </a:custGeom>
          <a:gradFill>
            <a:gsLst>
              <a:gs pos="30000">
                <a:srgbClr val="0870D3"/>
              </a:gs>
              <a:gs pos="79000">
                <a:srgbClr val="A0E2FC"/>
              </a:gs>
            </a:gsLst>
            <a:lin ang="8400000" scaled="0"/>
          </a:gradFill>
          <a:ln w="3175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 fontScale="925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 defTabSz="914400"/>
            <a:endParaRPr lang="zh-CN" altLang="en-US" sz="2000" b="1" i="1" dirty="0">
              <a:solidFill>
                <a:schemeClr val="tx1"/>
              </a:solidFill>
              <a:latin typeface="思源黑体 CN Normal" panose="020B0400000000000000" pitchFamily="34" charset="-122"/>
              <a:ea typeface="思源黑体 CN Normal" panose="020B0400000000000000" pitchFamily="34" charset="-122"/>
            </a:endParaRPr>
          </a:p>
        </p:txBody>
      </p:sp>
      <p:sp>
        <p:nvSpPr>
          <p:cNvPr id="20" name="îš1ïḍé"/>
          <p:cNvSpPr txBox="1"/>
          <p:nvPr/>
        </p:nvSpPr>
        <p:spPr bwMode="auto">
          <a:xfrm>
            <a:off x="6849832" y="5850842"/>
            <a:ext cx="1134312" cy="354439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spcBef>
                <a:spcPct val="0"/>
              </a:spcBef>
            </a:pPr>
            <a:r>
              <a:rPr lang="en-US" altLang="zh-CN" sz="1200" b="1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…Text</a:t>
            </a:r>
          </a:p>
        </p:txBody>
      </p:sp>
      <p:sp>
        <p:nvSpPr>
          <p:cNvPr id="17" name="îṧlïḋé"/>
          <p:cNvSpPr/>
          <p:nvPr/>
        </p:nvSpPr>
        <p:spPr>
          <a:xfrm>
            <a:off x="8859381" y="5283343"/>
            <a:ext cx="401606" cy="369435"/>
          </a:xfrm>
          <a:custGeom>
            <a:avLst/>
            <a:gdLst>
              <a:gd name="T0" fmla="*/ 1063 w 1485"/>
              <a:gd name="T1" fmla="*/ 120 h 1368"/>
              <a:gd name="T2" fmla="*/ 1131 w 1485"/>
              <a:gd name="T3" fmla="*/ 88 h 1368"/>
              <a:gd name="T4" fmla="*/ 1154 w 1485"/>
              <a:gd name="T5" fmla="*/ 171 h 1368"/>
              <a:gd name="T6" fmla="*/ 1281 w 1485"/>
              <a:gd name="T7" fmla="*/ 424 h 1368"/>
              <a:gd name="T8" fmla="*/ 1281 w 1485"/>
              <a:gd name="T9" fmla="*/ 522 h 1368"/>
              <a:gd name="T10" fmla="*/ 1299 w 1485"/>
              <a:gd name="T11" fmla="*/ 519 h 1368"/>
              <a:gd name="T12" fmla="*/ 1299 w 1485"/>
              <a:gd name="T13" fmla="*/ 619 h 1368"/>
              <a:gd name="T14" fmla="*/ 1244 w 1485"/>
              <a:gd name="T15" fmla="*/ 670 h 1368"/>
              <a:gd name="T16" fmla="*/ 1153 w 1485"/>
              <a:gd name="T17" fmla="*/ 871 h 1368"/>
              <a:gd name="T18" fmla="*/ 1485 w 1485"/>
              <a:gd name="T19" fmla="*/ 1328 h 1368"/>
              <a:gd name="T20" fmla="*/ 1353 w 1485"/>
              <a:gd name="T21" fmla="*/ 1328 h 1368"/>
              <a:gd name="T22" fmla="*/ 1018 w 1485"/>
              <a:gd name="T23" fmla="*/ 845 h 1368"/>
              <a:gd name="T24" fmla="*/ 1083 w 1485"/>
              <a:gd name="T25" fmla="*/ 682 h 1368"/>
              <a:gd name="T26" fmla="*/ 1148 w 1485"/>
              <a:gd name="T27" fmla="*/ 598 h 1368"/>
              <a:gd name="T28" fmla="*/ 1129 w 1485"/>
              <a:gd name="T29" fmla="*/ 436 h 1368"/>
              <a:gd name="T30" fmla="*/ 1129 w 1485"/>
              <a:gd name="T31" fmla="*/ 373 h 1368"/>
              <a:gd name="T32" fmla="*/ 1063 w 1485"/>
              <a:gd name="T33" fmla="*/ 120 h 1368"/>
              <a:gd name="T34" fmla="*/ 465 w 1485"/>
              <a:gd name="T35" fmla="*/ 846 h 1368"/>
              <a:gd name="T36" fmla="*/ 405 w 1485"/>
              <a:gd name="T37" fmla="*/ 682 h 1368"/>
              <a:gd name="T38" fmla="*/ 334 w 1485"/>
              <a:gd name="T39" fmla="*/ 596 h 1368"/>
              <a:gd name="T40" fmla="*/ 358 w 1485"/>
              <a:gd name="T41" fmla="*/ 436 h 1368"/>
              <a:gd name="T42" fmla="*/ 358 w 1485"/>
              <a:gd name="T43" fmla="*/ 372 h 1368"/>
              <a:gd name="T44" fmla="*/ 357 w 1485"/>
              <a:gd name="T45" fmla="*/ 316 h 1368"/>
              <a:gd name="T46" fmla="*/ 372 w 1485"/>
              <a:gd name="T47" fmla="*/ 161 h 1368"/>
              <a:gd name="T48" fmla="*/ 206 w 1485"/>
              <a:gd name="T49" fmla="*/ 424 h 1368"/>
              <a:gd name="T50" fmla="*/ 206 w 1485"/>
              <a:gd name="T51" fmla="*/ 522 h 1368"/>
              <a:gd name="T52" fmla="*/ 188 w 1485"/>
              <a:gd name="T53" fmla="*/ 519 h 1368"/>
              <a:gd name="T54" fmla="*/ 183 w 1485"/>
              <a:gd name="T55" fmla="*/ 617 h 1368"/>
              <a:gd name="T56" fmla="*/ 243 w 1485"/>
              <a:gd name="T57" fmla="*/ 670 h 1368"/>
              <a:gd name="T58" fmla="*/ 329 w 1485"/>
              <a:gd name="T59" fmla="*/ 872 h 1368"/>
              <a:gd name="T60" fmla="*/ 0 w 1485"/>
              <a:gd name="T61" fmla="*/ 1328 h 1368"/>
              <a:gd name="T62" fmla="*/ 132 w 1485"/>
              <a:gd name="T63" fmla="*/ 1328 h 1368"/>
              <a:gd name="T64" fmla="*/ 465 w 1485"/>
              <a:gd name="T65" fmla="*/ 846 h 1368"/>
              <a:gd name="T66" fmla="*/ 941 w 1485"/>
              <a:gd name="T67" fmla="*/ 864 h 1368"/>
              <a:gd name="T68" fmla="*/ 1041 w 1485"/>
              <a:gd name="T69" fmla="*/ 642 h 1368"/>
              <a:gd name="T70" fmla="*/ 1102 w 1485"/>
              <a:gd name="T71" fmla="*/ 586 h 1368"/>
              <a:gd name="T72" fmla="*/ 1102 w 1485"/>
              <a:gd name="T73" fmla="*/ 476 h 1368"/>
              <a:gd name="T74" fmla="*/ 1081 w 1485"/>
              <a:gd name="T75" fmla="*/ 479 h 1368"/>
              <a:gd name="T76" fmla="*/ 1081 w 1485"/>
              <a:gd name="T77" fmla="*/ 372 h 1368"/>
              <a:gd name="T78" fmla="*/ 941 w 1485"/>
              <a:gd name="T79" fmla="*/ 92 h 1368"/>
              <a:gd name="T80" fmla="*/ 916 w 1485"/>
              <a:gd name="T81" fmla="*/ 0 h 1368"/>
              <a:gd name="T82" fmla="*/ 640 w 1485"/>
              <a:gd name="T83" fmla="*/ 73 h 1368"/>
              <a:gd name="T84" fmla="*/ 643 w 1485"/>
              <a:gd name="T85" fmla="*/ 74 h 1368"/>
              <a:gd name="T86" fmla="*/ 406 w 1485"/>
              <a:gd name="T87" fmla="*/ 372 h 1368"/>
              <a:gd name="T88" fmla="*/ 406 w 1485"/>
              <a:gd name="T89" fmla="*/ 479 h 1368"/>
              <a:gd name="T90" fmla="*/ 386 w 1485"/>
              <a:gd name="T91" fmla="*/ 476 h 1368"/>
              <a:gd name="T92" fmla="*/ 380 w 1485"/>
              <a:gd name="T93" fmla="*/ 584 h 1368"/>
              <a:gd name="T94" fmla="*/ 446 w 1485"/>
              <a:gd name="T95" fmla="*/ 642 h 1368"/>
              <a:gd name="T96" fmla="*/ 541 w 1485"/>
              <a:gd name="T97" fmla="*/ 865 h 1368"/>
              <a:gd name="T98" fmla="*/ 178 w 1485"/>
              <a:gd name="T99" fmla="*/ 1368 h 1368"/>
              <a:gd name="T100" fmla="*/ 1307 w 1485"/>
              <a:gd name="T101" fmla="*/ 1368 h 1368"/>
              <a:gd name="T102" fmla="*/ 941 w 1485"/>
              <a:gd name="T103" fmla="*/ 864 h 1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485" h="1368">
                <a:moveTo>
                  <a:pt x="1063" y="120"/>
                </a:moveTo>
                <a:cubicBezTo>
                  <a:pt x="1092" y="111"/>
                  <a:pt x="1117" y="101"/>
                  <a:pt x="1131" y="88"/>
                </a:cubicBezTo>
                <a:cubicBezTo>
                  <a:pt x="1131" y="88"/>
                  <a:pt x="1132" y="127"/>
                  <a:pt x="1154" y="171"/>
                </a:cubicBezTo>
                <a:cubicBezTo>
                  <a:pt x="1269" y="215"/>
                  <a:pt x="1284" y="318"/>
                  <a:pt x="1281" y="424"/>
                </a:cubicBezTo>
                <a:lnTo>
                  <a:pt x="1281" y="522"/>
                </a:lnTo>
                <a:cubicBezTo>
                  <a:pt x="1287" y="519"/>
                  <a:pt x="1293" y="518"/>
                  <a:pt x="1299" y="519"/>
                </a:cubicBezTo>
                <a:cubicBezTo>
                  <a:pt x="1319" y="525"/>
                  <a:pt x="1308" y="584"/>
                  <a:pt x="1299" y="619"/>
                </a:cubicBezTo>
                <a:cubicBezTo>
                  <a:pt x="1290" y="653"/>
                  <a:pt x="1264" y="674"/>
                  <a:pt x="1244" y="670"/>
                </a:cubicBezTo>
                <a:cubicBezTo>
                  <a:pt x="1230" y="762"/>
                  <a:pt x="1198" y="828"/>
                  <a:pt x="1153" y="871"/>
                </a:cubicBezTo>
                <a:cubicBezTo>
                  <a:pt x="1347" y="941"/>
                  <a:pt x="1485" y="1119"/>
                  <a:pt x="1485" y="1328"/>
                </a:cubicBezTo>
                <a:lnTo>
                  <a:pt x="1353" y="1328"/>
                </a:lnTo>
                <a:cubicBezTo>
                  <a:pt x="1338" y="1123"/>
                  <a:pt x="1209" y="938"/>
                  <a:pt x="1018" y="845"/>
                </a:cubicBezTo>
                <a:cubicBezTo>
                  <a:pt x="1047" y="800"/>
                  <a:pt x="1069" y="746"/>
                  <a:pt x="1083" y="682"/>
                </a:cubicBezTo>
                <a:cubicBezTo>
                  <a:pt x="1113" y="668"/>
                  <a:pt x="1137" y="638"/>
                  <a:pt x="1148" y="598"/>
                </a:cubicBezTo>
                <a:cubicBezTo>
                  <a:pt x="1157" y="564"/>
                  <a:pt x="1182" y="466"/>
                  <a:pt x="1129" y="436"/>
                </a:cubicBezTo>
                <a:lnTo>
                  <a:pt x="1129" y="373"/>
                </a:lnTo>
                <a:cubicBezTo>
                  <a:pt x="1131" y="316"/>
                  <a:pt x="1134" y="203"/>
                  <a:pt x="1063" y="120"/>
                </a:cubicBezTo>
                <a:close/>
                <a:moveTo>
                  <a:pt x="465" y="846"/>
                </a:moveTo>
                <a:cubicBezTo>
                  <a:pt x="438" y="802"/>
                  <a:pt x="418" y="748"/>
                  <a:pt x="405" y="682"/>
                </a:cubicBezTo>
                <a:cubicBezTo>
                  <a:pt x="372" y="668"/>
                  <a:pt x="344" y="635"/>
                  <a:pt x="334" y="596"/>
                </a:cubicBezTo>
                <a:cubicBezTo>
                  <a:pt x="324" y="556"/>
                  <a:pt x="306" y="465"/>
                  <a:pt x="358" y="436"/>
                </a:cubicBezTo>
                <a:lnTo>
                  <a:pt x="358" y="372"/>
                </a:lnTo>
                <a:cubicBezTo>
                  <a:pt x="358" y="352"/>
                  <a:pt x="357" y="334"/>
                  <a:pt x="357" y="316"/>
                </a:cubicBezTo>
                <a:cubicBezTo>
                  <a:pt x="355" y="256"/>
                  <a:pt x="356" y="204"/>
                  <a:pt x="372" y="161"/>
                </a:cubicBezTo>
                <a:cubicBezTo>
                  <a:pt x="175" y="193"/>
                  <a:pt x="206" y="281"/>
                  <a:pt x="206" y="424"/>
                </a:cubicBezTo>
                <a:lnTo>
                  <a:pt x="206" y="522"/>
                </a:lnTo>
                <a:cubicBezTo>
                  <a:pt x="200" y="519"/>
                  <a:pt x="194" y="518"/>
                  <a:pt x="188" y="519"/>
                </a:cubicBezTo>
                <a:cubicBezTo>
                  <a:pt x="168" y="525"/>
                  <a:pt x="174" y="582"/>
                  <a:pt x="183" y="617"/>
                </a:cubicBezTo>
                <a:cubicBezTo>
                  <a:pt x="192" y="651"/>
                  <a:pt x="223" y="674"/>
                  <a:pt x="243" y="670"/>
                </a:cubicBezTo>
                <a:cubicBezTo>
                  <a:pt x="258" y="766"/>
                  <a:pt x="288" y="830"/>
                  <a:pt x="329" y="872"/>
                </a:cubicBezTo>
                <a:cubicBezTo>
                  <a:pt x="137" y="943"/>
                  <a:pt x="0" y="1120"/>
                  <a:pt x="0" y="1328"/>
                </a:cubicBezTo>
                <a:lnTo>
                  <a:pt x="132" y="1328"/>
                </a:lnTo>
                <a:cubicBezTo>
                  <a:pt x="147" y="1124"/>
                  <a:pt x="275" y="939"/>
                  <a:pt x="465" y="846"/>
                </a:cubicBezTo>
                <a:close/>
                <a:moveTo>
                  <a:pt x="941" y="864"/>
                </a:moveTo>
                <a:cubicBezTo>
                  <a:pt x="990" y="816"/>
                  <a:pt x="1025" y="743"/>
                  <a:pt x="1041" y="642"/>
                </a:cubicBezTo>
                <a:cubicBezTo>
                  <a:pt x="1063" y="646"/>
                  <a:pt x="1092" y="624"/>
                  <a:pt x="1102" y="586"/>
                </a:cubicBezTo>
                <a:cubicBezTo>
                  <a:pt x="1112" y="547"/>
                  <a:pt x="1124" y="482"/>
                  <a:pt x="1102" y="476"/>
                </a:cubicBezTo>
                <a:cubicBezTo>
                  <a:pt x="1095" y="475"/>
                  <a:pt x="1088" y="476"/>
                  <a:pt x="1081" y="479"/>
                </a:cubicBezTo>
                <a:lnTo>
                  <a:pt x="1081" y="372"/>
                </a:lnTo>
                <a:cubicBezTo>
                  <a:pt x="1085" y="254"/>
                  <a:pt x="1069" y="141"/>
                  <a:pt x="941" y="92"/>
                </a:cubicBezTo>
                <a:cubicBezTo>
                  <a:pt x="918" y="44"/>
                  <a:pt x="916" y="0"/>
                  <a:pt x="916" y="0"/>
                </a:cubicBezTo>
                <a:cubicBezTo>
                  <a:pt x="859" y="52"/>
                  <a:pt x="640" y="73"/>
                  <a:pt x="640" y="73"/>
                </a:cubicBezTo>
                <a:lnTo>
                  <a:pt x="643" y="74"/>
                </a:lnTo>
                <a:cubicBezTo>
                  <a:pt x="366" y="102"/>
                  <a:pt x="406" y="202"/>
                  <a:pt x="406" y="372"/>
                </a:cubicBezTo>
                <a:lnTo>
                  <a:pt x="406" y="479"/>
                </a:lnTo>
                <a:cubicBezTo>
                  <a:pt x="399" y="476"/>
                  <a:pt x="392" y="475"/>
                  <a:pt x="386" y="476"/>
                </a:cubicBezTo>
                <a:cubicBezTo>
                  <a:pt x="363" y="482"/>
                  <a:pt x="370" y="545"/>
                  <a:pt x="380" y="584"/>
                </a:cubicBezTo>
                <a:cubicBezTo>
                  <a:pt x="390" y="622"/>
                  <a:pt x="424" y="647"/>
                  <a:pt x="446" y="642"/>
                </a:cubicBezTo>
                <a:cubicBezTo>
                  <a:pt x="463" y="749"/>
                  <a:pt x="496" y="819"/>
                  <a:pt x="541" y="865"/>
                </a:cubicBezTo>
                <a:cubicBezTo>
                  <a:pt x="329" y="943"/>
                  <a:pt x="178" y="1139"/>
                  <a:pt x="178" y="1368"/>
                </a:cubicBezTo>
                <a:lnTo>
                  <a:pt x="1307" y="1368"/>
                </a:lnTo>
                <a:cubicBezTo>
                  <a:pt x="1306" y="1137"/>
                  <a:pt x="1154" y="941"/>
                  <a:pt x="941" y="864"/>
                </a:cubicBezTo>
                <a:close/>
              </a:path>
            </a:pathLst>
          </a:custGeom>
          <a:gradFill>
            <a:gsLst>
              <a:gs pos="30000">
                <a:srgbClr val="0870D3"/>
              </a:gs>
              <a:gs pos="79000">
                <a:srgbClr val="A0E2FC"/>
              </a:gs>
            </a:gsLst>
            <a:lin ang="8400000" scaled="0"/>
          </a:gradFill>
          <a:ln w="3175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 fontScale="925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 defTabSz="914400"/>
            <a:endParaRPr lang="zh-CN" altLang="en-US" sz="2000" b="1" i="1" dirty="0">
              <a:solidFill>
                <a:schemeClr val="tx1"/>
              </a:solidFill>
              <a:latin typeface="思源黑体 CN Normal" panose="020B0400000000000000" pitchFamily="34" charset="-122"/>
              <a:ea typeface="思源黑体 CN Normal" panose="020B0400000000000000" pitchFamily="34" charset="-122"/>
            </a:endParaRPr>
          </a:p>
        </p:txBody>
      </p:sp>
      <p:sp>
        <p:nvSpPr>
          <p:cNvPr id="18" name="iṩḻídê"/>
          <p:cNvSpPr txBox="1"/>
          <p:nvPr/>
        </p:nvSpPr>
        <p:spPr bwMode="auto">
          <a:xfrm>
            <a:off x="8436804" y="5850842"/>
            <a:ext cx="1134312" cy="354439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spcBef>
                <a:spcPct val="0"/>
              </a:spcBef>
            </a:pPr>
            <a:r>
              <a:rPr lang="en-US" altLang="zh-CN" sz="1200" b="1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…Text</a:t>
            </a:r>
          </a:p>
        </p:txBody>
      </p:sp>
      <p:sp>
        <p:nvSpPr>
          <p:cNvPr id="15" name="iSḻiḋê"/>
          <p:cNvSpPr/>
          <p:nvPr/>
        </p:nvSpPr>
        <p:spPr>
          <a:xfrm>
            <a:off x="10446354" y="5283343"/>
            <a:ext cx="401606" cy="369435"/>
          </a:xfrm>
          <a:custGeom>
            <a:avLst/>
            <a:gdLst>
              <a:gd name="T0" fmla="*/ 1063 w 1485"/>
              <a:gd name="T1" fmla="*/ 120 h 1368"/>
              <a:gd name="T2" fmla="*/ 1131 w 1485"/>
              <a:gd name="T3" fmla="*/ 88 h 1368"/>
              <a:gd name="T4" fmla="*/ 1154 w 1485"/>
              <a:gd name="T5" fmla="*/ 171 h 1368"/>
              <a:gd name="T6" fmla="*/ 1281 w 1485"/>
              <a:gd name="T7" fmla="*/ 424 h 1368"/>
              <a:gd name="T8" fmla="*/ 1281 w 1485"/>
              <a:gd name="T9" fmla="*/ 522 h 1368"/>
              <a:gd name="T10" fmla="*/ 1299 w 1485"/>
              <a:gd name="T11" fmla="*/ 519 h 1368"/>
              <a:gd name="T12" fmla="*/ 1299 w 1485"/>
              <a:gd name="T13" fmla="*/ 619 h 1368"/>
              <a:gd name="T14" fmla="*/ 1244 w 1485"/>
              <a:gd name="T15" fmla="*/ 670 h 1368"/>
              <a:gd name="T16" fmla="*/ 1153 w 1485"/>
              <a:gd name="T17" fmla="*/ 871 h 1368"/>
              <a:gd name="T18" fmla="*/ 1485 w 1485"/>
              <a:gd name="T19" fmla="*/ 1328 h 1368"/>
              <a:gd name="T20" fmla="*/ 1353 w 1485"/>
              <a:gd name="T21" fmla="*/ 1328 h 1368"/>
              <a:gd name="T22" fmla="*/ 1018 w 1485"/>
              <a:gd name="T23" fmla="*/ 845 h 1368"/>
              <a:gd name="T24" fmla="*/ 1083 w 1485"/>
              <a:gd name="T25" fmla="*/ 682 h 1368"/>
              <a:gd name="T26" fmla="*/ 1148 w 1485"/>
              <a:gd name="T27" fmla="*/ 598 h 1368"/>
              <a:gd name="T28" fmla="*/ 1129 w 1485"/>
              <a:gd name="T29" fmla="*/ 436 h 1368"/>
              <a:gd name="T30" fmla="*/ 1129 w 1485"/>
              <a:gd name="T31" fmla="*/ 373 h 1368"/>
              <a:gd name="T32" fmla="*/ 1063 w 1485"/>
              <a:gd name="T33" fmla="*/ 120 h 1368"/>
              <a:gd name="T34" fmla="*/ 465 w 1485"/>
              <a:gd name="T35" fmla="*/ 846 h 1368"/>
              <a:gd name="T36" fmla="*/ 405 w 1485"/>
              <a:gd name="T37" fmla="*/ 682 h 1368"/>
              <a:gd name="T38" fmla="*/ 334 w 1485"/>
              <a:gd name="T39" fmla="*/ 596 h 1368"/>
              <a:gd name="T40" fmla="*/ 358 w 1485"/>
              <a:gd name="T41" fmla="*/ 436 h 1368"/>
              <a:gd name="T42" fmla="*/ 358 w 1485"/>
              <a:gd name="T43" fmla="*/ 372 h 1368"/>
              <a:gd name="T44" fmla="*/ 357 w 1485"/>
              <a:gd name="T45" fmla="*/ 316 h 1368"/>
              <a:gd name="T46" fmla="*/ 372 w 1485"/>
              <a:gd name="T47" fmla="*/ 161 h 1368"/>
              <a:gd name="T48" fmla="*/ 206 w 1485"/>
              <a:gd name="T49" fmla="*/ 424 h 1368"/>
              <a:gd name="T50" fmla="*/ 206 w 1485"/>
              <a:gd name="T51" fmla="*/ 522 h 1368"/>
              <a:gd name="T52" fmla="*/ 188 w 1485"/>
              <a:gd name="T53" fmla="*/ 519 h 1368"/>
              <a:gd name="T54" fmla="*/ 183 w 1485"/>
              <a:gd name="T55" fmla="*/ 617 h 1368"/>
              <a:gd name="T56" fmla="*/ 243 w 1485"/>
              <a:gd name="T57" fmla="*/ 670 h 1368"/>
              <a:gd name="T58" fmla="*/ 329 w 1485"/>
              <a:gd name="T59" fmla="*/ 872 h 1368"/>
              <a:gd name="T60" fmla="*/ 0 w 1485"/>
              <a:gd name="T61" fmla="*/ 1328 h 1368"/>
              <a:gd name="T62" fmla="*/ 132 w 1485"/>
              <a:gd name="T63" fmla="*/ 1328 h 1368"/>
              <a:gd name="T64" fmla="*/ 465 w 1485"/>
              <a:gd name="T65" fmla="*/ 846 h 1368"/>
              <a:gd name="T66" fmla="*/ 941 w 1485"/>
              <a:gd name="T67" fmla="*/ 864 h 1368"/>
              <a:gd name="T68" fmla="*/ 1041 w 1485"/>
              <a:gd name="T69" fmla="*/ 642 h 1368"/>
              <a:gd name="T70" fmla="*/ 1102 w 1485"/>
              <a:gd name="T71" fmla="*/ 586 h 1368"/>
              <a:gd name="T72" fmla="*/ 1102 w 1485"/>
              <a:gd name="T73" fmla="*/ 476 h 1368"/>
              <a:gd name="T74" fmla="*/ 1081 w 1485"/>
              <a:gd name="T75" fmla="*/ 479 h 1368"/>
              <a:gd name="T76" fmla="*/ 1081 w 1485"/>
              <a:gd name="T77" fmla="*/ 372 h 1368"/>
              <a:gd name="T78" fmla="*/ 941 w 1485"/>
              <a:gd name="T79" fmla="*/ 92 h 1368"/>
              <a:gd name="T80" fmla="*/ 916 w 1485"/>
              <a:gd name="T81" fmla="*/ 0 h 1368"/>
              <a:gd name="T82" fmla="*/ 640 w 1485"/>
              <a:gd name="T83" fmla="*/ 73 h 1368"/>
              <a:gd name="T84" fmla="*/ 643 w 1485"/>
              <a:gd name="T85" fmla="*/ 74 h 1368"/>
              <a:gd name="T86" fmla="*/ 406 w 1485"/>
              <a:gd name="T87" fmla="*/ 372 h 1368"/>
              <a:gd name="T88" fmla="*/ 406 w 1485"/>
              <a:gd name="T89" fmla="*/ 479 h 1368"/>
              <a:gd name="T90" fmla="*/ 386 w 1485"/>
              <a:gd name="T91" fmla="*/ 476 h 1368"/>
              <a:gd name="T92" fmla="*/ 380 w 1485"/>
              <a:gd name="T93" fmla="*/ 584 h 1368"/>
              <a:gd name="T94" fmla="*/ 446 w 1485"/>
              <a:gd name="T95" fmla="*/ 642 h 1368"/>
              <a:gd name="T96" fmla="*/ 541 w 1485"/>
              <a:gd name="T97" fmla="*/ 865 h 1368"/>
              <a:gd name="T98" fmla="*/ 178 w 1485"/>
              <a:gd name="T99" fmla="*/ 1368 h 1368"/>
              <a:gd name="T100" fmla="*/ 1307 w 1485"/>
              <a:gd name="T101" fmla="*/ 1368 h 1368"/>
              <a:gd name="T102" fmla="*/ 941 w 1485"/>
              <a:gd name="T103" fmla="*/ 864 h 1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485" h="1368">
                <a:moveTo>
                  <a:pt x="1063" y="120"/>
                </a:moveTo>
                <a:cubicBezTo>
                  <a:pt x="1092" y="111"/>
                  <a:pt x="1117" y="101"/>
                  <a:pt x="1131" y="88"/>
                </a:cubicBezTo>
                <a:cubicBezTo>
                  <a:pt x="1131" y="88"/>
                  <a:pt x="1132" y="127"/>
                  <a:pt x="1154" y="171"/>
                </a:cubicBezTo>
                <a:cubicBezTo>
                  <a:pt x="1269" y="215"/>
                  <a:pt x="1284" y="318"/>
                  <a:pt x="1281" y="424"/>
                </a:cubicBezTo>
                <a:lnTo>
                  <a:pt x="1281" y="522"/>
                </a:lnTo>
                <a:cubicBezTo>
                  <a:pt x="1287" y="519"/>
                  <a:pt x="1293" y="518"/>
                  <a:pt x="1299" y="519"/>
                </a:cubicBezTo>
                <a:cubicBezTo>
                  <a:pt x="1319" y="525"/>
                  <a:pt x="1308" y="584"/>
                  <a:pt x="1299" y="619"/>
                </a:cubicBezTo>
                <a:cubicBezTo>
                  <a:pt x="1290" y="653"/>
                  <a:pt x="1264" y="674"/>
                  <a:pt x="1244" y="670"/>
                </a:cubicBezTo>
                <a:cubicBezTo>
                  <a:pt x="1230" y="762"/>
                  <a:pt x="1198" y="828"/>
                  <a:pt x="1153" y="871"/>
                </a:cubicBezTo>
                <a:cubicBezTo>
                  <a:pt x="1347" y="941"/>
                  <a:pt x="1485" y="1119"/>
                  <a:pt x="1485" y="1328"/>
                </a:cubicBezTo>
                <a:lnTo>
                  <a:pt x="1353" y="1328"/>
                </a:lnTo>
                <a:cubicBezTo>
                  <a:pt x="1338" y="1123"/>
                  <a:pt x="1209" y="938"/>
                  <a:pt x="1018" y="845"/>
                </a:cubicBezTo>
                <a:cubicBezTo>
                  <a:pt x="1047" y="800"/>
                  <a:pt x="1069" y="746"/>
                  <a:pt x="1083" y="682"/>
                </a:cubicBezTo>
                <a:cubicBezTo>
                  <a:pt x="1113" y="668"/>
                  <a:pt x="1137" y="638"/>
                  <a:pt x="1148" y="598"/>
                </a:cubicBezTo>
                <a:cubicBezTo>
                  <a:pt x="1157" y="564"/>
                  <a:pt x="1182" y="466"/>
                  <a:pt x="1129" y="436"/>
                </a:cubicBezTo>
                <a:lnTo>
                  <a:pt x="1129" y="373"/>
                </a:lnTo>
                <a:cubicBezTo>
                  <a:pt x="1131" y="316"/>
                  <a:pt x="1134" y="203"/>
                  <a:pt x="1063" y="120"/>
                </a:cubicBezTo>
                <a:close/>
                <a:moveTo>
                  <a:pt x="465" y="846"/>
                </a:moveTo>
                <a:cubicBezTo>
                  <a:pt x="438" y="802"/>
                  <a:pt x="418" y="748"/>
                  <a:pt x="405" y="682"/>
                </a:cubicBezTo>
                <a:cubicBezTo>
                  <a:pt x="372" y="668"/>
                  <a:pt x="344" y="635"/>
                  <a:pt x="334" y="596"/>
                </a:cubicBezTo>
                <a:cubicBezTo>
                  <a:pt x="324" y="556"/>
                  <a:pt x="306" y="465"/>
                  <a:pt x="358" y="436"/>
                </a:cubicBezTo>
                <a:lnTo>
                  <a:pt x="358" y="372"/>
                </a:lnTo>
                <a:cubicBezTo>
                  <a:pt x="358" y="352"/>
                  <a:pt x="357" y="334"/>
                  <a:pt x="357" y="316"/>
                </a:cubicBezTo>
                <a:cubicBezTo>
                  <a:pt x="355" y="256"/>
                  <a:pt x="356" y="204"/>
                  <a:pt x="372" y="161"/>
                </a:cubicBezTo>
                <a:cubicBezTo>
                  <a:pt x="175" y="193"/>
                  <a:pt x="206" y="281"/>
                  <a:pt x="206" y="424"/>
                </a:cubicBezTo>
                <a:lnTo>
                  <a:pt x="206" y="522"/>
                </a:lnTo>
                <a:cubicBezTo>
                  <a:pt x="200" y="519"/>
                  <a:pt x="194" y="518"/>
                  <a:pt x="188" y="519"/>
                </a:cubicBezTo>
                <a:cubicBezTo>
                  <a:pt x="168" y="525"/>
                  <a:pt x="174" y="582"/>
                  <a:pt x="183" y="617"/>
                </a:cubicBezTo>
                <a:cubicBezTo>
                  <a:pt x="192" y="651"/>
                  <a:pt x="223" y="674"/>
                  <a:pt x="243" y="670"/>
                </a:cubicBezTo>
                <a:cubicBezTo>
                  <a:pt x="258" y="766"/>
                  <a:pt x="288" y="830"/>
                  <a:pt x="329" y="872"/>
                </a:cubicBezTo>
                <a:cubicBezTo>
                  <a:pt x="137" y="943"/>
                  <a:pt x="0" y="1120"/>
                  <a:pt x="0" y="1328"/>
                </a:cubicBezTo>
                <a:lnTo>
                  <a:pt x="132" y="1328"/>
                </a:lnTo>
                <a:cubicBezTo>
                  <a:pt x="147" y="1124"/>
                  <a:pt x="275" y="939"/>
                  <a:pt x="465" y="846"/>
                </a:cubicBezTo>
                <a:close/>
                <a:moveTo>
                  <a:pt x="941" y="864"/>
                </a:moveTo>
                <a:cubicBezTo>
                  <a:pt x="990" y="816"/>
                  <a:pt x="1025" y="743"/>
                  <a:pt x="1041" y="642"/>
                </a:cubicBezTo>
                <a:cubicBezTo>
                  <a:pt x="1063" y="646"/>
                  <a:pt x="1092" y="624"/>
                  <a:pt x="1102" y="586"/>
                </a:cubicBezTo>
                <a:cubicBezTo>
                  <a:pt x="1112" y="547"/>
                  <a:pt x="1124" y="482"/>
                  <a:pt x="1102" y="476"/>
                </a:cubicBezTo>
                <a:cubicBezTo>
                  <a:pt x="1095" y="475"/>
                  <a:pt x="1088" y="476"/>
                  <a:pt x="1081" y="479"/>
                </a:cubicBezTo>
                <a:lnTo>
                  <a:pt x="1081" y="372"/>
                </a:lnTo>
                <a:cubicBezTo>
                  <a:pt x="1085" y="254"/>
                  <a:pt x="1069" y="141"/>
                  <a:pt x="941" y="92"/>
                </a:cubicBezTo>
                <a:cubicBezTo>
                  <a:pt x="918" y="44"/>
                  <a:pt x="916" y="0"/>
                  <a:pt x="916" y="0"/>
                </a:cubicBezTo>
                <a:cubicBezTo>
                  <a:pt x="859" y="52"/>
                  <a:pt x="640" y="73"/>
                  <a:pt x="640" y="73"/>
                </a:cubicBezTo>
                <a:lnTo>
                  <a:pt x="643" y="74"/>
                </a:lnTo>
                <a:cubicBezTo>
                  <a:pt x="366" y="102"/>
                  <a:pt x="406" y="202"/>
                  <a:pt x="406" y="372"/>
                </a:cubicBezTo>
                <a:lnTo>
                  <a:pt x="406" y="479"/>
                </a:lnTo>
                <a:cubicBezTo>
                  <a:pt x="399" y="476"/>
                  <a:pt x="392" y="475"/>
                  <a:pt x="386" y="476"/>
                </a:cubicBezTo>
                <a:cubicBezTo>
                  <a:pt x="363" y="482"/>
                  <a:pt x="370" y="545"/>
                  <a:pt x="380" y="584"/>
                </a:cubicBezTo>
                <a:cubicBezTo>
                  <a:pt x="390" y="622"/>
                  <a:pt x="424" y="647"/>
                  <a:pt x="446" y="642"/>
                </a:cubicBezTo>
                <a:cubicBezTo>
                  <a:pt x="463" y="749"/>
                  <a:pt x="496" y="819"/>
                  <a:pt x="541" y="865"/>
                </a:cubicBezTo>
                <a:cubicBezTo>
                  <a:pt x="329" y="943"/>
                  <a:pt x="178" y="1139"/>
                  <a:pt x="178" y="1368"/>
                </a:cubicBezTo>
                <a:lnTo>
                  <a:pt x="1307" y="1368"/>
                </a:lnTo>
                <a:cubicBezTo>
                  <a:pt x="1306" y="1137"/>
                  <a:pt x="1154" y="941"/>
                  <a:pt x="941" y="864"/>
                </a:cubicBezTo>
                <a:close/>
              </a:path>
            </a:pathLst>
          </a:custGeom>
          <a:gradFill>
            <a:gsLst>
              <a:gs pos="30000">
                <a:srgbClr val="0870D3"/>
              </a:gs>
              <a:gs pos="79000">
                <a:srgbClr val="A0E2FC"/>
              </a:gs>
            </a:gsLst>
            <a:lin ang="8400000" scaled="0"/>
          </a:gradFill>
          <a:ln w="3175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 fontScale="925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 defTabSz="914400"/>
            <a:endParaRPr lang="zh-CN" altLang="en-US" sz="2000" b="1" i="1" dirty="0">
              <a:solidFill>
                <a:schemeClr val="tx1"/>
              </a:solidFill>
              <a:latin typeface="思源黑体 CN Normal" panose="020B0400000000000000" pitchFamily="34" charset="-122"/>
              <a:ea typeface="思源黑体 CN Normal" panose="020B0400000000000000" pitchFamily="34" charset="-122"/>
            </a:endParaRPr>
          </a:p>
        </p:txBody>
      </p:sp>
      <p:sp>
        <p:nvSpPr>
          <p:cNvPr id="16" name="íṣ1iďé"/>
          <p:cNvSpPr txBox="1"/>
          <p:nvPr/>
        </p:nvSpPr>
        <p:spPr bwMode="auto">
          <a:xfrm>
            <a:off x="10023777" y="5850842"/>
            <a:ext cx="1134312" cy="354439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spcBef>
                <a:spcPct val="0"/>
              </a:spcBef>
            </a:pPr>
            <a:r>
              <a:rPr lang="en-US" altLang="zh-CN" sz="1200" b="1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…Text</a:t>
            </a:r>
          </a:p>
        </p:txBody>
      </p:sp>
      <p:sp>
        <p:nvSpPr>
          <p:cNvPr id="35" name="admin-with-cogwheels_78948"/>
          <p:cNvSpPr>
            <a:spLocks noChangeAspect="1"/>
          </p:cNvSpPr>
          <p:nvPr/>
        </p:nvSpPr>
        <p:spPr bwMode="auto">
          <a:xfrm>
            <a:off x="1483206" y="2692708"/>
            <a:ext cx="736886" cy="781183"/>
          </a:xfrm>
          <a:custGeom>
            <a:avLst/>
            <a:gdLst>
              <a:gd name="connsiteX0" fmla="*/ 163934 w 574049"/>
              <a:gd name="connsiteY0" fmla="*/ 419229 h 608556"/>
              <a:gd name="connsiteX1" fmla="*/ 243204 w 574049"/>
              <a:gd name="connsiteY1" fmla="*/ 456825 h 608556"/>
              <a:gd name="connsiteX2" fmla="*/ 322474 w 574049"/>
              <a:gd name="connsiteY2" fmla="*/ 419229 h 608556"/>
              <a:gd name="connsiteX3" fmla="*/ 465217 w 574049"/>
              <a:gd name="connsiteY3" fmla="*/ 530768 h 608556"/>
              <a:gd name="connsiteX4" fmla="*/ 476968 w 574049"/>
              <a:gd name="connsiteY4" fmla="*/ 565383 h 608556"/>
              <a:gd name="connsiteX5" fmla="*/ 472634 w 574049"/>
              <a:gd name="connsiteY5" fmla="*/ 594902 h 608556"/>
              <a:gd name="connsiteX6" fmla="*/ 446050 w 574049"/>
              <a:gd name="connsiteY6" fmla="*/ 608556 h 608556"/>
              <a:gd name="connsiteX7" fmla="*/ 40358 w 574049"/>
              <a:gd name="connsiteY7" fmla="*/ 608556 h 608556"/>
              <a:gd name="connsiteX8" fmla="*/ 13871 w 574049"/>
              <a:gd name="connsiteY8" fmla="*/ 594902 h 608556"/>
              <a:gd name="connsiteX9" fmla="*/ 9440 w 574049"/>
              <a:gd name="connsiteY9" fmla="*/ 565383 h 608556"/>
              <a:gd name="connsiteX10" fmla="*/ 21191 w 574049"/>
              <a:gd name="connsiteY10" fmla="*/ 530768 h 608556"/>
              <a:gd name="connsiteX11" fmla="*/ 163934 w 574049"/>
              <a:gd name="connsiteY11" fmla="*/ 419229 h 608556"/>
              <a:gd name="connsiteX12" fmla="*/ 406631 w 574049"/>
              <a:gd name="connsiteY12" fmla="*/ 313875 h 608556"/>
              <a:gd name="connsiteX13" fmla="*/ 472435 w 574049"/>
              <a:gd name="connsiteY13" fmla="*/ 379473 h 608556"/>
              <a:gd name="connsiteX14" fmla="*/ 438040 w 574049"/>
              <a:gd name="connsiteY14" fmla="*/ 436800 h 608556"/>
              <a:gd name="connsiteX15" fmla="*/ 344006 w 574049"/>
              <a:gd name="connsiteY15" fmla="*/ 390920 h 608556"/>
              <a:gd name="connsiteX16" fmla="*/ 371946 w 574049"/>
              <a:gd name="connsiteY16" fmla="*/ 323974 h 608556"/>
              <a:gd name="connsiteX17" fmla="*/ 406631 w 574049"/>
              <a:gd name="connsiteY17" fmla="*/ 313875 h 608556"/>
              <a:gd name="connsiteX18" fmla="*/ 381817 w 574049"/>
              <a:gd name="connsiteY18" fmla="*/ 212472 h 608556"/>
              <a:gd name="connsiteX19" fmla="*/ 431512 w 574049"/>
              <a:gd name="connsiteY19" fmla="*/ 212472 h 608556"/>
              <a:gd name="connsiteX20" fmla="*/ 445284 w 574049"/>
              <a:gd name="connsiteY20" fmla="*/ 226127 h 608556"/>
              <a:gd name="connsiteX21" fmla="*/ 445284 w 574049"/>
              <a:gd name="connsiteY21" fmla="*/ 254301 h 608556"/>
              <a:gd name="connsiteX22" fmla="*/ 468013 w 574049"/>
              <a:gd name="connsiteY22" fmla="*/ 263725 h 608556"/>
              <a:gd name="connsiteX23" fmla="*/ 488045 w 574049"/>
              <a:gd name="connsiteY23" fmla="*/ 243820 h 608556"/>
              <a:gd name="connsiteX24" fmla="*/ 497773 w 574049"/>
              <a:gd name="connsiteY24" fmla="*/ 239781 h 608556"/>
              <a:gd name="connsiteX25" fmla="*/ 507403 w 574049"/>
              <a:gd name="connsiteY25" fmla="*/ 243820 h 608556"/>
              <a:gd name="connsiteX26" fmla="*/ 542556 w 574049"/>
              <a:gd name="connsiteY26" fmla="*/ 278918 h 608556"/>
              <a:gd name="connsiteX27" fmla="*/ 546601 w 574049"/>
              <a:gd name="connsiteY27" fmla="*/ 288630 h 608556"/>
              <a:gd name="connsiteX28" fmla="*/ 542556 w 574049"/>
              <a:gd name="connsiteY28" fmla="*/ 298246 h 608556"/>
              <a:gd name="connsiteX29" fmla="*/ 522620 w 574049"/>
              <a:gd name="connsiteY29" fmla="*/ 318247 h 608556"/>
              <a:gd name="connsiteX30" fmla="*/ 532155 w 574049"/>
              <a:gd name="connsiteY30" fmla="*/ 340941 h 608556"/>
              <a:gd name="connsiteX31" fmla="*/ 560277 w 574049"/>
              <a:gd name="connsiteY31" fmla="*/ 340941 h 608556"/>
              <a:gd name="connsiteX32" fmla="*/ 574049 w 574049"/>
              <a:gd name="connsiteY32" fmla="*/ 354692 h 608556"/>
              <a:gd name="connsiteX33" fmla="*/ 574049 w 574049"/>
              <a:gd name="connsiteY33" fmla="*/ 404310 h 608556"/>
              <a:gd name="connsiteX34" fmla="*/ 570004 w 574049"/>
              <a:gd name="connsiteY34" fmla="*/ 414022 h 608556"/>
              <a:gd name="connsiteX35" fmla="*/ 560277 w 574049"/>
              <a:gd name="connsiteY35" fmla="*/ 418060 h 608556"/>
              <a:gd name="connsiteX36" fmla="*/ 532155 w 574049"/>
              <a:gd name="connsiteY36" fmla="*/ 418060 h 608556"/>
              <a:gd name="connsiteX37" fmla="*/ 522620 w 574049"/>
              <a:gd name="connsiteY37" fmla="*/ 440754 h 608556"/>
              <a:gd name="connsiteX38" fmla="*/ 542652 w 574049"/>
              <a:gd name="connsiteY38" fmla="*/ 460755 h 608556"/>
              <a:gd name="connsiteX39" fmla="*/ 546601 w 574049"/>
              <a:gd name="connsiteY39" fmla="*/ 470371 h 608556"/>
              <a:gd name="connsiteX40" fmla="*/ 542652 w 574049"/>
              <a:gd name="connsiteY40" fmla="*/ 480083 h 608556"/>
              <a:gd name="connsiteX41" fmla="*/ 507500 w 574049"/>
              <a:gd name="connsiteY41" fmla="*/ 515181 h 608556"/>
              <a:gd name="connsiteX42" fmla="*/ 497773 w 574049"/>
              <a:gd name="connsiteY42" fmla="*/ 519220 h 608556"/>
              <a:gd name="connsiteX43" fmla="*/ 493246 w 574049"/>
              <a:gd name="connsiteY43" fmla="*/ 518355 h 608556"/>
              <a:gd name="connsiteX44" fmla="*/ 453182 w 574049"/>
              <a:gd name="connsiteY44" fmla="*/ 451716 h 608556"/>
              <a:gd name="connsiteX45" fmla="*/ 492861 w 574049"/>
              <a:gd name="connsiteY45" fmla="*/ 379501 h 608556"/>
              <a:gd name="connsiteX46" fmla="*/ 406665 w 574049"/>
              <a:gd name="connsiteY46" fmla="*/ 293534 h 608556"/>
              <a:gd name="connsiteX47" fmla="*/ 377098 w 574049"/>
              <a:gd name="connsiteY47" fmla="*/ 299015 h 608556"/>
              <a:gd name="connsiteX48" fmla="*/ 379698 w 574049"/>
              <a:gd name="connsiteY48" fmla="*/ 265167 h 608556"/>
              <a:gd name="connsiteX49" fmla="*/ 373149 w 574049"/>
              <a:gd name="connsiteY49" fmla="*/ 215741 h 608556"/>
              <a:gd name="connsiteX50" fmla="*/ 381817 w 574049"/>
              <a:gd name="connsiteY50" fmla="*/ 212472 h 608556"/>
              <a:gd name="connsiteX51" fmla="*/ 243227 w 574049"/>
              <a:gd name="connsiteY51" fmla="*/ 144222 h 608556"/>
              <a:gd name="connsiteX52" fmla="*/ 348920 w 574049"/>
              <a:gd name="connsiteY52" fmla="*/ 265117 h 608556"/>
              <a:gd name="connsiteX53" fmla="*/ 243190 w 574049"/>
              <a:gd name="connsiteY53" fmla="*/ 426215 h 608556"/>
              <a:gd name="connsiteX54" fmla="*/ 137461 w 574049"/>
              <a:gd name="connsiteY54" fmla="*/ 265117 h 608556"/>
              <a:gd name="connsiteX55" fmla="*/ 243227 w 574049"/>
              <a:gd name="connsiteY55" fmla="*/ 144222 h 608556"/>
              <a:gd name="connsiteX56" fmla="*/ 279862 w 574049"/>
              <a:gd name="connsiteY56" fmla="*/ 119148 h 608556"/>
              <a:gd name="connsiteX57" fmla="*/ 310064 w 574049"/>
              <a:gd name="connsiteY57" fmla="*/ 131181 h 608556"/>
              <a:gd name="connsiteX58" fmla="*/ 279862 w 574049"/>
              <a:gd name="connsiteY58" fmla="*/ 119148 h 608556"/>
              <a:gd name="connsiteX59" fmla="*/ 155080 w 574049"/>
              <a:gd name="connsiteY59" fmla="*/ 94840 h 608556"/>
              <a:gd name="connsiteX60" fmla="*/ 203722 w 574049"/>
              <a:gd name="connsiteY60" fmla="*/ 119842 h 608556"/>
              <a:gd name="connsiteX61" fmla="*/ 117804 w 574049"/>
              <a:gd name="connsiteY61" fmla="*/ 201676 h 608556"/>
              <a:gd name="connsiteX62" fmla="*/ 155080 w 574049"/>
              <a:gd name="connsiteY62" fmla="*/ 94840 h 608556"/>
              <a:gd name="connsiteX63" fmla="*/ 131962 w 574049"/>
              <a:gd name="connsiteY63" fmla="*/ 0 h 608556"/>
              <a:gd name="connsiteX64" fmla="*/ 178101 w 574049"/>
              <a:gd name="connsiteY64" fmla="*/ 0 h 608556"/>
              <a:gd name="connsiteX65" fmla="*/ 190816 w 574049"/>
              <a:gd name="connsiteY65" fmla="*/ 12695 h 608556"/>
              <a:gd name="connsiteX66" fmla="*/ 190816 w 574049"/>
              <a:gd name="connsiteY66" fmla="*/ 38757 h 608556"/>
              <a:gd name="connsiteX67" fmla="*/ 211911 w 574049"/>
              <a:gd name="connsiteY67" fmla="*/ 47509 h 608556"/>
              <a:gd name="connsiteX68" fmla="*/ 230501 w 574049"/>
              <a:gd name="connsiteY68" fmla="*/ 29044 h 608556"/>
              <a:gd name="connsiteX69" fmla="*/ 239459 w 574049"/>
              <a:gd name="connsiteY69" fmla="*/ 25389 h 608556"/>
              <a:gd name="connsiteX70" fmla="*/ 248417 w 574049"/>
              <a:gd name="connsiteY70" fmla="*/ 29044 h 608556"/>
              <a:gd name="connsiteX71" fmla="*/ 280975 w 574049"/>
              <a:gd name="connsiteY71" fmla="*/ 61646 h 608556"/>
              <a:gd name="connsiteX72" fmla="*/ 284731 w 574049"/>
              <a:gd name="connsiteY72" fmla="*/ 70590 h 608556"/>
              <a:gd name="connsiteX73" fmla="*/ 280975 w 574049"/>
              <a:gd name="connsiteY73" fmla="*/ 79534 h 608556"/>
              <a:gd name="connsiteX74" fmla="*/ 262481 w 574049"/>
              <a:gd name="connsiteY74" fmla="*/ 97999 h 608556"/>
              <a:gd name="connsiteX75" fmla="*/ 270379 w 574049"/>
              <a:gd name="connsiteY75" fmla="*/ 116848 h 608556"/>
              <a:gd name="connsiteX76" fmla="*/ 224915 w 574049"/>
              <a:gd name="connsiteY76" fmla="*/ 115502 h 608556"/>
              <a:gd name="connsiteX77" fmla="*/ 155080 w 574049"/>
              <a:gd name="connsiteY77" fmla="*/ 74437 h 608556"/>
              <a:gd name="connsiteX78" fmla="*/ 74458 w 574049"/>
              <a:gd name="connsiteY78" fmla="*/ 154836 h 608556"/>
              <a:gd name="connsiteX79" fmla="*/ 111638 w 574049"/>
              <a:gd name="connsiteY79" fmla="*/ 222445 h 608556"/>
              <a:gd name="connsiteX80" fmla="*/ 106822 w 574049"/>
              <a:gd name="connsiteY80" fmla="*/ 265145 h 608556"/>
              <a:gd name="connsiteX81" fmla="*/ 106822 w 574049"/>
              <a:gd name="connsiteY81" fmla="*/ 265818 h 608556"/>
              <a:gd name="connsiteX82" fmla="*/ 98153 w 574049"/>
              <a:gd name="connsiteY82" fmla="*/ 262163 h 608556"/>
              <a:gd name="connsiteX83" fmla="*/ 79659 w 574049"/>
              <a:gd name="connsiteY83" fmla="*/ 280628 h 608556"/>
              <a:gd name="connsiteX84" fmla="*/ 70701 w 574049"/>
              <a:gd name="connsiteY84" fmla="*/ 284379 h 608556"/>
              <a:gd name="connsiteX85" fmla="*/ 61647 w 574049"/>
              <a:gd name="connsiteY85" fmla="*/ 280628 h 608556"/>
              <a:gd name="connsiteX86" fmla="*/ 29089 w 574049"/>
              <a:gd name="connsiteY86" fmla="*/ 248122 h 608556"/>
              <a:gd name="connsiteX87" fmla="*/ 29089 w 574049"/>
              <a:gd name="connsiteY87" fmla="*/ 230138 h 608556"/>
              <a:gd name="connsiteX88" fmla="*/ 47583 w 574049"/>
              <a:gd name="connsiteY88" fmla="*/ 211673 h 608556"/>
              <a:gd name="connsiteX89" fmla="*/ 38722 w 574049"/>
              <a:gd name="connsiteY89" fmla="*/ 190612 h 608556"/>
              <a:gd name="connsiteX90" fmla="*/ 12715 w 574049"/>
              <a:gd name="connsiteY90" fmla="*/ 190612 h 608556"/>
              <a:gd name="connsiteX91" fmla="*/ 0 w 574049"/>
              <a:gd name="connsiteY91" fmla="*/ 177821 h 608556"/>
              <a:gd name="connsiteX92" fmla="*/ 0 w 574049"/>
              <a:gd name="connsiteY92" fmla="*/ 131851 h 608556"/>
              <a:gd name="connsiteX93" fmla="*/ 12715 w 574049"/>
              <a:gd name="connsiteY93" fmla="*/ 119156 h 608556"/>
              <a:gd name="connsiteX94" fmla="*/ 38818 w 574049"/>
              <a:gd name="connsiteY94" fmla="*/ 119156 h 608556"/>
              <a:gd name="connsiteX95" fmla="*/ 47583 w 574049"/>
              <a:gd name="connsiteY95" fmla="*/ 98095 h 608556"/>
              <a:gd name="connsiteX96" fmla="*/ 29089 w 574049"/>
              <a:gd name="connsiteY96" fmla="*/ 79630 h 608556"/>
              <a:gd name="connsiteX97" fmla="*/ 25333 w 574049"/>
              <a:gd name="connsiteY97" fmla="*/ 70590 h 608556"/>
              <a:gd name="connsiteX98" fmla="*/ 29089 w 574049"/>
              <a:gd name="connsiteY98" fmla="*/ 61646 h 608556"/>
              <a:gd name="connsiteX99" fmla="*/ 61647 w 574049"/>
              <a:gd name="connsiteY99" fmla="*/ 29044 h 608556"/>
              <a:gd name="connsiteX100" fmla="*/ 70701 w 574049"/>
              <a:gd name="connsiteY100" fmla="*/ 25389 h 608556"/>
              <a:gd name="connsiteX101" fmla="*/ 79659 w 574049"/>
              <a:gd name="connsiteY101" fmla="*/ 29140 h 608556"/>
              <a:gd name="connsiteX102" fmla="*/ 98153 w 574049"/>
              <a:gd name="connsiteY102" fmla="*/ 47509 h 608556"/>
              <a:gd name="connsiteX103" fmla="*/ 119248 w 574049"/>
              <a:gd name="connsiteY103" fmla="*/ 38757 h 608556"/>
              <a:gd name="connsiteX104" fmla="*/ 119248 w 574049"/>
              <a:gd name="connsiteY104" fmla="*/ 12695 h 608556"/>
              <a:gd name="connsiteX105" fmla="*/ 131962 w 574049"/>
              <a:gd name="connsiteY105" fmla="*/ 0 h 6085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</a:cxnLst>
            <a:rect l="l" t="t" r="r" b="b"/>
            <a:pathLst>
              <a:path w="574049" h="608556">
                <a:moveTo>
                  <a:pt x="163934" y="419229"/>
                </a:moveTo>
                <a:cubicBezTo>
                  <a:pt x="185702" y="442210"/>
                  <a:pt x="212671" y="456825"/>
                  <a:pt x="243204" y="456825"/>
                </a:cubicBezTo>
                <a:cubicBezTo>
                  <a:pt x="273737" y="456825"/>
                  <a:pt x="300706" y="442210"/>
                  <a:pt x="322474" y="419229"/>
                </a:cubicBezTo>
                <a:cubicBezTo>
                  <a:pt x="387585" y="424998"/>
                  <a:pt x="443835" y="468075"/>
                  <a:pt x="465217" y="530768"/>
                </a:cubicBezTo>
                <a:lnTo>
                  <a:pt x="476968" y="565383"/>
                </a:lnTo>
                <a:cubicBezTo>
                  <a:pt x="480339" y="575383"/>
                  <a:pt x="478702" y="586344"/>
                  <a:pt x="472634" y="594902"/>
                </a:cubicBezTo>
                <a:cubicBezTo>
                  <a:pt x="466469" y="603460"/>
                  <a:pt x="456549" y="608556"/>
                  <a:pt x="446050" y="608556"/>
                </a:cubicBezTo>
                <a:lnTo>
                  <a:pt x="40358" y="608556"/>
                </a:lnTo>
                <a:cubicBezTo>
                  <a:pt x="29859" y="608556"/>
                  <a:pt x="19939" y="603460"/>
                  <a:pt x="13871" y="594902"/>
                </a:cubicBezTo>
                <a:cubicBezTo>
                  <a:pt x="7706" y="586344"/>
                  <a:pt x="6069" y="575383"/>
                  <a:pt x="9440" y="565383"/>
                </a:cubicBezTo>
                <a:lnTo>
                  <a:pt x="21191" y="530768"/>
                </a:lnTo>
                <a:cubicBezTo>
                  <a:pt x="42573" y="468075"/>
                  <a:pt x="98919" y="424998"/>
                  <a:pt x="163934" y="419229"/>
                </a:cubicBezTo>
                <a:close/>
                <a:moveTo>
                  <a:pt x="406631" y="313875"/>
                </a:moveTo>
                <a:cubicBezTo>
                  <a:pt x="442857" y="313875"/>
                  <a:pt x="472435" y="343308"/>
                  <a:pt x="472435" y="379473"/>
                </a:cubicBezTo>
                <a:cubicBezTo>
                  <a:pt x="472435" y="404289"/>
                  <a:pt x="458369" y="425642"/>
                  <a:pt x="438040" y="436800"/>
                </a:cubicBezTo>
                <a:cubicBezTo>
                  <a:pt x="411641" y="413523"/>
                  <a:pt x="379269" y="397556"/>
                  <a:pt x="344006" y="390920"/>
                </a:cubicBezTo>
                <a:cubicBezTo>
                  <a:pt x="356435" y="370913"/>
                  <a:pt x="365973" y="347925"/>
                  <a:pt x="371946" y="323974"/>
                </a:cubicBezTo>
                <a:cubicBezTo>
                  <a:pt x="382063" y="317626"/>
                  <a:pt x="393913" y="313875"/>
                  <a:pt x="406631" y="313875"/>
                </a:cubicBezTo>
                <a:close/>
                <a:moveTo>
                  <a:pt x="381817" y="212472"/>
                </a:moveTo>
                <a:lnTo>
                  <a:pt x="431512" y="212472"/>
                </a:lnTo>
                <a:cubicBezTo>
                  <a:pt x="439121" y="212472"/>
                  <a:pt x="445284" y="218530"/>
                  <a:pt x="445284" y="226127"/>
                </a:cubicBezTo>
                <a:lnTo>
                  <a:pt x="445284" y="254301"/>
                </a:lnTo>
                <a:cubicBezTo>
                  <a:pt x="453182" y="256705"/>
                  <a:pt x="460790" y="259879"/>
                  <a:pt x="468013" y="263725"/>
                </a:cubicBezTo>
                <a:lnTo>
                  <a:pt x="488045" y="243820"/>
                </a:lnTo>
                <a:cubicBezTo>
                  <a:pt x="490742" y="241127"/>
                  <a:pt x="494209" y="239781"/>
                  <a:pt x="497773" y="239781"/>
                </a:cubicBezTo>
                <a:cubicBezTo>
                  <a:pt x="501240" y="239781"/>
                  <a:pt x="504803" y="241127"/>
                  <a:pt x="507403" y="243820"/>
                </a:cubicBezTo>
                <a:lnTo>
                  <a:pt x="542556" y="278918"/>
                </a:lnTo>
                <a:cubicBezTo>
                  <a:pt x="545157" y="281514"/>
                  <a:pt x="546601" y="284976"/>
                  <a:pt x="546601" y="288630"/>
                </a:cubicBezTo>
                <a:cubicBezTo>
                  <a:pt x="546601" y="292188"/>
                  <a:pt x="545157" y="295746"/>
                  <a:pt x="542556" y="298246"/>
                </a:cubicBezTo>
                <a:lnTo>
                  <a:pt x="522620" y="318247"/>
                </a:lnTo>
                <a:cubicBezTo>
                  <a:pt x="526473" y="325459"/>
                  <a:pt x="529651" y="333056"/>
                  <a:pt x="532155" y="340941"/>
                </a:cubicBezTo>
                <a:lnTo>
                  <a:pt x="560277" y="340941"/>
                </a:lnTo>
                <a:cubicBezTo>
                  <a:pt x="567885" y="340941"/>
                  <a:pt x="574049" y="347095"/>
                  <a:pt x="574049" y="354692"/>
                </a:cubicBezTo>
                <a:lnTo>
                  <a:pt x="574049" y="404310"/>
                </a:lnTo>
                <a:cubicBezTo>
                  <a:pt x="574049" y="407964"/>
                  <a:pt x="572605" y="411425"/>
                  <a:pt x="570004" y="414022"/>
                </a:cubicBezTo>
                <a:cubicBezTo>
                  <a:pt x="567500" y="416618"/>
                  <a:pt x="563937" y="418060"/>
                  <a:pt x="560277" y="418060"/>
                </a:cubicBezTo>
                <a:lnTo>
                  <a:pt x="532155" y="418060"/>
                </a:lnTo>
                <a:cubicBezTo>
                  <a:pt x="529651" y="425946"/>
                  <a:pt x="526473" y="433542"/>
                  <a:pt x="522620" y="440754"/>
                </a:cubicBezTo>
                <a:lnTo>
                  <a:pt x="542652" y="460755"/>
                </a:lnTo>
                <a:cubicBezTo>
                  <a:pt x="545157" y="463255"/>
                  <a:pt x="546601" y="466813"/>
                  <a:pt x="546601" y="470371"/>
                </a:cubicBezTo>
                <a:cubicBezTo>
                  <a:pt x="546601" y="474025"/>
                  <a:pt x="545157" y="477487"/>
                  <a:pt x="542652" y="480083"/>
                </a:cubicBezTo>
                <a:lnTo>
                  <a:pt x="507500" y="515181"/>
                </a:lnTo>
                <a:cubicBezTo>
                  <a:pt x="504803" y="517874"/>
                  <a:pt x="501240" y="519220"/>
                  <a:pt x="497773" y="519220"/>
                </a:cubicBezTo>
                <a:cubicBezTo>
                  <a:pt x="496232" y="519220"/>
                  <a:pt x="494691" y="518835"/>
                  <a:pt x="493246" y="518355"/>
                </a:cubicBezTo>
                <a:cubicBezTo>
                  <a:pt x="484289" y="493161"/>
                  <a:pt x="470517" y="470660"/>
                  <a:pt x="453182" y="451716"/>
                </a:cubicBezTo>
                <a:cubicBezTo>
                  <a:pt x="476970" y="436331"/>
                  <a:pt x="492861" y="409791"/>
                  <a:pt x="492861" y="379501"/>
                </a:cubicBezTo>
                <a:cubicBezTo>
                  <a:pt x="492861" y="332094"/>
                  <a:pt x="454145" y="293534"/>
                  <a:pt x="406665" y="293534"/>
                </a:cubicBezTo>
                <a:cubicBezTo>
                  <a:pt x="396263" y="293534"/>
                  <a:pt x="386440" y="295650"/>
                  <a:pt x="377098" y="299015"/>
                </a:cubicBezTo>
                <a:cubicBezTo>
                  <a:pt x="378735" y="287765"/>
                  <a:pt x="379698" y="276418"/>
                  <a:pt x="379698" y="265167"/>
                </a:cubicBezTo>
                <a:cubicBezTo>
                  <a:pt x="379698" y="247570"/>
                  <a:pt x="377387" y="231031"/>
                  <a:pt x="373149" y="215741"/>
                </a:cubicBezTo>
                <a:cubicBezTo>
                  <a:pt x="375557" y="213818"/>
                  <a:pt x="378542" y="212472"/>
                  <a:pt x="381817" y="212472"/>
                </a:cubicBezTo>
                <a:close/>
                <a:moveTo>
                  <a:pt x="243227" y="144222"/>
                </a:moveTo>
                <a:cubicBezTo>
                  <a:pt x="296103" y="144270"/>
                  <a:pt x="348968" y="184617"/>
                  <a:pt x="348920" y="265117"/>
                </a:cubicBezTo>
                <a:cubicBezTo>
                  <a:pt x="348920" y="342829"/>
                  <a:pt x="301640" y="426215"/>
                  <a:pt x="243190" y="426215"/>
                </a:cubicBezTo>
                <a:cubicBezTo>
                  <a:pt x="184837" y="426215"/>
                  <a:pt x="137461" y="342829"/>
                  <a:pt x="137461" y="265117"/>
                </a:cubicBezTo>
                <a:cubicBezTo>
                  <a:pt x="137461" y="184424"/>
                  <a:pt x="190350" y="144174"/>
                  <a:pt x="243227" y="144222"/>
                </a:cubicBezTo>
                <a:close/>
                <a:moveTo>
                  <a:pt x="279862" y="119148"/>
                </a:moveTo>
                <a:cubicBezTo>
                  <a:pt x="294336" y="119148"/>
                  <a:pt x="309292" y="116645"/>
                  <a:pt x="310064" y="131181"/>
                </a:cubicBezTo>
                <a:cubicBezTo>
                  <a:pt x="300704" y="125983"/>
                  <a:pt x="290573" y="121940"/>
                  <a:pt x="279862" y="119148"/>
                </a:cubicBezTo>
                <a:close/>
                <a:moveTo>
                  <a:pt x="155080" y="94840"/>
                </a:moveTo>
                <a:cubicBezTo>
                  <a:pt x="175115" y="94840"/>
                  <a:pt x="192838" y="104745"/>
                  <a:pt x="203722" y="119842"/>
                </a:cubicBezTo>
                <a:cubicBezTo>
                  <a:pt x="163749" y="131478"/>
                  <a:pt x="133216" y="160807"/>
                  <a:pt x="117804" y="201676"/>
                </a:cubicBezTo>
                <a:cubicBezTo>
                  <a:pt x="72823" y="165904"/>
                  <a:pt x="98733" y="94840"/>
                  <a:pt x="155080" y="94840"/>
                </a:cubicBezTo>
                <a:close/>
                <a:moveTo>
                  <a:pt x="131962" y="0"/>
                </a:moveTo>
                <a:lnTo>
                  <a:pt x="178101" y="0"/>
                </a:lnTo>
                <a:cubicBezTo>
                  <a:pt x="185133" y="0"/>
                  <a:pt x="190816" y="5674"/>
                  <a:pt x="190816" y="12695"/>
                </a:cubicBezTo>
                <a:lnTo>
                  <a:pt x="190816" y="38757"/>
                </a:lnTo>
                <a:cubicBezTo>
                  <a:pt x="198233" y="41065"/>
                  <a:pt x="205265" y="44047"/>
                  <a:pt x="211911" y="47509"/>
                </a:cubicBezTo>
                <a:lnTo>
                  <a:pt x="230501" y="29044"/>
                </a:lnTo>
                <a:cubicBezTo>
                  <a:pt x="232909" y="26543"/>
                  <a:pt x="236184" y="25389"/>
                  <a:pt x="239459" y="25389"/>
                </a:cubicBezTo>
                <a:cubicBezTo>
                  <a:pt x="242734" y="25389"/>
                  <a:pt x="245913" y="26543"/>
                  <a:pt x="248417" y="29044"/>
                </a:cubicBezTo>
                <a:lnTo>
                  <a:pt x="280975" y="61646"/>
                </a:lnTo>
                <a:cubicBezTo>
                  <a:pt x="283383" y="63954"/>
                  <a:pt x="284731" y="67224"/>
                  <a:pt x="284731" y="70590"/>
                </a:cubicBezTo>
                <a:cubicBezTo>
                  <a:pt x="284731" y="73956"/>
                  <a:pt x="283383" y="77226"/>
                  <a:pt x="280975" y="79534"/>
                </a:cubicBezTo>
                <a:lnTo>
                  <a:pt x="262481" y="97999"/>
                </a:lnTo>
                <a:cubicBezTo>
                  <a:pt x="265659" y="103961"/>
                  <a:pt x="268260" y="110405"/>
                  <a:pt x="270379" y="116848"/>
                </a:cubicBezTo>
                <a:cubicBezTo>
                  <a:pt x="253619" y="113675"/>
                  <a:pt x="239748" y="113675"/>
                  <a:pt x="224915" y="115502"/>
                </a:cubicBezTo>
                <a:cubicBezTo>
                  <a:pt x="211044" y="91171"/>
                  <a:pt x="185133" y="74437"/>
                  <a:pt x="155080" y="74437"/>
                </a:cubicBezTo>
                <a:cubicBezTo>
                  <a:pt x="110675" y="74437"/>
                  <a:pt x="74458" y="110501"/>
                  <a:pt x="74458" y="154836"/>
                </a:cubicBezTo>
                <a:cubicBezTo>
                  <a:pt x="74458" y="183207"/>
                  <a:pt x="89388" y="208115"/>
                  <a:pt x="111638" y="222445"/>
                </a:cubicBezTo>
                <a:cubicBezTo>
                  <a:pt x="108556" y="235812"/>
                  <a:pt x="106822" y="250046"/>
                  <a:pt x="106822" y="265145"/>
                </a:cubicBezTo>
                <a:cubicBezTo>
                  <a:pt x="106822" y="265337"/>
                  <a:pt x="106822" y="265626"/>
                  <a:pt x="106822" y="265818"/>
                </a:cubicBezTo>
                <a:cubicBezTo>
                  <a:pt x="104029" y="264568"/>
                  <a:pt x="100946" y="263606"/>
                  <a:pt x="98153" y="262163"/>
                </a:cubicBezTo>
                <a:lnTo>
                  <a:pt x="79659" y="280628"/>
                </a:lnTo>
                <a:cubicBezTo>
                  <a:pt x="77251" y="283033"/>
                  <a:pt x="74072" y="284379"/>
                  <a:pt x="70701" y="284379"/>
                </a:cubicBezTo>
                <a:cubicBezTo>
                  <a:pt x="67330" y="284379"/>
                  <a:pt x="64055" y="283033"/>
                  <a:pt x="61647" y="280628"/>
                </a:cubicBezTo>
                <a:lnTo>
                  <a:pt x="29089" y="248122"/>
                </a:lnTo>
                <a:cubicBezTo>
                  <a:pt x="24081" y="243121"/>
                  <a:pt x="24081" y="235043"/>
                  <a:pt x="29089" y="230138"/>
                </a:cubicBezTo>
                <a:lnTo>
                  <a:pt x="47583" y="211673"/>
                </a:lnTo>
                <a:cubicBezTo>
                  <a:pt x="44020" y="204941"/>
                  <a:pt x="41034" y="197921"/>
                  <a:pt x="38722" y="190612"/>
                </a:cubicBezTo>
                <a:lnTo>
                  <a:pt x="12715" y="190612"/>
                </a:lnTo>
                <a:cubicBezTo>
                  <a:pt x="5683" y="190612"/>
                  <a:pt x="0" y="184842"/>
                  <a:pt x="0" y="177821"/>
                </a:cubicBezTo>
                <a:lnTo>
                  <a:pt x="0" y="131851"/>
                </a:lnTo>
                <a:cubicBezTo>
                  <a:pt x="0" y="124831"/>
                  <a:pt x="5683" y="119156"/>
                  <a:pt x="12715" y="119156"/>
                </a:cubicBezTo>
                <a:lnTo>
                  <a:pt x="38818" y="119156"/>
                </a:lnTo>
                <a:cubicBezTo>
                  <a:pt x="41034" y="111751"/>
                  <a:pt x="44020" y="104731"/>
                  <a:pt x="47583" y="98095"/>
                </a:cubicBezTo>
                <a:lnTo>
                  <a:pt x="29089" y="79630"/>
                </a:lnTo>
                <a:cubicBezTo>
                  <a:pt x="26681" y="77226"/>
                  <a:pt x="25333" y="73956"/>
                  <a:pt x="25333" y="70590"/>
                </a:cubicBezTo>
                <a:cubicBezTo>
                  <a:pt x="25333" y="67224"/>
                  <a:pt x="26681" y="63954"/>
                  <a:pt x="29089" y="61646"/>
                </a:cubicBezTo>
                <a:lnTo>
                  <a:pt x="61647" y="29044"/>
                </a:lnTo>
                <a:cubicBezTo>
                  <a:pt x="64151" y="26639"/>
                  <a:pt x="67426" y="25389"/>
                  <a:pt x="70701" y="25389"/>
                </a:cubicBezTo>
                <a:cubicBezTo>
                  <a:pt x="73976" y="25389"/>
                  <a:pt x="77155" y="26639"/>
                  <a:pt x="79659" y="29140"/>
                </a:cubicBezTo>
                <a:lnTo>
                  <a:pt x="98153" y="47509"/>
                </a:lnTo>
                <a:cubicBezTo>
                  <a:pt x="104896" y="44047"/>
                  <a:pt x="111927" y="41065"/>
                  <a:pt x="119248" y="38757"/>
                </a:cubicBezTo>
                <a:lnTo>
                  <a:pt x="119248" y="12695"/>
                </a:lnTo>
                <a:cubicBezTo>
                  <a:pt x="119248" y="5674"/>
                  <a:pt x="125027" y="0"/>
                  <a:pt x="131962" y="0"/>
                </a:cubicBezTo>
                <a:close/>
              </a:path>
            </a:pathLst>
          </a:custGeom>
          <a:gradFill>
            <a:gsLst>
              <a:gs pos="28000">
                <a:srgbClr val="0870D3"/>
              </a:gs>
              <a:gs pos="100000">
                <a:srgbClr val="4EBCF7"/>
              </a:gs>
            </a:gsLst>
            <a:lin ang="10800000" scaled="0"/>
          </a:gradFill>
          <a:ln>
            <a:noFill/>
          </a:ln>
        </p:spPr>
      </p:sp>
      <p:sp>
        <p:nvSpPr>
          <p:cNvPr id="36" name="progress-report_18229"/>
          <p:cNvSpPr>
            <a:spLocks noChangeAspect="1"/>
          </p:cNvSpPr>
          <p:nvPr/>
        </p:nvSpPr>
        <p:spPr bwMode="auto">
          <a:xfrm>
            <a:off x="4290048" y="1795677"/>
            <a:ext cx="781182" cy="708825"/>
          </a:xfrm>
          <a:custGeom>
            <a:avLst/>
            <a:gdLst>
              <a:gd name="connsiteX0" fmla="*/ 116112 w 607919"/>
              <a:gd name="connsiteY0" fmla="*/ 473652 h 551610"/>
              <a:gd name="connsiteX1" fmla="*/ 118901 w 607919"/>
              <a:gd name="connsiteY1" fmla="*/ 480423 h 551610"/>
              <a:gd name="connsiteX2" fmla="*/ 118901 w 607919"/>
              <a:gd name="connsiteY2" fmla="*/ 551610 h 551610"/>
              <a:gd name="connsiteX3" fmla="*/ 55604 w 607919"/>
              <a:gd name="connsiteY3" fmla="*/ 551610 h 551610"/>
              <a:gd name="connsiteX4" fmla="*/ 55604 w 607919"/>
              <a:gd name="connsiteY4" fmla="*/ 540851 h 551610"/>
              <a:gd name="connsiteX5" fmla="*/ 65255 w 607919"/>
              <a:gd name="connsiteY5" fmla="*/ 520583 h 551610"/>
              <a:gd name="connsiteX6" fmla="*/ 83555 w 607919"/>
              <a:gd name="connsiteY6" fmla="*/ 502317 h 551610"/>
              <a:gd name="connsiteX7" fmla="*/ 109375 w 607919"/>
              <a:gd name="connsiteY7" fmla="*/ 476545 h 551610"/>
              <a:gd name="connsiteX8" fmla="*/ 116112 w 607919"/>
              <a:gd name="connsiteY8" fmla="*/ 473652 h 551610"/>
              <a:gd name="connsiteX9" fmla="*/ 199155 w 607919"/>
              <a:gd name="connsiteY9" fmla="*/ 390799 h 551610"/>
              <a:gd name="connsiteX10" fmla="*/ 201956 w 607919"/>
              <a:gd name="connsiteY10" fmla="*/ 397632 h 551610"/>
              <a:gd name="connsiteX11" fmla="*/ 201956 w 607919"/>
              <a:gd name="connsiteY11" fmla="*/ 551610 h 551610"/>
              <a:gd name="connsiteX12" fmla="*/ 145363 w 607919"/>
              <a:gd name="connsiteY12" fmla="*/ 551610 h 551610"/>
              <a:gd name="connsiteX13" fmla="*/ 145363 w 607919"/>
              <a:gd name="connsiteY13" fmla="*/ 454170 h 551610"/>
              <a:gd name="connsiteX14" fmla="*/ 154879 w 607919"/>
              <a:gd name="connsiteY14" fmla="*/ 431030 h 551610"/>
              <a:gd name="connsiteX15" fmla="*/ 192315 w 607919"/>
              <a:gd name="connsiteY15" fmla="*/ 393630 h 551610"/>
              <a:gd name="connsiteX16" fmla="*/ 199155 w 607919"/>
              <a:gd name="connsiteY16" fmla="*/ 390799 h 551610"/>
              <a:gd name="connsiteX17" fmla="*/ 231082 w 607919"/>
              <a:gd name="connsiteY17" fmla="*/ 388245 h 551610"/>
              <a:gd name="connsiteX18" fmla="*/ 237930 w 607919"/>
              <a:gd name="connsiteY18" fmla="*/ 391091 h 551610"/>
              <a:gd name="connsiteX19" fmla="*/ 266763 w 607919"/>
              <a:gd name="connsiteY19" fmla="*/ 419867 h 551610"/>
              <a:gd name="connsiteX20" fmla="*/ 275915 w 607919"/>
              <a:gd name="connsiteY20" fmla="*/ 428875 h 551610"/>
              <a:gd name="connsiteX21" fmla="*/ 284941 w 607919"/>
              <a:gd name="connsiteY21" fmla="*/ 451520 h 551610"/>
              <a:gd name="connsiteX22" fmla="*/ 284941 w 607919"/>
              <a:gd name="connsiteY22" fmla="*/ 551610 h 551610"/>
              <a:gd name="connsiteX23" fmla="*/ 228277 w 607919"/>
              <a:gd name="connsiteY23" fmla="*/ 551610 h 551610"/>
              <a:gd name="connsiteX24" fmla="*/ 228277 w 607919"/>
              <a:gd name="connsiteY24" fmla="*/ 394969 h 551610"/>
              <a:gd name="connsiteX25" fmla="*/ 231082 w 607919"/>
              <a:gd name="connsiteY25" fmla="*/ 388245 h 551610"/>
              <a:gd name="connsiteX26" fmla="*/ 365148 w 607919"/>
              <a:gd name="connsiteY26" fmla="*/ 381336 h 551610"/>
              <a:gd name="connsiteX27" fmla="*/ 367997 w 607919"/>
              <a:gd name="connsiteY27" fmla="*/ 388122 h 551610"/>
              <a:gd name="connsiteX28" fmla="*/ 367997 w 607919"/>
              <a:gd name="connsiteY28" fmla="*/ 551610 h 551610"/>
              <a:gd name="connsiteX29" fmla="*/ 311262 w 607919"/>
              <a:gd name="connsiteY29" fmla="*/ 551610 h 551610"/>
              <a:gd name="connsiteX30" fmla="*/ 311262 w 607919"/>
              <a:gd name="connsiteY30" fmla="*/ 444661 h 551610"/>
              <a:gd name="connsiteX31" fmla="*/ 316898 w 607919"/>
              <a:gd name="connsiteY31" fmla="*/ 425523 h 551610"/>
              <a:gd name="connsiteX32" fmla="*/ 322534 w 607919"/>
              <a:gd name="connsiteY32" fmla="*/ 419894 h 551610"/>
              <a:gd name="connsiteX33" fmla="*/ 358353 w 607919"/>
              <a:gd name="connsiteY33" fmla="*/ 384120 h 551610"/>
              <a:gd name="connsiteX34" fmla="*/ 365148 w 607919"/>
              <a:gd name="connsiteY34" fmla="*/ 381336 h 551610"/>
              <a:gd name="connsiteX35" fmla="*/ 448177 w 607919"/>
              <a:gd name="connsiteY35" fmla="*/ 298352 h 551610"/>
              <a:gd name="connsiteX36" fmla="*/ 450982 w 607919"/>
              <a:gd name="connsiteY36" fmla="*/ 305139 h 551610"/>
              <a:gd name="connsiteX37" fmla="*/ 450982 w 607919"/>
              <a:gd name="connsiteY37" fmla="*/ 551610 h 551610"/>
              <a:gd name="connsiteX38" fmla="*/ 394318 w 607919"/>
              <a:gd name="connsiteY38" fmla="*/ 551610 h 551610"/>
              <a:gd name="connsiteX39" fmla="*/ 394318 w 607919"/>
              <a:gd name="connsiteY39" fmla="*/ 361815 h 551610"/>
              <a:gd name="connsiteX40" fmla="*/ 403846 w 607919"/>
              <a:gd name="connsiteY40" fmla="*/ 338669 h 551610"/>
              <a:gd name="connsiteX41" fmla="*/ 441329 w 607919"/>
              <a:gd name="connsiteY41" fmla="*/ 301136 h 551610"/>
              <a:gd name="connsiteX42" fmla="*/ 448177 w 607919"/>
              <a:gd name="connsiteY42" fmla="*/ 298352 h 551610"/>
              <a:gd name="connsiteX43" fmla="*/ 527085 w 607919"/>
              <a:gd name="connsiteY43" fmla="*/ 219452 h 551610"/>
              <a:gd name="connsiteX44" fmla="*/ 529874 w 607919"/>
              <a:gd name="connsiteY44" fmla="*/ 226177 h 551610"/>
              <a:gd name="connsiteX45" fmla="*/ 529874 w 607919"/>
              <a:gd name="connsiteY45" fmla="*/ 551610 h 551610"/>
              <a:gd name="connsiteX46" fmla="*/ 477232 w 607919"/>
              <a:gd name="connsiteY46" fmla="*/ 551610 h 551610"/>
              <a:gd name="connsiteX47" fmla="*/ 477232 w 607919"/>
              <a:gd name="connsiteY47" fmla="*/ 278727 h 551610"/>
              <a:gd name="connsiteX48" fmla="*/ 486883 w 607919"/>
              <a:gd name="connsiteY48" fmla="*/ 255580 h 551610"/>
              <a:gd name="connsiteX49" fmla="*/ 520348 w 607919"/>
              <a:gd name="connsiteY49" fmla="*/ 222298 h 551610"/>
              <a:gd name="connsiteX50" fmla="*/ 527085 w 607919"/>
              <a:gd name="connsiteY50" fmla="*/ 219452 h 551610"/>
              <a:gd name="connsiteX51" fmla="*/ 387769 w 607919"/>
              <a:gd name="connsiteY51" fmla="*/ 0 h 551610"/>
              <a:gd name="connsiteX52" fmla="*/ 580729 w 607919"/>
              <a:gd name="connsiteY52" fmla="*/ 0 h 551610"/>
              <a:gd name="connsiteX53" fmla="*/ 607919 w 607919"/>
              <a:gd name="connsiteY53" fmla="*/ 26022 h 551610"/>
              <a:gd name="connsiteX54" fmla="*/ 607919 w 607919"/>
              <a:gd name="connsiteY54" fmla="*/ 219812 h 551610"/>
              <a:gd name="connsiteX55" fmla="*/ 598271 w 607919"/>
              <a:gd name="connsiteY55" fmla="*/ 223815 h 551610"/>
              <a:gd name="connsiteX56" fmla="*/ 530610 w 607919"/>
              <a:gd name="connsiteY56" fmla="*/ 156258 h 551610"/>
              <a:gd name="connsiteX57" fmla="*/ 304320 w 607919"/>
              <a:gd name="connsiteY57" fmla="*/ 382325 h 551610"/>
              <a:gd name="connsiteX58" fmla="*/ 285024 w 607919"/>
              <a:gd name="connsiteY58" fmla="*/ 382325 h 551610"/>
              <a:gd name="connsiteX59" fmla="*/ 216360 w 607919"/>
              <a:gd name="connsiteY59" fmla="*/ 313767 h 551610"/>
              <a:gd name="connsiteX60" fmla="*/ 94068 w 607919"/>
              <a:gd name="connsiteY60" fmla="*/ 435996 h 551610"/>
              <a:gd name="connsiteX61" fmla="*/ 17260 w 607919"/>
              <a:gd name="connsiteY61" fmla="*/ 435996 h 551610"/>
              <a:gd name="connsiteX62" fmla="*/ 15882 w 607919"/>
              <a:gd name="connsiteY62" fmla="*/ 434745 h 551610"/>
              <a:gd name="connsiteX63" fmla="*/ 15882 w 607919"/>
              <a:gd name="connsiteY63" fmla="*/ 358055 h 551610"/>
              <a:gd name="connsiteX64" fmla="*/ 206837 w 607919"/>
              <a:gd name="connsiteY64" fmla="*/ 167267 h 551610"/>
              <a:gd name="connsiteX65" fmla="*/ 226008 w 607919"/>
              <a:gd name="connsiteY65" fmla="*/ 167267 h 551610"/>
              <a:gd name="connsiteX66" fmla="*/ 294672 w 607919"/>
              <a:gd name="connsiteY66" fmla="*/ 235701 h 551610"/>
              <a:gd name="connsiteX67" fmla="*/ 424481 w 607919"/>
              <a:gd name="connsiteY67" fmla="*/ 105965 h 551610"/>
              <a:gd name="connsiteX68" fmla="*/ 452423 w 607919"/>
              <a:gd name="connsiteY68" fmla="*/ 78192 h 551610"/>
              <a:gd name="connsiteX69" fmla="*/ 383885 w 607919"/>
              <a:gd name="connsiteY69" fmla="*/ 9633 h 551610"/>
              <a:gd name="connsiteX70" fmla="*/ 387769 w 607919"/>
              <a:gd name="connsiteY70" fmla="*/ 0 h 551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</a:cxnLst>
            <a:rect l="l" t="t" r="r" b="b"/>
            <a:pathLst>
              <a:path w="607919" h="551610">
                <a:moveTo>
                  <a:pt x="116112" y="473652"/>
                </a:moveTo>
                <a:cubicBezTo>
                  <a:pt x="117836" y="474356"/>
                  <a:pt x="118901" y="476670"/>
                  <a:pt x="118901" y="480423"/>
                </a:cubicBezTo>
                <a:lnTo>
                  <a:pt x="118901" y="551610"/>
                </a:lnTo>
                <a:lnTo>
                  <a:pt x="55604" y="551610"/>
                </a:lnTo>
                <a:lnTo>
                  <a:pt x="55604" y="540851"/>
                </a:lnTo>
                <a:cubicBezTo>
                  <a:pt x="55604" y="534971"/>
                  <a:pt x="59991" y="525838"/>
                  <a:pt x="65255" y="520583"/>
                </a:cubicBezTo>
                <a:lnTo>
                  <a:pt x="83555" y="502317"/>
                </a:lnTo>
                <a:lnTo>
                  <a:pt x="109375" y="476545"/>
                </a:lnTo>
                <a:cubicBezTo>
                  <a:pt x="112007" y="473855"/>
                  <a:pt x="114389" y="472948"/>
                  <a:pt x="116112" y="473652"/>
                </a:cubicBezTo>
                <a:close/>
                <a:moveTo>
                  <a:pt x="199155" y="390799"/>
                </a:moveTo>
                <a:cubicBezTo>
                  <a:pt x="200892" y="391534"/>
                  <a:pt x="201956" y="393880"/>
                  <a:pt x="201956" y="397632"/>
                </a:cubicBezTo>
                <a:lnTo>
                  <a:pt x="201956" y="551610"/>
                </a:lnTo>
                <a:lnTo>
                  <a:pt x="145363" y="551610"/>
                </a:lnTo>
                <a:lnTo>
                  <a:pt x="145363" y="454170"/>
                </a:lnTo>
                <a:cubicBezTo>
                  <a:pt x="145363" y="446665"/>
                  <a:pt x="149620" y="436283"/>
                  <a:pt x="154879" y="431030"/>
                </a:cubicBezTo>
                <a:lnTo>
                  <a:pt x="192315" y="393630"/>
                </a:lnTo>
                <a:cubicBezTo>
                  <a:pt x="195007" y="390941"/>
                  <a:pt x="197417" y="390065"/>
                  <a:pt x="199155" y="390799"/>
                </a:cubicBezTo>
                <a:close/>
                <a:moveTo>
                  <a:pt x="231082" y="388245"/>
                </a:moveTo>
                <a:cubicBezTo>
                  <a:pt x="232822" y="387525"/>
                  <a:pt x="235235" y="388401"/>
                  <a:pt x="237930" y="391091"/>
                </a:cubicBezTo>
                <a:lnTo>
                  <a:pt x="266763" y="419867"/>
                </a:lnTo>
                <a:lnTo>
                  <a:pt x="275915" y="428875"/>
                </a:lnTo>
                <a:cubicBezTo>
                  <a:pt x="280929" y="433879"/>
                  <a:pt x="284941" y="444013"/>
                  <a:pt x="284941" y="451520"/>
                </a:cubicBezTo>
                <a:lnTo>
                  <a:pt x="284941" y="551610"/>
                </a:lnTo>
                <a:lnTo>
                  <a:pt x="228277" y="551610"/>
                </a:lnTo>
                <a:lnTo>
                  <a:pt x="228277" y="394969"/>
                </a:lnTo>
                <a:cubicBezTo>
                  <a:pt x="228277" y="391278"/>
                  <a:pt x="229343" y="388964"/>
                  <a:pt x="231082" y="388245"/>
                </a:cubicBezTo>
                <a:close/>
                <a:moveTo>
                  <a:pt x="365148" y="381336"/>
                </a:moveTo>
                <a:cubicBezTo>
                  <a:pt x="366901" y="382055"/>
                  <a:pt x="367997" y="384370"/>
                  <a:pt x="367997" y="388122"/>
                </a:cubicBezTo>
                <a:lnTo>
                  <a:pt x="367997" y="551610"/>
                </a:lnTo>
                <a:lnTo>
                  <a:pt x="311262" y="551610"/>
                </a:lnTo>
                <a:lnTo>
                  <a:pt x="311262" y="444661"/>
                </a:lnTo>
                <a:cubicBezTo>
                  <a:pt x="311262" y="437156"/>
                  <a:pt x="313767" y="428650"/>
                  <a:pt x="316898" y="425523"/>
                </a:cubicBezTo>
                <a:cubicBezTo>
                  <a:pt x="320029" y="422396"/>
                  <a:pt x="322534" y="419894"/>
                  <a:pt x="322534" y="419894"/>
                </a:cubicBezTo>
                <a:lnTo>
                  <a:pt x="358353" y="384120"/>
                </a:lnTo>
                <a:cubicBezTo>
                  <a:pt x="360983" y="381493"/>
                  <a:pt x="363394" y="380617"/>
                  <a:pt x="365148" y="381336"/>
                </a:cubicBezTo>
                <a:close/>
                <a:moveTo>
                  <a:pt x="448177" y="298352"/>
                </a:moveTo>
                <a:cubicBezTo>
                  <a:pt x="449916" y="299071"/>
                  <a:pt x="450982" y="301386"/>
                  <a:pt x="450982" y="305139"/>
                </a:cubicBezTo>
                <a:lnTo>
                  <a:pt x="450982" y="551610"/>
                </a:lnTo>
                <a:lnTo>
                  <a:pt x="394318" y="551610"/>
                </a:lnTo>
                <a:lnTo>
                  <a:pt x="394318" y="361815"/>
                </a:lnTo>
                <a:cubicBezTo>
                  <a:pt x="394318" y="354308"/>
                  <a:pt x="398580" y="343924"/>
                  <a:pt x="403846" y="338669"/>
                </a:cubicBezTo>
                <a:lnTo>
                  <a:pt x="441329" y="301136"/>
                </a:lnTo>
                <a:cubicBezTo>
                  <a:pt x="444024" y="298508"/>
                  <a:pt x="446438" y="297633"/>
                  <a:pt x="448177" y="298352"/>
                </a:cubicBezTo>
                <a:close/>
                <a:moveTo>
                  <a:pt x="527085" y="219452"/>
                </a:moveTo>
                <a:cubicBezTo>
                  <a:pt x="528809" y="220171"/>
                  <a:pt x="529874" y="222486"/>
                  <a:pt x="529874" y="226177"/>
                </a:cubicBezTo>
                <a:lnTo>
                  <a:pt x="529874" y="551610"/>
                </a:lnTo>
                <a:lnTo>
                  <a:pt x="477232" y="551610"/>
                </a:lnTo>
                <a:lnTo>
                  <a:pt x="477232" y="278727"/>
                </a:lnTo>
                <a:cubicBezTo>
                  <a:pt x="477232" y="271345"/>
                  <a:pt x="481494" y="260960"/>
                  <a:pt x="486883" y="255580"/>
                </a:cubicBezTo>
                <a:lnTo>
                  <a:pt x="520348" y="222298"/>
                </a:lnTo>
                <a:cubicBezTo>
                  <a:pt x="522980" y="219608"/>
                  <a:pt x="525362" y="218732"/>
                  <a:pt x="527085" y="219452"/>
                </a:cubicBezTo>
                <a:close/>
                <a:moveTo>
                  <a:pt x="387769" y="0"/>
                </a:moveTo>
                <a:lnTo>
                  <a:pt x="580729" y="0"/>
                </a:lnTo>
                <a:cubicBezTo>
                  <a:pt x="594512" y="0"/>
                  <a:pt x="607919" y="12135"/>
                  <a:pt x="607919" y="26022"/>
                </a:cubicBezTo>
                <a:lnTo>
                  <a:pt x="607919" y="219812"/>
                </a:lnTo>
                <a:cubicBezTo>
                  <a:pt x="607919" y="227318"/>
                  <a:pt x="603534" y="229070"/>
                  <a:pt x="598271" y="223815"/>
                </a:cubicBezTo>
                <a:lnTo>
                  <a:pt x="530610" y="156258"/>
                </a:lnTo>
                <a:lnTo>
                  <a:pt x="304320" y="382325"/>
                </a:lnTo>
                <a:cubicBezTo>
                  <a:pt x="298932" y="387580"/>
                  <a:pt x="290412" y="387580"/>
                  <a:pt x="285024" y="382325"/>
                </a:cubicBezTo>
                <a:lnTo>
                  <a:pt x="216360" y="313767"/>
                </a:lnTo>
                <a:lnTo>
                  <a:pt x="94068" y="435996"/>
                </a:lnTo>
                <a:cubicBezTo>
                  <a:pt x="72767" y="457264"/>
                  <a:pt x="38435" y="457264"/>
                  <a:pt x="17260" y="435996"/>
                </a:cubicBezTo>
                <a:lnTo>
                  <a:pt x="15882" y="434745"/>
                </a:lnTo>
                <a:cubicBezTo>
                  <a:pt x="-5294" y="413477"/>
                  <a:pt x="-5294" y="379198"/>
                  <a:pt x="15882" y="358055"/>
                </a:cubicBezTo>
                <a:lnTo>
                  <a:pt x="206837" y="167267"/>
                </a:lnTo>
                <a:cubicBezTo>
                  <a:pt x="212100" y="161888"/>
                  <a:pt x="220745" y="161888"/>
                  <a:pt x="226008" y="167267"/>
                </a:cubicBezTo>
                <a:lnTo>
                  <a:pt x="294672" y="235701"/>
                </a:lnTo>
                <a:lnTo>
                  <a:pt x="424481" y="105965"/>
                </a:lnTo>
                <a:lnTo>
                  <a:pt x="452423" y="78192"/>
                </a:lnTo>
                <a:lnTo>
                  <a:pt x="383885" y="9633"/>
                </a:lnTo>
                <a:cubicBezTo>
                  <a:pt x="378497" y="4379"/>
                  <a:pt x="380376" y="0"/>
                  <a:pt x="387769" y="0"/>
                </a:cubicBezTo>
                <a:close/>
              </a:path>
            </a:pathLst>
          </a:custGeom>
          <a:gradFill>
            <a:gsLst>
              <a:gs pos="28000">
                <a:srgbClr val="0870D3"/>
              </a:gs>
              <a:gs pos="100000">
                <a:srgbClr val="4EBCF7"/>
              </a:gs>
            </a:gsLst>
            <a:lin ang="10800000" scaled="0"/>
          </a:gradFill>
          <a:ln>
            <a:noFill/>
          </a:ln>
        </p:spPr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3000">
        <p:fade/>
      </p:transition>
    </mc:Choice>
    <mc:Fallback xmlns="">
      <p:transition spd="med" advClick="0" advTm="3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8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3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8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3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7" grpId="0"/>
      <p:bldP spid="8" grpId="0"/>
      <p:bldP spid="23" grpId="0" animBg="1"/>
      <p:bldP spid="24" grpId="0"/>
      <p:bldP spid="21" grpId="0" animBg="1"/>
      <p:bldP spid="22" grpId="0"/>
      <p:bldP spid="19" grpId="0" animBg="1"/>
      <p:bldP spid="20" grpId="0"/>
      <p:bldP spid="17" grpId="0" animBg="1"/>
      <p:bldP spid="18" grpId="0"/>
      <p:bldP spid="15" grpId="0" animBg="1"/>
      <p:bldP spid="16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ṩľíďê"/>
          <p:cNvSpPr/>
          <p:nvPr/>
        </p:nvSpPr>
        <p:spPr>
          <a:xfrm>
            <a:off x="5341759" y="1782229"/>
            <a:ext cx="1813710" cy="4329018"/>
          </a:xfrm>
          <a:prstGeom prst="rect">
            <a:avLst/>
          </a:prstGeom>
          <a:gradFill>
            <a:gsLst>
              <a:gs pos="38000">
                <a:srgbClr val="0870D3"/>
              </a:gs>
              <a:gs pos="100000">
                <a:srgbClr val="4EBCF7"/>
              </a:gs>
            </a:gsLst>
            <a:lin ang="10800000" scaled="0"/>
          </a:gradFill>
          <a:ln>
            <a:noFill/>
          </a:ln>
          <a:effectLst>
            <a:outerShdw blurRad="762000" dist="2540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360000" bIns="45720" numCol="1" spcCol="0" rtlCol="0" fromWordArt="0" anchor="ctr" anchorCtr="0" forceAA="0" compatLnSpc="1">
            <a:noAutofit/>
          </a:bodyPr>
          <a:lstStyle/>
          <a:p>
            <a:pPr algn="r" defTabSz="914400"/>
            <a:endParaRPr sz="1400" b="1">
              <a:latin typeface="思源黑体 CN Normal" panose="020B0400000000000000" pitchFamily="34" charset="-122"/>
              <a:ea typeface="思源黑体 CN Normal" panose="020B0400000000000000" pitchFamily="34" charset="-122"/>
              <a:cs typeface="Open Sans" panose="020B0606030504020204" charset="0"/>
            </a:endParaRPr>
          </a:p>
        </p:txBody>
      </p:sp>
      <p:sp>
        <p:nvSpPr>
          <p:cNvPr id="8" name="îSľiḋe"/>
          <p:cNvSpPr/>
          <p:nvPr/>
        </p:nvSpPr>
        <p:spPr>
          <a:xfrm>
            <a:off x="7267694" y="1782229"/>
            <a:ext cx="1813710" cy="4329018"/>
          </a:xfrm>
          <a:prstGeom prst="rect">
            <a:avLst/>
          </a:prstGeom>
          <a:gradFill>
            <a:gsLst>
              <a:gs pos="38000">
                <a:srgbClr val="0870D3"/>
              </a:gs>
              <a:gs pos="100000">
                <a:srgbClr val="4EBCF7"/>
              </a:gs>
            </a:gsLst>
            <a:lin ang="10800000" scaled="0"/>
          </a:gradFill>
          <a:ln>
            <a:noFill/>
          </a:ln>
          <a:effectLst>
            <a:outerShdw blurRad="762000" dist="2540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360000" bIns="45720" numCol="1" spcCol="0" rtlCol="0" fromWordArt="0" anchor="ctr" anchorCtr="0" forceAA="0" compatLnSpc="1">
            <a:noAutofit/>
          </a:bodyPr>
          <a:lstStyle/>
          <a:p>
            <a:pPr algn="r" defTabSz="914400"/>
            <a:endParaRPr sz="1400" b="1">
              <a:latin typeface="思源黑体 CN Normal" panose="020B0400000000000000" pitchFamily="34" charset="-122"/>
              <a:ea typeface="思源黑体 CN Normal" panose="020B0400000000000000" pitchFamily="34" charset="-122"/>
              <a:cs typeface="Open Sans" panose="020B0606030504020204" charset="0"/>
            </a:endParaRPr>
          </a:p>
        </p:txBody>
      </p:sp>
      <p:sp>
        <p:nvSpPr>
          <p:cNvPr id="9" name="îš1íḑe"/>
          <p:cNvSpPr/>
          <p:nvPr/>
        </p:nvSpPr>
        <p:spPr>
          <a:xfrm>
            <a:off x="9193629" y="1782229"/>
            <a:ext cx="1813710" cy="4329018"/>
          </a:xfrm>
          <a:prstGeom prst="rect">
            <a:avLst/>
          </a:prstGeom>
          <a:gradFill>
            <a:gsLst>
              <a:gs pos="38000">
                <a:srgbClr val="0870D3"/>
              </a:gs>
              <a:gs pos="100000">
                <a:srgbClr val="4EBCF7"/>
              </a:gs>
            </a:gsLst>
            <a:lin ang="10800000" scaled="0"/>
          </a:gradFill>
          <a:ln>
            <a:noFill/>
          </a:ln>
          <a:effectLst>
            <a:outerShdw blurRad="762000" dist="2540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360000" bIns="45720" numCol="1" spcCol="0" rtlCol="0" fromWordArt="0" anchor="ctr" anchorCtr="0" forceAA="0" compatLnSpc="1">
            <a:noAutofit/>
          </a:bodyPr>
          <a:lstStyle/>
          <a:p>
            <a:pPr algn="r" defTabSz="914400"/>
            <a:endParaRPr sz="1400" b="1" dirty="0">
              <a:latin typeface="思源黑体 CN Normal" panose="020B0400000000000000" pitchFamily="34" charset="-122"/>
              <a:ea typeface="思源黑体 CN Normal" panose="020B0400000000000000" pitchFamily="34" charset="-122"/>
              <a:cs typeface="Open Sans" panose="020B0606030504020204" charset="0"/>
            </a:endParaRPr>
          </a:p>
        </p:txBody>
      </p:sp>
      <p:sp>
        <p:nvSpPr>
          <p:cNvPr id="10" name="îṡ1ïďé"/>
          <p:cNvSpPr/>
          <p:nvPr/>
        </p:nvSpPr>
        <p:spPr bwMode="auto">
          <a:xfrm>
            <a:off x="5960314" y="5036269"/>
            <a:ext cx="503719" cy="503719"/>
          </a:xfrm>
          <a:custGeom>
            <a:avLst/>
            <a:gdLst>
              <a:gd name="T0" fmla="*/ 223 w 228"/>
              <a:gd name="T1" fmla="*/ 95 h 228"/>
              <a:gd name="T2" fmla="*/ 196 w 228"/>
              <a:gd name="T3" fmla="*/ 90 h 228"/>
              <a:gd name="T4" fmla="*/ 189 w 228"/>
              <a:gd name="T5" fmla="*/ 74 h 228"/>
              <a:gd name="T6" fmla="*/ 205 w 228"/>
              <a:gd name="T7" fmla="*/ 50 h 228"/>
              <a:gd name="T8" fmla="*/ 205 w 228"/>
              <a:gd name="T9" fmla="*/ 43 h 228"/>
              <a:gd name="T10" fmla="*/ 185 w 228"/>
              <a:gd name="T11" fmla="*/ 24 h 228"/>
              <a:gd name="T12" fmla="*/ 178 w 228"/>
              <a:gd name="T13" fmla="*/ 23 h 228"/>
              <a:gd name="T14" fmla="*/ 155 w 228"/>
              <a:gd name="T15" fmla="*/ 39 h 228"/>
              <a:gd name="T16" fmla="*/ 138 w 228"/>
              <a:gd name="T17" fmla="*/ 32 h 228"/>
              <a:gd name="T18" fmla="*/ 133 w 228"/>
              <a:gd name="T19" fmla="*/ 5 h 228"/>
              <a:gd name="T20" fmla="*/ 127 w 228"/>
              <a:gd name="T21" fmla="*/ 0 h 228"/>
              <a:gd name="T22" fmla="*/ 100 w 228"/>
              <a:gd name="T23" fmla="*/ 0 h 228"/>
              <a:gd name="T24" fmla="*/ 94 w 228"/>
              <a:gd name="T25" fmla="*/ 5 h 228"/>
              <a:gd name="T26" fmla="*/ 89 w 228"/>
              <a:gd name="T27" fmla="*/ 32 h 228"/>
              <a:gd name="T28" fmla="*/ 73 w 228"/>
              <a:gd name="T29" fmla="*/ 39 h 228"/>
              <a:gd name="T30" fmla="*/ 50 w 228"/>
              <a:gd name="T31" fmla="*/ 23 h 228"/>
              <a:gd name="T32" fmla="*/ 43 w 228"/>
              <a:gd name="T33" fmla="*/ 24 h 228"/>
              <a:gd name="T34" fmla="*/ 23 w 228"/>
              <a:gd name="T35" fmla="*/ 43 h 228"/>
              <a:gd name="T36" fmla="*/ 23 w 228"/>
              <a:gd name="T37" fmla="*/ 51 h 228"/>
              <a:gd name="T38" fmla="*/ 39 w 228"/>
              <a:gd name="T39" fmla="*/ 74 h 228"/>
              <a:gd name="T40" fmla="*/ 32 w 228"/>
              <a:gd name="T41" fmla="*/ 90 h 228"/>
              <a:gd name="T42" fmla="*/ 5 w 228"/>
              <a:gd name="T43" fmla="*/ 95 h 228"/>
              <a:gd name="T44" fmla="*/ 0 w 228"/>
              <a:gd name="T45" fmla="*/ 100 h 228"/>
              <a:gd name="T46" fmla="*/ 0 w 228"/>
              <a:gd name="T47" fmla="*/ 128 h 228"/>
              <a:gd name="T48" fmla="*/ 5 w 228"/>
              <a:gd name="T49" fmla="*/ 134 h 228"/>
              <a:gd name="T50" fmla="*/ 32 w 228"/>
              <a:gd name="T51" fmla="*/ 139 h 228"/>
              <a:gd name="T52" fmla="*/ 39 w 228"/>
              <a:gd name="T53" fmla="*/ 155 h 228"/>
              <a:gd name="T54" fmla="*/ 23 w 228"/>
              <a:gd name="T55" fmla="*/ 178 h 228"/>
              <a:gd name="T56" fmla="*/ 24 w 228"/>
              <a:gd name="T57" fmla="*/ 185 h 228"/>
              <a:gd name="T58" fmla="*/ 43 w 228"/>
              <a:gd name="T59" fmla="*/ 204 h 228"/>
              <a:gd name="T60" fmla="*/ 51 w 228"/>
              <a:gd name="T61" fmla="*/ 205 h 228"/>
              <a:gd name="T62" fmla="*/ 73 w 228"/>
              <a:gd name="T63" fmla="*/ 189 h 228"/>
              <a:gd name="T64" fmla="*/ 89 w 228"/>
              <a:gd name="T65" fmla="*/ 196 h 228"/>
              <a:gd name="T66" fmla="*/ 94 w 228"/>
              <a:gd name="T67" fmla="*/ 223 h 228"/>
              <a:gd name="T68" fmla="*/ 100 w 228"/>
              <a:gd name="T69" fmla="*/ 228 h 228"/>
              <a:gd name="T70" fmla="*/ 127 w 228"/>
              <a:gd name="T71" fmla="*/ 228 h 228"/>
              <a:gd name="T72" fmla="*/ 133 w 228"/>
              <a:gd name="T73" fmla="*/ 223 h 228"/>
              <a:gd name="T74" fmla="*/ 138 w 228"/>
              <a:gd name="T75" fmla="*/ 196 h 228"/>
              <a:gd name="T76" fmla="*/ 154 w 228"/>
              <a:gd name="T77" fmla="*/ 190 h 228"/>
              <a:gd name="T78" fmla="*/ 177 w 228"/>
              <a:gd name="T79" fmla="*/ 205 h 228"/>
              <a:gd name="T80" fmla="*/ 185 w 228"/>
              <a:gd name="T81" fmla="*/ 205 h 228"/>
              <a:gd name="T82" fmla="*/ 204 w 228"/>
              <a:gd name="T83" fmla="*/ 185 h 228"/>
              <a:gd name="T84" fmla="*/ 205 w 228"/>
              <a:gd name="T85" fmla="*/ 178 h 228"/>
              <a:gd name="T86" fmla="*/ 189 w 228"/>
              <a:gd name="T87" fmla="*/ 155 h 228"/>
              <a:gd name="T88" fmla="*/ 196 w 228"/>
              <a:gd name="T89" fmla="*/ 139 h 228"/>
              <a:gd name="T90" fmla="*/ 223 w 228"/>
              <a:gd name="T91" fmla="*/ 134 h 228"/>
              <a:gd name="T92" fmla="*/ 228 w 228"/>
              <a:gd name="T93" fmla="*/ 128 h 228"/>
              <a:gd name="T94" fmla="*/ 228 w 228"/>
              <a:gd name="T95" fmla="*/ 100 h 228"/>
              <a:gd name="T96" fmla="*/ 223 w 228"/>
              <a:gd name="T97" fmla="*/ 95 h 228"/>
              <a:gd name="T98" fmla="*/ 114 w 228"/>
              <a:gd name="T99" fmla="*/ 149 h 228"/>
              <a:gd name="T100" fmla="*/ 79 w 228"/>
              <a:gd name="T101" fmla="*/ 114 h 228"/>
              <a:gd name="T102" fmla="*/ 114 w 228"/>
              <a:gd name="T103" fmla="*/ 79 h 228"/>
              <a:gd name="T104" fmla="*/ 149 w 228"/>
              <a:gd name="T105" fmla="*/ 114 h 228"/>
              <a:gd name="T106" fmla="*/ 114 w 228"/>
              <a:gd name="T107" fmla="*/ 149 h 2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228" h="228">
                <a:moveTo>
                  <a:pt x="223" y="95"/>
                </a:moveTo>
                <a:cubicBezTo>
                  <a:pt x="196" y="90"/>
                  <a:pt x="196" y="90"/>
                  <a:pt x="196" y="90"/>
                </a:cubicBezTo>
                <a:cubicBezTo>
                  <a:pt x="194" y="84"/>
                  <a:pt x="192" y="79"/>
                  <a:pt x="189" y="74"/>
                </a:cubicBezTo>
                <a:cubicBezTo>
                  <a:pt x="205" y="50"/>
                  <a:pt x="205" y="50"/>
                  <a:pt x="205" y="50"/>
                </a:cubicBezTo>
                <a:cubicBezTo>
                  <a:pt x="207" y="48"/>
                  <a:pt x="206" y="45"/>
                  <a:pt x="205" y="43"/>
                </a:cubicBezTo>
                <a:cubicBezTo>
                  <a:pt x="185" y="24"/>
                  <a:pt x="185" y="24"/>
                  <a:pt x="185" y="24"/>
                </a:cubicBezTo>
                <a:cubicBezTo>
                  <a:pt x="183" y="22"/>
                  <a:pt x="180" y="21"/>
                  <a:pt x="178" y="23"/>
                </a:cubicBezTo>
                <a:cubicBezTo>
                  <a:pt x="155" y="39"/>
                  <a:pt x="155" y="39"/>
                  <a:pt x="155" y="39"/>
                </a:cubicBezTo>
                <a:cubicBezTo>
                  <a:pt x="149" y="36"/>
                  <a:pt x="144" y="34"/>
                  <a:pt x="138" y="32"/>
                </a:cubicBezTo>
                <a:cubicBezTo>
                  <a:pt x="133" y="5"/>
                  <a:pt x="133" y="5"/>
                  <a:pt x="133" y="5"/>
                </a:cubicBezTo>
                <a:cubicBezTo>
                  <a:pt x="133" y="2"/>
                  <a:pt x="130" y="0"/>
                  <a:pt x="127" y="0"/>
                </a:cubicBezTo>
                <a:cubicBezTo>
                  <a:pt x="100" y="0"/>
                  <a:pt x="100" y="0"/>
                  <a:pt x="100" y="0"/>
                </a:cubicBezTo>
                <a:cubicBezTo>
                  <a:pt x="97" y="0"/>
                  <a:pt x="95" y="2"/>
                  <a:pt x="94" y="5"/>
                </a:cubicBezTo>
                <a:cubicBezTo>
                  <a:pt x="89" y="32"/>
                  <a:pt x="89" y="32"/>
                  <a:pt x="89" y="32"/>
                </a:cubicBezTo>
                <a:cubicBezTo>
                  <a:pt x="83" y="34"/>
                  <a:pt x="78" y="36"/>
                  <a:pt x="73" y="39"/>
                </a:cubicBezTo>
                <a:cubicBezTo>
                  <a:pt x="50" y="23"/>
                  <a:pt x="50" y="23"/>
                  <a:pt x="50" y="23"/>
                </a:cubicBezTo>
                <a:cubicBezTo>
                  <a:pt x="48" y="22"/>
                  <a:pt x="45" y="22"/>
                  <a:pt x="43" y="24"/>
                </a:cubicBezTo>
                <a:cubicBezTo>
                  <a:pt x="23" y="43"/>
                  <a:pt x="23" y="43"/>
                  <a:pt x="23" y="43"/>
                </a:cubicBezTo>
                <a:cubicBezTo>
                  <a:pt x="22" y="45"/>
                  <a:pt x="21" y="49"/>
                  <a:pt x="23" y="51"/>
                </a:cubicBezTo>
                <a:cubicBezTo>
                  <a:pt x="39" y="74"/>
                  <a:pt x="39" y="74"/>
                  <a:pt x="39" y="74"/>
                </a:cubicBezTo>
                <a:cubicBezTo>
                  <a:pt x="36" y="79"/>
                  <a:pt x="34" y="84"/>
                  <a:pt x="32" y="90"/>
                </a:cubicBezTo>
                <a:cubicBezTo>
                  <a:pt x="5" y="95"/>
                  <a:pt x="5" y="95"/>
                  <a:pt x="5" y="95"/>
                </a:cubicBezTo>
                <a:cubicBezTo>
                  <a:pt x="2" y="95"/>
                  <a:pt x="0" y="98"/>
                  <a:pt x="0" y="100"/>
                </a:cubicBezTo>
                <a:cubicBezTo>
                  <a:pt x="0" y="128"/>
                  <a:pt x="0" y="128"/>
                  <a:pt x="0" y="128"/>
                </a:cubicBezTo>
                <a:cubicBezTo>
                  <a:pt x="0" y="131"/>
                  <a:pt x="2" y="133"/>
                  <a:pt x="5" y="134"/>
                </a:cubicBezTo>
                <a:cubicBezTo>
                  <a:pt x="32" y="139"/>
                  <a:pt x="32" y="139"/>
                  <a:pt x="32" y="139"/>
                </a:cubicBezTo>
                <a:cubicBezTo>
                  <a:pt x="34" y="144"/>
                  <a:pt x="36" y="150"/>
                  <a:pt x="39" y="155"/>
                </a:cubicBezTo>
                <a:cubicBezTo>
                  <a:pt x="23" y="178"/>
                  <a:pt x="23" y="178"/>
                  <a:pt x="23" y="178"/>
                </a:cubicBezTo>
                <a:cubicBezTo>
                  <a:pt x="22" y="180"/>
                  <a:pt x="22" y="183"/>
                  <a:pt x="24" y="185"/>
                </a:cubicBezTo>
                <a:cubicBezTo>
                  <a:pt x="43" y="204"/>
                  <a:pt x="43" y="204"/>
                  <a:pt x="43" y="204"/>
                </a:cubicBezTo>
                <a:cubicBezTo>
                  <a:pt x="45" y="206"/>
                  <a:pt x="48" y="207"/>
                  <a:pt x="51" y="205"/>
                </a:cubicBezTo>
                <a:cubicBezTo>
                  <a:pt x="73" y="189"/>
                  <a:pt x="73" y="189"/>
                  <a:pt x="73" y="189"/>
                </a:cubicBezTo>
                <a:cubicBezTo>
                  <a:pt x="78" y="192"/>
                  <a:pt x="84" y="194"/>
                  <a:pt x="89" y="196"/>
                </a:cubicBezTo>
                <a:cubicBezTo>
                  <a:pt x="94" y="223"/>
                  <a:pt x="94" y="223"/>
                  <a:pt x="94" y="223"/>
                </a:cubicBezTo>
                <a:cubicBezTo>
                  <a:pt x="95" y="226"/>
                  <a:pt x="97" y="228"/>
                  <a:pt x="100" y="228"/>
                </a:cubicBezTo>
                <a:cubicBezTo>
                  <a:pt x="127" y="228"/>
                  <a:pt x="127" y="228"/>
                  <a:pt x="127" y="228"/>
                </a:cubicBezTo>
                <a:cubicBezTo>
                  <a:pt x="130" y="228"/>
                  <a:pt x="133" y="226"/>
                  <a:pt x="133" y="223"/>
                </a:cubicBezTo>
                <a:cubicBezTo>
                  <a:pt x="138" y="196"/>
                  <a:pt x="138" y="196"/>
                  <a:pt x="138" y="196"/>
                </a:cubicBezTo>
                <a:cubicBezTo>
                  <a:pt x="144" y="194"/>
                  <a:pt x="149" y="192"/>
                  <a:pt x="154" y="190"/>
                </a:cubicBezTo>
                <a:cubicBezTo>
                  <a:pt x="177" y="205"/>
                  <a:pt x="177" y="205"/>
                  <a:pt x="177" y="205"/>
                </a:cubicBezTo>
                <a:cubicBezTo>
                  <a:pt x="180" y="207"/>
                  <a:pt x="183" y="207"/>
                  <a:pt x="185" y="205"/>
                </a:cubicBezTo>
                <a:cubicBezTo>
                  <a:pt x="204" y="185"/>
                  <a:pt x="204" y="185"/>
                  <a:pt x="204" y="185"/>
                </a:cubicBezTo>
                <a:cubicBezTo>
                  <a:pt x="206" y="183"/>
                  <a:pt x="206" y="180"/>
                  <a:pt x="205" y="178"/>
                </a:cubicBezTo>
                <a:cubicBezTo>
                  <a:pt x="189" y="155"/>
                  <a:pt x="189" y="155"/>
                  <a:pt x="189" y="155"/>
                </a:cubicBezTo>
                <a:cubicBezTo>
                  <a:pt x="192" y="150"/>
                  <a:pt x="194" y="144"/>
                  <a:pt x="196" y="139"/>
                </a:cubicBezTo>
                <a:cubicBezTo>
                  <a:pt x="223" y="134"/>
                  <a:pt x="223" y="134"/>
                  <a:pt x="223" y="134"/>
                </a:cubicBezTo>
                <a:cubicBezTo>
                  <a:pt x="226" y="133"/>
                  <a:pt x="228" y="131"/>
                  <a:pt x="228" y="128"/>
                </a:cubicBezTo>
                <a:cubicBezTo>
                  <a:pt x="228" y="100"/>
                  <a:pt x="228" y="100"/>
                  <a:pt x="228" y="100"/>
                </a:cubicBezTo>
                <a:cubicBezTo>
                  <a:pt x="228" y="98"/>
                  <a:pt x="226" y="95"/>
                  <a:pt x="223" y="95"/>
                </a:cubicBezTo>
                <a:close/>
                <a:moveTo>
                  <a:pt x="114" y="149"/>
                </a:moveTo>
                <a:cubicBezTo>
                  <a:pt x="95" y="149"/>
                  <a:pt x="79" y="133"/>
                  <a:pt x="79" y="114"/>
                </a:cubicBezTo>
                <a:cubicBezTo>
                  <a:pt x="79" y="95"/>
                  <a:pt x="95" y="79"/>
                  <a:pt x="114" y="79"/>
                </a:cubicBezTo>
                <a:cubicBezTo>
                  <a:pt x="133" y="79"/>
                  <a:pt x="149" y="95"/>
                  <a:pt x="149" y="114"/>
                </a:cubicBezTo>
                <a:cubicBezTo>
                  <a:pt x="149" y="133"/>
                  <a:pt x="133" y="149"/>
                  <a:pt x="114" y="149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anchor="ctr"/>
          <a:lstStyle/>
          <a:p>
            <a:pPr algn="ctr"/>
            <a:endParaRPr dirty="0">
              <a:latin typeface="思源黑体 CN Normal" panose="020B0400000000000000" pitchFamily="34" charset="-122"/>
              <a:ea typeface="思源黑体 CN Normal" panose="020B0400000000000000" pitchFamily="34" charset="-122"/>
            </a:endParaRPr>
          </a:p>
        </p:txBody>
      </p:sp>
      <p:sp>
        <p:nvSpPr>
          <p:cNvPr id="11" name="ïṣḻiḋé"/>
          <p:cNvSpPr/>
          <p:nvPr/>
        </p:nvSpPr>
        <p:spPr bwMode="auto">
          <a:xfrm>
            <a:off x="7853020" y="5003039"/>
            <a:ext cx="570178" cy="570178"/>
          </a:xfrm>
          <a:custGeom>
            <a:avLst/>
            <a:gdLst>
              <a:gd name="T0" fmla="*/ 130 w 236"/>
              <a:gd name="T1" fmla="*/ 1 h 236"/>
              <a:gd name="T2" fmla="*/ 118 w 236"/>
              <a:gd name="T3" fmla="*/ 0 h 236"/>
              <a:gd name="T4" fmla="*/ 30 w 236"/>
              <a:gd name="T5" fmla="*/ 40 h 236"/>
              <a:gd name="T6" fmla="*/ 68 w 236"/>
              <a:gd name="T7" fmla="*/ 105 h 236"/>
              <a:gd name="T8" fmla="*/ 130 w 236"/>
              <a:gd name="T9" fmla="*/ 1 h 236"/>
              <a:gd name="T10" fmla="*/ 20 w 236"/>
              <a:gd name="T11" fmla="*/ 52 h 236"/>
              <a:gd name="T12" fmla="*/ 0 w 236"/>
              <a:gd name="T13" fmla="*/ 118 h 236"/>
              <a:gd name="T14" fmla="*/ 5 w 236"/>
              <a:gd name="T15" fmla="*/ 153 h 236"/>
              <a:gd name="T16" fmla="*/ 81 w 236"/>
              <a:gd name="T17" fmla="*/ 153 h 236"/>
              <a:gd name="T18" fmla="*/ 20 w 236"/>
              <a:gd name="T19" fmla="*/ 52 h 236"/>
              <a:gd name="T20" fmla="*/ 225 w 236"/>
              <a:gd name="T21" fmla="*/ 68 h 236"/>
              <a:gd name="T22" fmla="*/ 145 w 236"/>
              <a:gd name="T23" fmla="*/ 3 h 236"/>
              <a:gd name="T24" fmla="*/ 106 w 236"/>
              <a:gd name="T25" fmla="*/ 68 h 236"/>
              <a:gd name="T26" fmla="*/ 225 w 236"/>
              <a:gd name="T27" fmla="*/ 68 h 236"/>
              <a:gd name="T28" fmla="*/ 130 w 236"/>
              <a:gd name="T29" fmla="*/ 167 h 236"/>
              <a:gd name="T30" fmla="*/ 11 w 236"/>
              <a:gd name="T31" fmla="*/ 167 h 236"/>
              <a:gd name="T32" fmla="*/ 96 w 236"/>
              <a:gd name="T33" fmla="*/ 234 h 236"/>
              <a:gd name="T34" fmla="*/ 93 w 236"/>
              <a:gd name="T35" fmla="*/ 232 h 236"/>
              <a:gd name="T36" fmla="*/ 130 w 236"/>
              <a:gd name="T37" fmla="*/ 167 h 236"/>
              <a:gd name="T38" fmla="*/ 230 w 236"/>
              <a:gd name="T39" fmla="*/ 82 h 236"/>
              <a:gd name="T40" fmla="*/ 155 w 236"/>
              <a:gd name="T41" fmla="*/ 82 h 236"/>
              <a:gd name="T42" fmla="*/ 215 w 236"/>
              <a:gd name="T43" fmla="*/ 186 h 236"/>
              <a:gd name="T44" fmla="*/ 236 w 236"/>
              <a:gd name="T45" fmla="*/ 118 h 236"/>
              <a:gd name="T46" fmla="*/ 230 w 236"/>
              <a:gd name="T47" fmla="*/ 82 h 236"/>
              <a:gd name="T48" fmla="*/ 108 w 236"/>
              <a:gd name="T49" fmla="*/ 236 h 236"/>
              <a:gd name="T50" fmla="*/ 118 w 236"/>
              <a:gd name="T51" fmla="*/ 236 h 236"/>
              <a:gd name="T52" fmla="*/ 205 w 236"/>
              <a:gd name="T53" fmla="*/ 198 h 236"/>
              <a:gd name="T54" fmla="*/ 167 w 236"/>
              <a:gd name="T55" fmla="*/ 132 h 236"/>
              <a:gd name="T56" fmla="*/ 108 w 236"/>
              <a:gd name="T57" fmla="*/ 236 h 2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236" h="236">
                <a:moveTo>
                  <a:pt x="130" y="1"/>
                </a:moveTo>
                <a:cubicBezTo>
                  <a:pt x="126" y="0"/>
                  <a:pt x="122" y="0"/>
                  <a:pt x="118" y="0"/>
                </a:cubicBezTo>
                <a:cubicBezTo>
                  <a:pt x="83" y="0"/>
                  <a:pt x="51" y="16"/>
                  <a:pt x="30" y="40"/>
                </a:cubicBezTo>
                <a:cubicBezTo>
                  <a:pt x="68" y="105"/>
                  <a:pt x="68" y="105"/>
                  <a:pt x="68" y="105"/>
                </a:cubicBezTo>
                <a:lnTo>
                  <a:pt x="130" y="1"/>
                </a:lnTo>
                <a:close/>
                <a:moveTo>
                  <a:pt x="20" y="52"/>
                </a:moveTo>
                <a:cubicBezTo>
                  <a:pt x="7" y="71"/>
                  <a:pt x="0" y="94"/>
                  <a:pt x="0" y="118"/>
                </a:cubicBezTo>
                <a:cubicBezTo>
                  <a:pt x="0" y="130"/>
                  <a:pt x="2" y="142"/>
                  <a:pt x="5" y="153"/>
                </a:cubicBezTo>
                <a:cubicBezTo>
                  <a:pt x="81" y="153"/>
                  <a:pt x="81" y="153"/>
                  <a:pt x="81" y="153"/>
                </a:cubicBezTo>
                <a:lnTo>
                  <a:pt x="20" y="52"/>
                </a:lnTo>
                <a:close/>
                <a:moveTo>
                  <a:pt x="225" y="68"/>
                </a:moveTo>
                <a:cubicBezTo>
                  <a:pt x="210" y="36"/>
                  <a:pt x="180" y="11"/>
                  <a:pt x="145" y="3"/>
                </a:cubicBezTo>
                <a:cubicBezTo>
                  <a:pt x="106" y="68"/>
                  <a:pt x="106" y="68"/>
                  <a:pt x="106" y="68"/>
                </a:cubicBezTo>
                <a:lnTo>
                  <a:pt x="225" y="68"/>
                </a:lnTo>
                <a:close/>
                <a:moveTo>
                  <a:pt x="130" y="167"/>
                </a:moveTo>
                <a:cubicBezTo>
                  <a:pt x="11" y="167"/>
                  <a:pt x="11" y="167"/>
                  <a:pt x="11" y="167"/>
                </a:cubicBezTo>
                <a:cubicBezTo>
                  <a:pt x="26" y="201"/>
                  <a:pt x="58" y="227"/>
                  <a:pt x="96" y="234"/>
                </a:cubicBezTo>
                <a:cubicBezTo>
                  <a:pt x="93" y="232"/>
                  <a:pt x="93" y="232"/>
                  <a:pt x="93" y="232"/>
                </a:cubicBezTo>
                <a:lnTo>
                  <a:pt x="130" y="167"/>
                </a:lnTo>
                <a:close/>
                <a:moveTo>
                  <a:pt x="230" y="82"/>
                </a:moveTo>
                <a:cubicBezTo>
                  <a:pt x="155" y="82"/>
                  <a:pt x="155" y="82"/>
                  <a:pt x="155" y="82"/>
                </a:cubicBezTo>
                <a:cubicBezTo>
                  <a:pt x="215" y="186"/>
                  <a:pt x="215" y="186"/>
                  <a:pt x="215" y="186"/>
                </a:cubicBezTo>
                <a:cubicBezTo>
                  <a:pt x="228" y="167"/>
                  <a:pt x="236" y="143"/>
                  <a:pt x="236" y="118"/>
                </a:cubicBezTo>
                <a:cubicBezTo>
                  <a:pt x="236" y="106"/>
                  <a:pt x="234" y="94"/>
                  <a:pt x="230" y="82"/>
                </a:cubicBezTo>
                <a:close/>
                <a:moveTo>
                  <a:pt x="108" y="236"/>
                </a:moveTo>
                <a:cubicBezTo>
                  <a:pt x="111" y="236"/>
                  <a:pt x="115" y="236"/>
                  <a:pt x="118" y="236"/>
                </a:cubicBezTo>
                <a:cubicBezTo>
                  <a:pt x="152" y="236"/>
                  <a:pt x="183" y="221"/>
                  <a:pt x="205" y="198"/>
                </a:cubicBezTo>
                <a:cubicBezTo>
                  <a:pt x="167" y="132"/>
                  <a:pt x="167" y="132"/>
                  <a:pt x="167" y="132"/>
                </a:cubicBezTo>
                <a:lnTo>
                  <a:pt x="108" y="23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anchor="ctr"/>
          <a:lstStyle/>
          <a:p>
            <a:pPr algn="ctr"/>
            <a:endParaRPr dirty="0">
              <a:latin typeface="思源黑体 CN Normal" panose="020B0400000000000000" pitchFamily="34" charset="-122"/>
              <a:ea typeface="思源黑体 CN Normal" panose="020B0400000000000000" pitchFamily="34" charset="-122"/>
            </a:endParaRPr>
          </a:p>
        </p:txBody>
      </p:sp>
      <p:sp>
        <p:nvSpPr>
          <p:cNvPr id="12" name="îṣļîďê"/>
          <p:cNvSpPr/>
          <p:nvPr/>
        </p:nvSpPr>
        <p:spPr bwMode="auto">
          <a:xfrm>
            <a:off x="9808934" y="5033019"/>
            <a:ext cx="510218" cy="510218"/>
          </a:xfrm>
          <a:custGeom>
            <a:avLst/>
            <a:gdLst>
              <a:gd name="T0" fmla="*/ 182 w 236"/>
              <a:gd name="T1" fmla="*/ 109 h 236"/>
              <a:gd name="T2" fmla="*/ 157 w 236"/>
              <a:gd name="T3" fmla="*/ 103 h 236"/>
              <a:gd name="T4" fmla="*/ 134 w 236"/>
              <a:gd name="T5" fmla="*/ 102 h 236"/>
              <a:gd name="T6" fmla="*/ 120 w 236"/>
              <a:gd name="T7" fmla="*/ 114 h 236"/>
              <a:gd name="T8" fmla="*/ 118 w 236"/>
              <a:gd name="T9" fmla="*/ 129 h 236"/>
              <a:gd name="T10" fmla="*/ 122 w 236"/>
              <a:gd name="T11" fmla="*/ 141 h 236"/>
              <a:gd name="T12" fmla="*/ 135 w 236"/>
              <a:gd name="T13" fmla="*/ 156 h 236"/>
              <a:gd name="T14" fmla="*/ 139 w 236"/>
              <a:gd name="T15" fmla="*/ 185 h 236"/>
              <a:gd name="T16" fmla="*/ 152 w 236"/>
              <a:gd name="T17" fmla="*/ 198 h 236"/>
              <a:gd name="T18" fmla="*/ 169 w 236"/>
              <a:gd name="T19" fmla="*/ 180 h 236"/>
              <a:gd name="T20" fmla="*/ 187 w 236"/>
              <a:gd name="T21" fmla="*/ 150 h 236"/>
              <a:gd name="T22" fmla="*/ 200 w 236"/>
              <a:gd name="T23" fmla="*/ 122 h 236"/>
              <a:gd name="T24" fmla="*/ 182 w 236"/>
              <a:gd name="T25" fmla="*/ 109 h 236"/>
              <a:gd name="T26" fmla="*/ 118 w 236"/>
              <a:gd name="T27" fmla="*/ 0 h 236"/>
              <a:gd name="T28" fmla="*/ 0 w 236"/>
              <a:gd name="T29" fmla="*/ 118 h 236"/>
              <a:gd name="T30" fmla="*/ 118 w 236"/>
              <a:gd name="T31" fmla="*/ 236 h 236"/>
              <a:gd name="T32" fmla="*/ 236 w 236"/>
              <a:gd name="T33" fmla="*/ 118 h 236"/>
              <a:gd name="T34" fmla="*/ 118 w 236"/>
              <a:gd name="T35" fmla="*/ 0 h 236"/>
              <a:gd name="T36" fmla="*/ 126 w 236"/>
              <a:gd name="T37" fmla="*/ 212 h 236"/>
              <a:gd name="T38" fmla="*/ 128 w 236"/>
              <a:gd name="T39" fmla="*/ 208 h 236"/>
              <a:gd name="T40" fmla="*/ 125 w 236"/>
              <a:gd name="T41" fmla="*/ 186 h 236"/>
              <a:gd name="T42" fmla="*/ 105 w 236"/>
              <a:gd name="T43" fmla="*/ 186 h 236"/>
              <a:gd name="T44" fmla="*/ 98 w 236"/>
              <a:gd name="T45" fmla="*/ 207 h 236"/>
              <a:gd name="T46" fmla="*/ 102 w 236"/>
              <a:gd name="T47" fmla="*/ 211 h 236"/>
              <a:gd name="T48" fmla="*/ 34 w 236"/>
              <a:gd name="T49" fmla="*/ 161 h 236"/>
              <a:gd name="T50" fmla="*/ 44 w 236"/>
              <a:gd name="T51" fmla="*/ 157 h 236"/>
              <a:gd name="T52" fmla="*/ 44 w 236"/>
              <a:gd name="T53" fmla="*/ 157 h 236"/>
              <a:gd name="T54" fmla="*/ 81 w 236"/>
              <a:gd name="T55" fmla="*/ 142 h 236"/>
              <a:gd name="T56" fmla="*/ 81 w 236"/>
              <a:gd name="T57" fmla="*/ 118 h 236"/>
              <a:gd name="T58" fmla="*/ 55 w 236"/>
              <a:gd name="T59" fmla="*/ 94 h 236"/>
              <a:gd name="T60" fmla="*/ 28 w 236"/>
              <a:gd name="T61" fmla="*/ 90 h 236"/>
              <a:gd name="T62" fmla="*/ 84 w 236"/>
              <a:gd name="T63" fmla="*/ 30 h 236"/>
              <a:gd name="T64" fmla="*/ 84 w 236"/>
              <a:gd name="T65" fmla="*/ 31 h 236"/>
              <a:gd name="T66" fmla="*/ 102 w 236"/>
              <a:gd name="T67" fmla="*/ 56 h 236"/>
              <a:gd name="T68" fmla="*/ 120 w 236"/>
              <a:gd name="T69" fmla="*/ 79 h 236"/>
              <a:gd name="T70" fmla="*/ 131 w 236"/>
              <a:gd name="T71" fmla="*/ 97 h 236"/>
              <a:gd name="T72" fmla="*/ 146 w 236"/>
              <a:gd name="T73" fmla="*/ 88 h 236"/>
              <a:gd name="T74" fmla="*/ 177 w 236"/>
              <a:gd name="T75" fmla="*/ 66 h 236"/>
              <a:gd name="T76" fmla="*/ 190 w 236"/>
              <a:gd name="T77" fmla="*/ 57 h 236"/>
              <a:gd name="T78" fmla="*/ 212 w 236"/>
              <a:gd name="T79" fmla="*/ 118 h 236"/>
              <a:gd name="T80" fmla="*/ 126 w 236"/>
              <a:gd name="T81" fmla="*/ 212 h 2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236" h="236">
                <a:moveTo>
                  <a:pt x="182" y="109"/>
                </a:moveTo>
                <a:cubicBezTo>
                  <a:pt x="172" y="107"/>
                  <a:pt x="161" y="105"/>
                  <a:pt x="157" y="103"/>
                </a:cubicBezTo>
                <a:cubicBezTo>
                  <a:pt x="153" y="102"/>
                  <a:pt x="143" y="101"/>
                  <a:pt x="134" y="102"/>
                </a:cubicBezTo>
                <a:cubicBezTo>
                  <a:pt x="125" y="103"/>
                  <a:pt x="119" y="109"/>
                  <a:pt x="120" y="114"/>
                </a:cubicBezTo>
                <a:cubicBezTo>
                  <a:pt x="121" y="119"/>
                  <a:pt x="120" y="126"/>
                  <a:pt x="118" y="129"/>
                </a:cubicBezTo>
                <a:cubicBezTo>
                  <a:pt x="117" y="132"/>
                  <a:pt x="118" y="138"/>
                  <a:pt x="122" y="141"/>
                </a:cubicBezTo>
                <a:cubicBezTo>
                  <a:pt x="127" y="144"/>
                  <a:pt x="132" y="151"/>
                  <a:pt x="135" y="156"/>
                </a:cubicBezTo>
                <a:cubicBezTo>
                  <a:pt x="138" y="162"/>
                  <a:pt x="140" y="175"/>
                  <a:pt x="139" y="185"/>
                </a:cubicBezTo>
                <a:cubicBezTo>
                  <a:pt x="139" y="195"/>
                  <a:pt x="145" y="201"/>
                  <a:pt x="152" y="198"/>
                </a:cubicBezTo>
                <a:cubicBezTo>
                  <a:pt x="160" y="195"/>
                  <a:pt x="167" y="187"/>
                  <a:pt x="169" y="180"/>
                </a:cubicBezTo>
                <a:cubicBezTo>
                  <a:pt x="171" y="174"/>
                  <a:pt x="179" y="160"/>
                  <a:pt x="187" y="150"/>
                </a:cubicBezTo>
                <a:cubicBezTo>
                  <a:pt x="195" y="140"/>
                  <a:pt x="201" y="127"/>
                  <a:pt x="200" y="122"/>
                </a:cubicBezTo>
                <a:cubicBezTo>
                  <a:pt x="200" y="116"/>
                  <a:pt x="191" y="111"/>
                  <a:pt x="182" y="109"/>
                </a:cubicBezTo>
                <a:close/>
                <a:moveTo>
                  <a:pt x="118" y="0"/>
                </a:moveTo>
                <a:cubicBezTo>
                  <a:pt x="53" y="0"/>
                  <a:pt x="0" y="53"/>
                  <a:pt x="0" y="118"/>
                </a:cubicBezTo>
                <a:cubicBezTo>
                  <a:pt x="0" y="183"/>
                  <a:pt x="53" y="236"/>
                  <a:pt x="118" y="236"/>
                </a:cubicBezTo>
                <a:cubicBezTo>
                  <a:pt x="183" y="236"/>
                  <a:pt x="236" y="183"/>
                  <a:pt x="236" y="118"/>
                </a:cubicBezTo>
                <a:cubicBezTo>
                  <a:pt x="236" y="53"/>
                  <a:pt x="183" y="0"/>
                  <a:pt x="118" y="0"/>
                </a:cubicBezTo>
                <a:close/>
                <a:moveTo>
                  <a:pt x="126" y="212"/>
                </a:moveTo>
                <a:cubicBezTo>
                  <a:pt x="127" y="211"/>
                  <a:pt x="128" y="209"/>
                  <a:pt x="128" y="208"/>
                </a:cubicBezTo>
                <a:cubicBezTo>
                  <a:pt x="130" y="201"/>
                  <a:pt x="128" y="191"/>
                  <a:pt x="125" y="186"/>
                </a:cubicBezTo>
                <a:cubicBezTo>
                  <a:pt x="121" y="181"/>
                  <a:pt x="112" y="181"/>
                  <a:pt x="105" y="186"/>
                </a:cubicBezTo>
                <a:cubicBezTo>
                  <a:pt x="97" y="191"/>
                  <a:pt x="94" y="200"/>
                  <a:pt x="98" y="207"/>
                </a:cubicBezTo>
                <a:cubicBezTo>
                  <a:pt x="99" y="208"/>
                  <a:pt x="100" y="210"/>
                  <a:pt x="102" y="211"/>
                </a:cubicBezTo>
                <a:cubicBezTo>
                  <a:pt x="72" y="206"/>
                  <a:pt x="47" y="187"/>
                  <a:pt x="34" y="161"/>
                </a:cubicBezTo>
                <a:cubicBezTo>
                  <a:pt x="37" y="161"/>
                  <a:pt x="40" y="159"/>
                  <a:pt x="44" y="157"/>
                </a:cubicBezTo>
                <a:cubicBezTo>
                  <a:pt x="44" y="157"/>
                  <a:pt x="44" y="157"/>
                  <a:pt x="44" y="157"/>
                </a:cubicBezTo>
                <a:cubicBezTo>
                  <a:pt x="57" y="148"/>
                  <a:pt x="74" y="141"/>
                  <a:pt x="81" y="142"/>
                </a:cubicBezTo>
                <a:cubicBezTo>
                  <a:pt x="89" y="142"/>
                  <a:pt x="89" y="131"/>
                  <a:pt x="81" y="118"/>
                </a:cubicBezTo>
                <a:cubicBezTo>
                  <a:pt x="74" y="105"/>
                  <a:pt x="62" y="94"/>
                  <a:pt x="55" y="94"/>
                </a:cubicBezTo>
                <a:cubicBezTo>
                  <a:pt x="48" y="94"/>
                  <a:pt x="36" y="92"/>
                  <a:pt x="28" y="90"/>
                </a:cubicBezTo>
                <a:cubicBezTo>
                  <a:pt x="37" y="62"/>
                  <a:pt x="58" y="41"/>
                  <a:pt x="84" y="30"/>
                </a:cubicBezTo>
                <a:cubicBezTo>
                  <a:pt x="84" y="31"/>
                  <a:pt x="84" y="31"/>
                  <a:pt x="84" y="31"/>
                </a:cubicBezTo>
                <a:cubicBezTo>
                  <a:pt x="86" y="39"/>
                  <a:pt x="95" y="50"/>
                  <a:pt x="102" y="56"/>
                </a:cubicBezTo>
                <a:cubicBezTo>
                  <a:pt x="110" y="62"/>
                  <a:pt x="118" y="72"/>
                  <a:pt x="120" y="79"/>
                </a:cubicBezTo>
                <a:cubicBezTo>
                  <a:pt x="122" y="85"/>
                  <a:pt x="127" y="93"/>
                  <a:pt x="131" y="97"/>
                </a:cubicBezTo>
                <a:cubicBezTo>
                  <a:pt x="136" y="100"/>
                  <a:pt x="142" y="96"/>
                  <a:pt x="146" y="88"/>
                </a:cubicBezTo>
                <a:cubicBezTo>
                  <a:pt x="150" y="80"/>
                  <a:pt x="164" y="70"/>
                  <a:pt x="177" y="66"/>
                </a:cubicBezTo>
                <a:cubicBezTo>
                  <a:pt x="183" y="64"/>
                  <a:pt x="187" y="61"/>
                  <a:pt x="190" y="57"/>
                </a:cubicBezTo>
                <a:cubicBezTo>
                  <a:pt x="204" y="74"/>
                  <a:pt x="212" y="95"/>
                  <a:pt x="212" y="118"/>
                </a:cubicBezTo>
                <a:cubicBezTo>
                  <a:pt x="212" y="168"/>
                  <a:pt x="174" y="208"/>
                  <a:pt x="126" y="21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anchor="ctr"/>
          <a:lstStyle/>
          <a:p>
            <a:pPr algn="ctr"/>
            <a:endParaRPr dirty="0">
              <a:latin typeface="思源黑体 CN Normal" panose="020B0400000000000000" pitchFamily="34" charset="-122"/>
              <a:ea typeface="思源黑体 CN Normal" panose="020B0400000000000000" pitchFamily="34" charset="-122"/>
            </a:endParaRPr>
          </a:p>
        </p:txBody>
      </p:sp>
      <p:sp>
        <p:nvSpPr>
          <p:cNvPr id="13" name="íṩ1îḓè"/>
          <p:cNvSpPr/>
          <p:nvPr/>
        </p:nvSpPr>
        <p:spPr>
          <a:xfrm>
            <a:off x="5531769" y="4274064"/>
            <a:ext cx="1360809" cy="421117"/>
          </a:xfrm>
          <a:prstGeom prst="rect">
            <a:avLst/>
          </a:prstGeom>
        </p:spPr>
        <p:txBody>
          <a:bodyPr wrap="none">
            <a:normAutofit/>
          </a:bodyPr>
          <a:lstStyle/>
          <a:p>
            <a:pPr algn="ctr"/>
            <a:r>
              <a:rPr lang="zh-CN" altLang="en-US" sz="2000" dirty="0">
                <a:solidFill>
                  <a:schemeClr val="bg1"/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添加标题</a:t>
            </a:r>
          </a:p>
        </p:txBody>
      </p:sp>
      <p:sp>
        <p:nvSpPr>
          <p:cNvPr id="14" name="îṥľíďe"/>
          <p:cNvSpPr/>
          <p:nvPr/>
        </p:nvSpPr>
        <p:spPr>
          <a:xfrm>
            <a:off x="7457704" y="4274064"/>
            <a:ext cx="1360809" cy="421117"/>
          </a:xfrm>
          <a:prstGeom prst="rect">
            <a:avLst/>
          </a:prstGeom>
        </p:spPr>
        <p:txBody>
          <a:bodyPr wrap="none">
            <a:normAutofit/>
          </a:bodyPr>
          <a:lstStyle/>
          <a:p>
            <a:pPr algn="ctr"/>
            <a:r>
              <a:rPr lang="zh-CN" altLang="en-US" sz="2000" dirty="0">
                <a:solidFill>
                  <a:schemeClr val="bg1"/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添加标题</a:t>
            </a:r>
          </a:p>
        </p:txBody>
      </p:sp>
      <p:sp>
        <p:nvSpPr>
          <p:cNvPr id="15" name="íšľïḓê"/>
          <p:cNvSpPr/>
          <p:nvPr/>
        </p:nvSpPr>
        <p:spPr>
          <a:xfrm>
            <a:off x="9383639" y="4274064"/>
            <a:ext cx="1360809" cy="421117"/>
          </a:xfrm>
          <a:prstGeom prst="rect">
            <a:avLst/>
          </a:prstGeom>
        </p:spPr>
        <p:txBody>
          <a:bodyPr wrap="none">
            <a:normAutofit/>
          </a:bodyPr>
          <a:lstStyle/>
          <a:p>
            <a:pPr algn="ctr"/>
            <a:r>
              <a:rPr lang="zh-CN" altLang="en-US" sz="2000" dirty="0">
                <a:solidFill>
                  <a:schemeClr val="bg1"/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添加标题</a:t>
            </a:r>
          </a:p>
        </p:txBody>
      </p:sp>
      <p:cxnSp>
        <p:nvCxnSpPr>
          <p:cNvPr id="20" name="直接连接符 19"/>
          <p:cNvCxnSpPr/>
          <p:nvPr/>
        </p:nvCxnSpPr>
        <p:spPr>
          <a:xfrm>
            <a:off x="963633" y="5136700"/>
            <a:ext cx="2442178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îṩlíḍe"/>
          <p:cNvSpPr/>
          <p:nvPr/>
        </p:nvSpPr>
        <p:spPr bwMode="auto">
          <a:xfrm>
            <a:off x="903551" y="5143123"/>
            <a:ext cx="3936782" cy="6522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 fontScale="850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1200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Supporting text here. </a:t>
            </a:r>
          </a:p>
          <a:p>
            <a:pPr marL="171450" indent="-171450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1200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When you copy &amp; paste, choose "keep text only" option.</a:t>
            </a:r>
            <a:endParaRPr lang="zh-CN" altLang="en-US" sz="1200" dirty="0">
              <a:latin typeface="思源黑体 CN Normal" panose="020B0400000000000000" pitchFamily="34" charset="-122"/>
              <a:ea typeface="思源黑体 CN Normal" panose="020B0400000000000000" pitchFamily="34" charset="-122"/>
            </a:endParaRPr>
          </a:p>
        </p:txBody>
      </p:sp>
      <p:sp>
        <p:nvSpPr>
          <p:cNvPr id="22" name="îsļiďè"/>
          <p:cNvSpPr txBox="1"/>
          <p:nvPr/>
        </p:nvSpPr>
        <p:spPr bwMode="auto">
          <a:xfrm>
            <a:off x="903551" y="4696662"/>
            <a:ext cx="3936782" cy="4464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b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r>
              <a:rPr lang="zh-CN" altLang="en-US" sz="2400" b="1" dirty="0">
                <a:solidFill>
                  <a:srgbClr val="0870D3"/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添加标题</a:t>
            </a:r>
          </a:p>
        </p:txBody>
      </p:sp>
      <p:cxnSp>
        <p:nvCxnSpPr>
          <p:cNvPr id="39" name="直接连接符 38"/>
          <p:cNvCxnSpPr/>
          <p:nvPr/>
        </p:nvCxnSpPr>
        <p:spPr>
          <a:xfrm>
            <a:off x="960237" y="3753110"/>
            <a:ext cx="2442178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îṩlíḍe"/>
          <p:cNvSpPr/>
          <p:nvPr/>
        </p:nvSpPr>
        <p:spPr bwMode="auto">
          <a:xfrm>
            <a:off x="900155" y="3759533"/>
            <a:ext cx="3936782" cy="6522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 fontScale="850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1200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Supporting text here. </a:t>
            </a:r>
          </a:p>
          <a:p>
            <a:pPr marL="171450" indent="-171450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1200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When you copy &amp; paste, choose "keep text only" option.</a:t>
            </a:r>
            <a:endParaRPr lang="zh-CN" altLang="en-US" sz="1200" dirty="0">
              <a:latin typeface="思源黑体 CN Normal" panose="020B0400000000000000" pitchFamily="34" charset="-122"/>
              <a:ea typeface="思源黑体 CN Normal" panose="020B0400000000000000" pitchFamily="34" charset="-122"/>
            </a:endParaRPr>
          </a:p>
        </p:txBody>
      </p:sp>
      <p:sp>
        <p:nvSpPr>
          <p:cNvPr id="41" name="îsļiďè"/>
          <p:cNvSpPr txBox="1"/>
          <p:nvPr/>
        </p:nvSpPr>
        <p:spPr bwMode="auto">
          <a:xfrm>
            <a:off x="900155" y="3313072"/>
            <a:ext cx="3936782" cy="4464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b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r>
              <a:rPr lang="zh-CN" altLang="en-US" sz="2400" b="1" dirty="0">
                <a:solidFill>
                  <a:srgbClr val="0870D3"/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添加标题</a:t>
            </a:r>
          </a:p>
        </p:txBody>
      </p:sp>
      <p:cxnSp>
        <p:nvCxnSpPr>
          <p:cNvPr id="51" name="直接连接符 50"/>
          <p:cNvCxnSpPr/>
          <p:nvPr/>
        </p:nvCxnSpPr>
        <p:spPr>
          <a:xfrm>
            <a:off x="974906" y="2222267"/>
            <a:ext cx="2442178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îṩlíḍe"/>
          <p:cNvSpPr/>
          <p:nvPr/>
        </p:nvSpPr>
        <p:spPr bwMode="auto">
          <a:xfrm>
            <a:off x="914824" y="2228690"/>
            <a:ext cx="3936782" cy="6522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 fontScale="850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1200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Supporting text here. </a:t>
            </a:r>
          </a:p>
          <a:p>
            <a:pPr marL="171450" indent="-171450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1200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When you copy &amp; paste, choose "keep text only" option.</a:t>
            </a:r>
            <a:endParaRPr lang="zh-CN" altLang="en-US" sz="1200" dirty="0">
              <a:latin typeface="思源黑体 CN Normal" panose="020B0400000000000000" pitchFamily="34" charset="-122"/>
              <a:ea typeface="思源黑体 CN Normal" panose="020B0400000000000000" pitchFamily="34" charset="-122"/>
            </a:endParaRPr>
          </a:p>
        </p:txBody>
      </p:sp>
      <p:sp>
        <p:nvSpPr>
          <p:cNvPr id="53" name="îsļiďè"/>
          <p:cNvSpPr txBox="1"/>
          <p:nvPr/>
        </p:nvSpPr>
        <p:spPr bwMode="auto">
          <a:xfrm>
            <a:off x="914824" y="1782229"/>
            <a:ext cx="3936782" cy="4464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b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r>
              <a:rPr lang="zh-CN" altLang="en-US" sz="2400" b="1" dirty="0">
                <a:solidFill>
                  <a:srgbClr val="0870D3"/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添加标题</a:t>
            </a:r>
          </a:p>
        </p:txBody>
      </p:sp>
      <p:sp>
        <p:nvSpPr>
          <p:cNvPr id="56" name="statistical-chart_64023"/>
          <p:cNvSpPr>
            <a:spLocks noChangeAspect="1"/>
          </p:cNvSpPr>
          <p:nvPr/>
        </p:nvSpPr>
        <p:spPr bwMode="auto">
          <a:xfrm>
            <a:off x="5824260" y="2675629"/>
            <a:ext cx="851961" cy="955748"/>
          </a:xfrm>
          <a:custGeom>
            <a:avLst/>
            <a:gdLst>
              <a:gd name="connsiteX0" fmla="*/ 16193 w 538132"/>
              <a:gd name="connsiteY0" fmla="*/ 302232 h 603687"/>
              <a:gd name="connsiteX1" fmla="*/ 132346 w 538132"/>
              <a:gd name="connsiteY1" fmla="*/ 302232 h 603687"/>
              <a:gd name="connsiteX2" fmla="*/ 148540 w 538132"/>
              <a:gd name="connsiteY2" fmla="*/ 318399 h 603687"/>
              <a:gd name="connsiteX3" fmla="*/ 148540 w 538132"/>
              <a:gd name="connsiteY3" fmla="*/ 587520 h 603687"/>
              <a:gd name="connsiteX4" fmla="*/ 132346 w 538132"/>
              <a:gd name="connsiteY4" fmla="*/ 603687 h 603687"/>
              <a:gd name="connsiteX5" fmla="*/ 16193 w 538132"/>
              <a:gd name="connsiteY5" fmla="*/ 603687 h 603687"/>
              <a:gd name="connsiteX6" fmla="*/ 0 w 538132"/>
              <a:gd name="connsiteY6" fmla="*/ 587520 h 603687"/>
              <a:gd name="connsiteX7" fmla="*/ 0 w 538132"/>
              <a:gd name="connsiteY7" fmla="*/ 318399 h 603687"/>
              <a:gd name="connsiteX8" fmla="*/ 16193 w 538132"/>
              <a:gd name="connsiteY8" fmla="*/ 302232 h 603687"/>
              <a:gd name="connsiteX9" fmla="*/ 405786 w 538132"/>
              <a:gd name="connsiteY9" fmla="*/ 186857 h 603687"/>
              <a:gd name="connsiteX10" fmla="*/ 521939 w 538132"/>
              <a:gd name="connsiteY10" fmla="*/ 186857 h 603687"/>
              <a:gd name="connsiteX11" fmla="*/ 538132 w 538132"/>
              <a:gd name="connsiteY11" fmla="*/ 203025 h 603687"/>
              <a:gd name="connsiteX12" fmla="*/ 538132 w 538132"/>
              <a:gd name="connsiteY12" fmla="*/ 587520 h 603687"/>
              <a:gd name="connsiteX13" fmla="*/ 521939 w 538132"/>
              <a:gd name="connsiteY13" fmla="*/ 603687 h 603687"/>
              <a:gd name="connsiteX14" fmla="*/ 405786 w 538132"/>
              <a:gd name="connsiteY14" fmla="*/ 603687 h 603687"/>
              <a:gd name="connsiteX15" fmla="*/ 389592 w 538132"/>
              <a:gd name="connsiteY15" fmla="*/ 587520 h 603687"/>
              <a:gd name="connsiteX16" fmla="*/ 389592 w 538132"/>
              <a:gd name="connsiteY16" fmla="*/ 203025 h 603687"/>
              <a:gd name="connsiteX17" fmla="*/ 405786 w 538132"/>
              <a:gd name="connsiteY17" fmla="*/ 186857 h 603687"/>
              <a:gd name="connsiteX18" fmla="*/ 211024 w 538132"/>
              <a:gd name="connsiteY18" fmla="*/ 0 h 603687"/>
              <a:gd name="connsiteX19" fmla="*/ 327177 w 538132"/>
              <a:gd name="connsiteY19" fmla="*/ 0 h 603687"/>
              <a:gd name="connsiteX20" fmla="*/ 343371 w 538132"/>
              <a:gd name="connsiteY20" fmla="*/ 16168 h 603687"/>
              <a:gd name="connsiteX21" fmla="*/ 343371 w 538132"/>
              <a:gd name="connsiteY21" fmla="*/ 587519 h 603687"/>
              <a:gd name="connsiteX22" fmla="*/ 327177 w 538132"/>
              <a:gd name="connsiteY22" fmla="*/ 603687 h 603687"/>
              <a:gd name="connsiteX23" fmla="*/ 211024 w 538132"/>
              <a:gd name="connsiteY23" fmla="*/ 603687 h 603687"/>
              <a:gd name="connsiteX24" fmla="*/ 194831 w 538132"/>
              <a:gd name="connsiteY24" fmla="*/ 587519 h 603687"/>
              <a:gd name="connsiteX25" fmla="*/ 194831 w 538132"/>
              <a:gd name="connsiteY25" fmla="*/ 16168 h 603687"/>
              <a:gd name="connsiteX26" fmla="*/ 211024 w 538132"/>
              <a:gd name="connsiteY26" fmla="*/ 0 h 603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538132" h="603687">
                <a:moveTo>
                  <a:pt x="16193" y="302232"/>
                </a:moveTo>
                <a:lnTo>
                  <a:pt x="132346" y="302232"/>
                </a:lnTo>
                <a:cubicBezTo>
                  <a:pt x="141235" y="302232"/>
                  <a:pt x="148540" y="309525"/>
                  <a:pt x="148540" y="318399"/>
                </a:cubicBezTo>
                <a:lnTo>
                  <a:pt x="148540" y="587520"/>
                </a:lnTo>
                <a:cubicBezTo>
                  <a:pt x="148540" y="596394"/>
                  <a:pt x="141235" y="603687"/>
                  <a:pt x="132346" y="603687"/>
                </a:cubicBezTo>
                <a:lnTo>
                  <a:pt x="16193" y="603687"/>
                </a:lnTo>
                <a:cubicBezTo>
                  <a:pt x="7305" y="603687"/>
                  <a:pt x="0" y="596394"/>
                  <a:pt x="0" y="587520"/>
                </a:cubicBezTo>
                <a:lnTo>
                  <a:pt x="0" y="318399"/>
                </a:lnTo>
                <a:cubicBezTo>
                  <a:pt x="0" y="309525"/>
                  <a:pt x="7305" y="302232"/>
                  <a:pt x="16193" y="302232"/>
                </a:cubicBezTo>
                <a:close/>
                <a:moveTo>
                  <a:pt x="405786" y="186857"/>
                </a:moveTo>
                <a:lnTo>
                  <a:pt x="521939" y="186857"/>
                </a:lnTo>
                <a:cubicBezTo>
                  <a:pt x="530827" y="186857"/>
                  <a:pt x="538132" y="194029"/>
                  <a:pt x="538132" y="203025"/>
                </a:cubicBezTo>
                <a:lnTo>
                  <a:pt x="538132" y="587520"/>
                </a:lnTo>
                <a:cubicBezTo>
                  <a:pt x="538132" y="596393"/>
                  <a:pt x="530827" y="603687"/>
                  <a:pt x="521939" y="603687"/>
                </a:cubicBezTo>
                <a:lnTo>
                  <a:pt x="405786" y="603687"/>
                </a:lnTo>
                <a:cubicBezTo>
                  <a:pt x="396897" y="603687"/>
                  <a:pt x="389592" y="596393"/>
                  <a:pt x="389592" y="587520"/>
                </a:cubicBezTo>
                <a:lnTo>
                  <a:pt x="389592" y="203025"/>
                </a:lnTo>
                <a:cubicBezTo>
                  <a:pt x="389592" y="194029"/>
                  <a:pt x="396897" y="186857"/>
                  <a:pt x="405786" y="186857"/>
                </a:cubicBezTo>
                <a:close/>
                <a:moveTo>
                  <a:pt x="211024" y="0"/>
                </a:moveTo>
                <a:lnTo>
                  <a:pt x="327177" y="0"/>
                </a:lnTo>
                <a:cubicBezTo>
                  <a:pt x="336066" y="0"/>
                  <a:pt x="343371" y="7294"/>
                  <a:pt x="343371" y="16168"/>
                </a:cubicBezTo>
                <a:lnTo>
                  <a:pt x="343371" y="587519"/>
                </a:lnTo>
                <a:cubicBezTo>
                  <a:pt x="343371" y="596393"/>
                  <a:pt x="336066" y="603687"/>
                  <a:pt x="327177" y="603687"/>
                </a:cubicBezTo>
                <a:lnTo>
                  <a:pt x="211024" y="603687"/>
                </a:lnTo>
                <a:cubicBezTo>
                  <a:pt x="202136" y="603687"/>
                  <a:pt x="194831" y="596393"/>
                  <a:pt x="194831" y="587519"/>
                </a:cubicBezTo>
                <a:lnTo>
                  <a:pt x="194831" y="16168"/>
                </a:lnTo>
                <a:cubicBezTo>
                  <a:pt x="194831" y="7294"/>
                  <a:pt x="202136" y="0"/>
                  <a:pt x="21102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innerShdw blurRad="63500" dist="50800" dir="18900000">
              <a:prstClr val="black">
                <a:alpha val="50000"/>
              </a:prstClr>
            </a:innerShdw>
          </a:effectLst>
        </p:spPr>
      </p:sp>
      <p:sp>
        <p:nvSpPr>
          <p:cNvPr id="57" name="statistical-chart_64023"/>
          <p:cNvSpPr>
            <a:spLocks noChangeAspect="1"/>
          </p:cNvSpPr>
          <p:nvPr/>
        </p:nvSpPr>
        <p:spPr bwMode="auto">
          <a:xfrm>
            <a:off x="7748568" y="2675629"/>
            <a:ext cx="851961" cy="955748"/>
          </a:xfrm>
          <a:custGeom>
            <a:avLst/>
            <a:gdLst>
              <a:gd name="connsiteX0" fmla="*/ 16193 w 538132"/>
              <a:gd name="connsiteY0" fmla="*/ 302232 h 603687"/>
              <a:gd name="connsiteX1" fmla="*/ 132346 w 538132"/>
              <a:gd name="connsiteY1" fmla="*/ 302232 h 603687"/>
              <a:gd name="connsiteX2" fmla="*/ 148540 w 538132"/>
              <a:gd name="connsiteY2" fmla="*/ 318399 h 603687"/>
              <a:gd name="connsiteX3" fmla="*/ 148540 w 538132"/>
              <a:gd name="connsiteY3" fmla="*/ 587520 h 603687"/>
              <a:gd name="connsiteX4" fmla="*/ 132346 w 538132"/>
              <a:gd name="connsiteY4" fmla="*/ 603687 h 603687"/>
              <a:gd name="connsiteX5" fmla="*/ 16193 w 538132"/>
              <a:gd name="connsiteY5" fmla="*/ 603687 h 603687"/>
              <a:gd name="connsiteX6" fmla="*/ 0 w 538132"/>
              <a:gd name="connsiteY6" fmla="*/ 587520 h 603687"/>
              <a:gd name="connsiteX7" fmla="*/ 0 w 538132"/>
              <a:gd name="connsiteY7" fmla="*/ 318399 h 603687"/>
              <a:gd name="connsiteX8" fmla="*/ 16193 w 538132"/>
              <a:gd name="connsiteY8" fmla="*/ 302232 h 603687"/>
              <a:gd name="connsiteX9" fmla="*/ 405786 w 538132"/>
              <a:gd name="connsiteY9" fmla="*/ 186857 h 603687"/>
              <a:gd name="connsiteX10" fmla="*/ 521939 w 538132"/>
              <a:gd name="connsiteY10" fmla="*/ 186857 h 603687"/>
              <a:gd name="connsiteX11" fmla="*/ 538132 w 538132"/>
              <a:gd name="connsiteY11" fmla="*/ 203025 h 603687"/>
              <a:gd name="connsiteX12" fmla="*/ 538132 w 538132"/>
              <a:gd name="connsiteY12" fmla="*/ 587520 h 603687"/>
              <a:gd name="connsiteX13" fmla="*/ 521939 w 538132"/>
              <a:gd name="connsiteY13" fmla="*/ 603687 h 603687"/>
              <a:gd name="connsiteX14" fmla="*/ 405786 w 538132"/>
              <a:gd name="connsiteY14" fmla="*/ 603687 h 603687"/>
              <a:gd name="connsiteX15" fmla="*/ 389592 w 538132"/>
              <a:gd name="connsiteY15" fmla="*/ 587520 h 603687"/>
              <a:gd name="connsiteX16" fmla="*/ 389592 w 538132"/>
              <a:gd name="connsiteY16" fmla="*/ 203025 h 603687"/>
              <a:gd name="connsiteX17" fmla="*/ 405786 w 538132"/>
              <a:gd name="connsiteY17" fmla="*/ 186857 h 603687"/>
              <a:gd name="connsiteX18" fmla="*/ 211024 w 538132"/>
              <a:gd name="connsiteY18" fmla="*/ 0 h 603687"/>
              <a:gd name="connsiteX19" fmla="*/ 327177 w 538132"/>
              <a:gd name="connsiteY19" fmla="*/ 0 h 603687"/>
              <a:gd name="connsiteX20" fmla="*/ 343371 w 538132"/>
              <a:gd name="connsiteY20" fmla="*/ 16168 h 603687"/>
              <a:gd name="connsiteX21" fmla="*/ 343371 w 538132"/>
              <a:gd name="connsiteY21" fmla="*/ 587519 h 603687"/>
              <a:gd name="connsiteX22" fmla="*/ 327177 w 538132"/>
              <a:gd name="connsiteY22" fmla="*/ 603687 h 603687"/>
              <a:gd name="connsiteX23" fmla="*/ 211024 w 538132"/>
              <a:gd name="connsiteY23" fmla="*/ 603687 h 603687"/>
              <a:gd name="connsiteX24" fmla="*/ 194831 w 538132"/>
              <a:gd name="connsiteY24" fmla="*/ 587519 h 603687"/>
              <a:gd name="connsiteX25" fmla="*/ 194831 w 538132"/>
              <a:gd name="connsiteY25" fmla="*/ 16168 h 603687"/>
              <a:gd name="connsiteX26" fmla="*/ 211024 w 538132"/>
              <a:gd name="connsiteY26" fmla="*/ 0 h 603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538132" h="603687">
                <a:moveTo>
                  <a:pt x="16193" y="302232"/>
                </a:moveTo>
                <a:lnTo>
                  <a:pt x="132346" y="302232"/>
                </a:lnTo>
                <a:cubicBezTo>
                  <a:pt x="141235" y="302232"/>
                  <a:pt x="148540" y="309525"/>
                  <a:pt x="148540" y="318399"/>
                </a:cubicBezTo>
                <a:lnTo>
                  <a:pt x="148540" y="587520"/>
                </a:lnTo>
                <a:cubicBezTo>
                  <a:pt x="148540" y="596394"/>
                  <a:pt x="141235" y="603687"/>
                  <a:pt x="132346" y="603687"/>
                </a:cubicBezTo>
                <a:lnTo>
                  <a:pt x="16193" y="603687"/>
                </a:lnTo>
                <a:cubicBezTo>
                  <a:pt x="7305" y="603687"/>
                  <a:pt x="0" y="596394"/>
                  <a:pt x="0" y="587520"/>
                </a:cubicBezTo>
                <a:lnTo>
                  <a:pt x="0" y="318399"/>
                </a:lnTo>
                <a:cubicBezTo>
                  <a:pt x="0" y="309525"/>
                  <a:pt x="7305" y="302232"/>
                  <a:pt x="16193" y="302232"/>
                </a:cubicBezTo>
                <a:close/>
                <a:moveTo>
                  <a:pt x="405786" y="186857"/>
                </a:moveTo>
                <a:lnTo>
                  <a:pt x="521939" y="186857"/>
                </a:lnTo>
                <a:cubicBezTo>
                  <a:pt x="530827" y="186857"/>
                  <a:pt x="538132" y="194029"/>
                  <a:pt x="538132" y="203025"/>
                </a:cubicBezTo>
                <a:lnTo>
                  <a:pt x="538132" y="587520"/>
                </a:lnTo>
                <a:cubicBezTo>
                  <a:pt x="538132" y="596393"/>
                  <a:pt x="530827" y="603687"/>
                  <a:pt x="521939" y="603687"/>
                </a:cubicBezTo>
                <a:lnTo>
                  <a:pt x="405786" y="603687"/>
                </a:lnTo>
                <a:cubicBezTo>
                  <a:pt x="396897" y="603687"/>
                  <a:pt x="389592" y="596393"/>
                  <a:pt x="389592" y="587520"/>
                </a:cubicBezTo>
                <a:lnTo>
                  <a:pt x="389592" y="203025"/>
                </a:lnTo>
                <a:cubicBezTo>
                  <a:pt x="389592" y="194029"/>
                  <a:pt x="396897" y="186857"/>
                  <a:pt x="405786" y="186857"/>
                </a:cubicBezTo>
                <a:close/>
                <a:moveTo>
                  <a:pt x="211024" y="0"/>
                </a:moveTo>
                <a:lnTo>
                  <a:pt x="327177" y="0"/>
                </a:lnTo>
                <a:cubicBezTo>
                  <a:pt x="336066" y="0"/>
                  <a:pt x="343371" y="7294"/>
                  <a:pt x="343371" y="16168"/>
                </a:cubicBezTo>
                <a:lnTo>
                  <a:pt x="343371" y="587519"/>
                </a:lnTo>
                <a:cubicBezTo>
                  <a:pt x="343371" y="596393"/>
                  <a:pt x="336066" y="603687"/>
                  <a:pt x="327177" y="603687"/>
                </a:cubicBezTo>
                <a:lnTo>
                  <a:pt x="211024" y="603687"/>
                </a:lnTo>
                <a:cubicBezTo>
                  <a:pt x="202136" y="603687"/>
                  <a:pt x="194831" y="596393"/>
                  <a:pt x="194831" y="587519"/>
                </a:cubicBezTo>
                <a:lnTo>
                  <a:pt x="194831" y="16168"/>
                </a:lnTo>
                <a:cubicBezTo>
                  <a:pt x="194831" y="7294"/>
                  <a:pt x="202136" y="0"/>
                  <a:pt x="21102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innerShdw blurRad="63500" dist="50800" dir="18900000">
              <a:prstClr val="black">
                <a:alpha val="50000"/>
              </a:prstClr>
            </a:innerShdw>
          </a:effectLst>
        </p:spPr>
      </p:sp>
      <p:sp>
        <p:nvSpPr>
          <p:cNvPr id="58" name="statistical-chart_64023"/>
          <p:cNvSpPr>
            <a:spLocks noChangeAspect="1"/>
          </p:cNvSpPr>
          <p:nvPr/>
        </p:nvSpPr>
        <p:spPr bwMode="auto">
          <a:xfrm>
            <a:off x="9674503" y="2675629"/>
            <a:ext cx="851961" cy="955748"/>
          </a:xfrm>
          <a:custGeom>
            <a:avLst/>
            <a:gdLst>
              <a:gd name="connsiteX0" fmla="*/ 16193 w 538132"/>
              <a:gd name="connsiteY0" fmla="*/ 302232 h 603687"/>
              <a:gd name="connsiteX1" fmla="*/ 132346 w 538132"/>
              <a:gd name="connsiteY1" fmla="*/ 302232 h 603687"/>
              <a:gd name="connsiteX2" fmla="*/ 148540 w 538132"/>
              <a:gd name="connsiteY2" fmla="*/ 318399 h 603687"/>
              <a:gd name="connsiteX3" fmla="*/ 148540 w 538132"/>
              <a:gd name="connsiteY3" fmla="*/ 587520 h 603687"/>
              <a:gd name="connsiteX4" fmla="*/ 132346 w 538132"/>
              <a:gd name="connsiteY4" fmla="*/ 603687 h 603687"/>
              <a:gd name="connsiteX5" fmla="*/ 16193 w 538132"/>
              <a:gd name="connsiteY5" fmla="*/ 603687 h 603687"/>
              <a:gd name="connsiteX6" fmla="*/ 0 w 538132"/>
              <a:gd name="connsiteY6" fmla="*/ 587520 h 603687"/>
              <a:gd name="connsiteX7" fmla="*/ 0 w 538132"/>
              <a:gd name="connsiteY7" fmla="*/ 318399 h 603687"/>
              <a:gd name="connsiteX8" fmla="*/ 16193 w 538132"/>
              <a:gd name="connsiteY8" fmla="*/ 302232 h 603687"/>
              <a:gd name="connsiteX9" fmla="*/ 405786 w 538132"/>
              <a:gd name="connsiteY9" fmla="*/ 186857 h 603687"/>
              <a:gd name="connsiteX10" fmla="*/ 521939 w 538132"/>
              <a:gd name="connsiteY10" fmla="*/ 186857 h 603687"/>
              <a:gd name="connsiteX11" fmla="*/ 538132 w 538132"/>
              <a:gd name="connsiteY11" fmla="*/ 203025 h 603687"/>
              <a:gd name="connsiteX12" fmla="*/ 538132 w 538132"/>
              <a:gd name="connsiteY12" fmla="*/ 587520 h 603687"/>
              <a:gd name="connsiteX13" fmla="*/ 521939 w 538132"/>
              <a:gd name="connsiteY13" fmla="*/ 603687 h 603687"/>
              <a:gd name="connsiteX14" fmla="*/ 405786 w 538132"/>
              <a:gd name="connsiteY14" fmla="*/ 603687 h 603687"/>
              <a:gd name="connsiteX15" fmla="*/ 389592 w 538132"/>
              <a:gd name="connsiteY15" fmla="*/ 587520 h 603687"/>
              <a:gd name="connsiteX16" fmla="*/ 389592 w 538132"/>
              <a:gd name="connsiteY16" fmla="*/ 203025 h 603687"/>
              <a:gd name="connsiteX17" fmla="*/ 405786 w 538132"/>
              <a:gd name="connsiteY17" fmla="*/ 186857 h 603687"/>
              <a:gd name="connsiteX18" fmla="*/ 211024 w 538132"/>
              <a:gd name="connsiteY18" fmla="*/ 0 h 603687"/>
              <a:gd name="connsiteX19" fmla="*/ 327177 w 538132"/>
              <a:gd name="connsiteY19" fmla="*/ 0 h 603687"/>
              <a:gd name="connsiteX20" fmla="*/ 343371 w 538132"/>
              <a:gd name="connsiteY20" fmla="*/ 16168 h 603687"/>
              <a:gd name="connsiteX21" fmla="*/ 343371 w 538132"/>
              <a:gd name="connsiteY21" fmla="*/ 587519 h 603687"/>
              <a:gd name="connsiteX22" fmla="*/ 327177 w 538132"/>
              <a:gd name="connsiteY22" fmla="*/ 603687 h 603687"/>
              <a:gd name="connsiteX23" fmla="*/ 211024 w 538132"/>
              <a:gd name="connsiteY23" fmla="*/ 603687 h 603687"/>
              <a:gd name="connsiteX24" fmla="*/ 194831 w 538132"/>
              <a:gd name="connsiteY24" fmla="*/ 587519 h 603687"/>
              <a:gd name="connsiteX25" fmla="*/ 194831 w 538132"/>
              <a:gd name="connsiteY25" fmla="*/ 16168 h 603687"/>
              <a:gd name="connsiteX26" fmla="*/ 211024 w 538132"/>
              <a:gd name="connsiteY26" fmla="*/ 0 h 603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538132" h="603687">
                <a:moveTo>
                  <a:pt x="16193" y="302232"/>
                </a:moveTo>
                <a:lnTo>
                  <a:pt x="132346" y="302232"/>
                </a:lnTo>
                <a:cubicBezTo>
                  <a:pt x="141235" y="302232"/>
                  <a:pt x="148540" y="309525"/>
                  <a:pt x="148540" y="318399"/>
                </a:cubicBezTo>
                <a:lnTo>
                  <a:pt x="148540" y="587520"/>
                </a:lnTo>
                <a:cubicBezTo>
                  <a:pt x="148540" y="596394"/>
                  <a:pt x="141235" y="603687"/>
                  <a:pt x="132346" y="603687"/>
                </a:cubicBezTo>
                <a:lnTo>
                  <a:pt x="16193" y="603687"/>
                </a:lnTo>
                <a:cubicBezTo>
                  <a:pt x="7305" y="603687"/>
                  <a:pt x="0" y="596394"/>
                  <a:pt x="0" y="587520"/>
                </a:cubicBezTo>
                <a:lnTo>
                  <a:pt x="0" y="318399"/>
                </a:lnTo>
                <a:cubicBezTo>
                  <a:pt x="0" y="309525"/>
                  <a:pt x="7305" y="302232"/>
                  <a:pt x="16193" y="302232"/>
                </a:cubicBezTo>
                <a:close/>
                <a:moveTo>
                  <a:pt x="405786" y="186857"/>
                </a:moveTo>
                <a:lnTo>
                  <a:pt x="521939" y="186857"/>
                </a:lnTo>
                <a:cubicBezTo>
                  <a:pt x="530827" y="186857"/>
                  <a:pt x="538132" y="194029"/>
                  <a:pt x="538132" y="203025"/>
                </a:cubicBezTo>
                <a:lnTo>
                  <a:pt x="538132" y="587520"/>
                </a:lnTo>
                <a:cubicBezTo>
                  <a:pt x="538132" y="596393"/>
                  <a:pt x="530827" y="603687"/>
                  <a:pt x="521939" y="603687"/>
                </a:cubicBezTo>
                <a:lnTo>
                  <a:pt x="405786" y="603687"/>
                </a:lnTo>
                <a:cubicBezTo>
                  <a:pt x="396897" y="603687"/>
                  <a:pt x="389592" y="596393"/>
                  <a:pt x="389592" y="587520"/>
                </a:cubicBezTo>
                <a:lnTo>
                  <a:pt x="389592" y="203025"/>
                </a:lnTo>
                <a:cubicBezTo>
                  <a:pt x="389592" y="194029"/>
                  <a:pt x="396897" y="186857"/>
                  <a:pt x="405786" y="186857"/>
                </a:cubicBezTo>
                <a:close/>
                <a:moveTo>
                  <a:pt x="211024" y="0"/>
                </a:moveTo>
                <a:lnTo>
                  <a:pt x="327177" y="0"/>
                </a:lnTo>
                <a:cubicBezTo>
                  <a:pt x="336066" y="0"/>
                  <a:pt x="343371" y="7294"/>
                  <a:pt x="343371" y="16168"/>
                </a:cubicBezTo>
                <a:lnTo>
                  <a:pt x="343371" y="587519"/>
                </a:lnTo>
                <a:cubicBezTo>
                  <a:pt x="343371" y="596393"/>
                  <a:pt x="336066" y="603687"/>
                  <a:pt x="327177" y="603687"/>
                </a:cubicBezTo>
                <a:lnTo>
                  <a:pt x="211024" y="603687"/>
                </a:lnTo>
                <a:cubicBezTo>
                  <a:pt x="202136" y="603687"/>
                  <a:pt x="194831" y="596393"/>
                  <a:pt x="194831" y="587519"/>
                </a:cubicBezTo>
                <a:lnTo>
                  <a:pt x="194831" y="16168"/>
                </a:lnTo>
                <a:cubicBezTo>
                  <a:pt x="194831" y="7294"/>
                  <a:pt x="202136" y="0"/>
                  <a:pt x="21102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innerShdw blurRad="63500" dist="50800" dir="18900000">
              <a:prstClr val="black">
                <a:alpha val="50000"/>
              </a:prstClr>
            </a:innerShdw>
          </a:effectLst>
        </p:spPr>
      </p:sp>
      <p:grpSp>
        <p:nvGrpSpPr>
          <p:cNvPr id="4" name="组合 3"/>
          <p:cNvGrpSpPr/>
          <p:nvPr/>
        </p:nvGrpSpPr>
        <p:grpSpPr>
          <a:xfrm>
            <a:off x="445680" y="386741"/>
            <a:ext cx="4160833" cy="523220"/>
            <a:chOff x="445680" y="386741"/>
            <a:chExt cx="4160833" cy="523220"/>
          </a:xfrm>
        </p:grpSpPr>
        <p:sp>
          <p:nvSpPr>
            <p:cNvPr id="34" name="analytics_237488"/>
            <p:cNvSpPr>
              <a:spLocks noChangeAspect="1"/>
            </p:cNvSpPr>
            <p:nvPr/>
          </p:nvSpPr>
          <p:spPr bwMode="auto">
            <a:xfrm>
              <a:off x="445680" y="386741"/>
              <a:ext cx="454475" cy="423493"/>
            </a:xfrm>
            <a:custGeom>
              <a:avLst/>
              <a:gdLst>
                <a:gd name="connsiteX0" fmla="*/ 261053 w 607639"/>
                <a:gd name="connsiteY0" fmla="*/ 444915 h 566217"/>
                <a:gd name="connsiteX1" fmla="*/ 245922 w 607639"/>
                <a:gd name="connsiteY1" fmla="*/ 505522 h 566217"/>
                <a:gd name="connsiteX2" fmla="*/ 361718 w 607639"/>
                <a:gd name="connsiteY2" fmla="*/ 505522 h 566217"/>
                <a:gd name="connsiteX3" fmla="*/ 346498 w 607639"/>
                <a:gd name="connsiteY3" fmla="*/ 444915 h 566217"/>
                <a:gd name="connsiteX4" fmla="*/ 0 w 607639"/>
                <a:gd name="connsiteY4" fmla="*/ 364047 h 566217"/>
                <a:gd name="connsiteX5" fmla="*/ 607639 w 607639"/>
                <a:gd name="connsiteY5" fmla="*/ 364047 h 566217"/>
                <a:gd name="connsiteX6" fmla="*/ 607639 w 607639"/>
                <a:gd name="connsiteY6" fmla="*/ 399416 h 566217"/>
                <a:gd name="connsiteX7" fmla="*/ 562069 w 607639"/>
                <a:gd name="connsiteY7" fmla="*/ 444915 h 566217"/>
                <a:gd name="connsiteX8" fmla="*/ 367414 w 607639"/>
                <a:gd name="connsiteY8" fmla="*/ 444915 h 566217"/>
                <a:gd name="connsiteX9" fmla="*/ 382634 w 607639"/>
                <a:gd name="connsiteY9" fmla="*/ 505522 h 566217"/>
                <a:gd name="connsiteX10" fmla="*/ 384859 w 607639"/>
                <a:gd name="connsiteY10" fmla="*/ 505522 h 566217"/>
                <a:gd name="connsiteX11" fmla="*/ 435414 w 607639"/>
                <a:gd name="connsiteY11" fmla="*/ 556086 h 566217"/>
                <a:gd name="connsiteX12" fmla="*/ 425356 w 607639"/>
                <a:gd name="connsiteY12" fmla="*/ 566217 h 566217"/>
                <a:gd name="connsiteX13" fmla="*/ 182283 w 607639"/>
                <a:gd name="connsiteY13" fmla="*/ 566217 h 566217"/>
                <a:gd name="connsiteX14" fmla="*/ 172136 w 607639"/>
                <a:gd name="connsiteY14" fmla="*/ 556086 h 566217"/>
                <a:gd name="connsiteX15" fmla="*/ 222780 w 607639"/>
                <a:gd name="connsiteY15" fmla="*/ 505522 h 566217"/>
                <a:gd name="connsiteX16" fmla="*/ 225006 w 607639"/>
                <a:gd name="connsiteY16" fmla="*/ 505522 h 566217"/>
                <a:gd name="connsiteX17" fmla="*/ 240225 w 607639"/>
                <a:gd name="connsiteY17" fmla="*/ 444915 h 566217"/>
                <a:gd name="connsiteX18" fmla="*/ 45571 w 607639"/>
                <a:gd name="connsiteY18" fmla="*/ 444915 h 566217"/>
                <a:gd name="connsiteX19" fmla="*/ 0 w 607639"/>
                <a:gd name="connsiteY19" fmla="*/ 399416 h 566217"/>
                <a:gd name="connsiteX20" fmla="*/ 344273 w 607639"/>
                <a:gd name="connsiteY20" fmla="*/ 273045 h 566217"/>
                <a:gd name="connsiteX21" fmla="*/ 334215 w 607639"/>
                <a:gd name="connsiteY21" fmla="*/ 283089 h 566217"/>
                <a:gd name="connsiteX22" fmla="*/ 334215 w 607639"/>
                <a:gd name="connsiteY22" fmla="*/ 313486 h 566217"/>
                <a:gd name="connsiteX23" fmla="*/ 344273 w 607639"/>
                <a:gd name="connsiteY23" fmla="*/ 323530 h 566217"/>
                <a:gd name="connsiteX24" fmla="*/ 354419 w 607639"/>
                <a:gd name="connsiteY24" fmla="*/ 313486 h 566217"/>
                <a:gd name="connsiteX25" fmla="*/ 354419 w 607639"/>
                <a:gd name="connsiteY25" fmla="*/ 283089 h 566217"/>
                <a:gd name="connsiteX26" fmla="*/ 344273 w 607639"/>
                <a:gd name="connsiteY26" fmla="*/ 273045 h 566217"/>
                <a:gd name="connsiteX27" fmla="*/ 425356 w 607639"/>
                <a:gd name="connsiteY27" fmla="*/ 252780 h 566217"/>
                <a:gd name="connsiteX28" fmla="*/ 415210 w 607639"/>
                <a:gd name="connsiteY28" fmla="*/ 262913 h 566217"/>
                <a:gd name="connsiteX29" fmla="*/ 415210 w 607639"/>
                <a:gd name="connsiteY29" fmla="*/ 313486 h 566217"/>
                <a:gd name="connsiteX30" fmla="*/ 425356 w 607639"/>
                <a:gd name="connsiteY30" fmla="*/ 323530 h 566217"/>
                <a:gd name="connsiteX31" fmla="*/ 435414 w 607639"/>
                <a:gd name="connsiteY31" fmla="*/ 313486 h 566217"/>
                <a:gd name="connsiteX32" fmla="*/ 435414 w 607639"/>
                <a:gd name="connsiteY32" fmla="*/ 262913 h 566217"/>
                <a:gd name="connsiteX33" fmla="*/ 425356 w 607639"/>
                <a:gd name="connsiteY33" fmla="*/ 252780 h 566217"/>
                <a:gd name="connsiteX34" fmla="*/ 384859 w 607639"/>
                <a:gd name="connsiteY34" fmla="*/ 232515 h 566217"/>
                <a:gd name="connsiteX35" fmla="*/ 374712 w 607639"/>
                <a:gd name="connsiteY35" fmla="*/ 242648 h 566217"/>
                <a:gd name="connsiteX36" fmla="*/ 374712 w 607639"/>
                <a:gd name="connsiteY36" fmla="*/ 313486 h 566217"/>
                <a:gd name="connsiteX37" fmla="*/ 384859 w 607639"/>
                <a:gd name="connsiteY37" fmla="*/ 323530 h 566217"/>
                <a:gd name="connsiteX38" fmla="*/ 394917 w 607639"/>
                <a:gd name="connsiteY38" fmla="*/ 313486 h 566217"/>
                <a:gd name="connsiteX39" fmla="*/ 394917 w 607639"/>
                <a:gd name="connsiteY39" fmla="*/ 242648 h 566217"/>
                <a:gd name="connsiteX40" fmla="*/ 384859 w 607639"/>
                <a:gd name="connsiteY40" fmla="*/ 232515 h 566217"/>
                <a:gd name="connsiteX41" fmla="*/ 506351 w 607639"/>
                <a:gd name="connsiteY41" fmla="*/ 222471 h 566217"/>
                <a:gd name="connsiteX42" fmla="*/ 496205 w 607639"/>
                <a:gd name="connsiteY42" fmla="*/ 232515 h 566217"/>
                <a:gd name="connsiteX43" fmla="*/ 496205 w 607639"/>
                <a:gd name="connsiteY43" fmla="*/ 313486 h 566217"/>
                <a:gd name="connsiteX44" fmla="*/ 506351 w 607639"/>
                <a:gd name="connsiteY44" fmla="*/ 323530 h 566217"/>
                <a:gd name="connsiteX45" fmla="*/ 516498 w 607639"/>
                <a:gd name="connsiteY45" fmla="*/ 313486 h 566217"/>
                <a:gd name="connsiteX46" fmla="*/ 516498 w 607639"/>
                <a:gd name="connsiteY46" fmla="*/ 232515 h 566217"/>
                <a:gd name="connsiteX47" fmla="*/ 506351 w 607639"/>
                <a:gd name="connsiteY47" fmla="*/ 222471 h 566217"/>
                <a:gd name="connsiteX48" fmla="*/ 196595 w 607639"/>
                <a:gd name="connsiteY48" fmla="*/ 192079 h 566217"/>
                <a:gd name="connsiteX49" fmla="*/ 272100 w 607639"/>
                <a:gd name="connsiteY49" fmla="*/ 192079 h 566217"/>
                <a:gd name="connsiteX50" fmla="*/ 247258 w 607639"/>
                <a:gd name="connsiteY50" fmla="*/ 242604 h 566217"/>
                <a:gd name="connsiteX51" fmla="*/ 465854 w 607639"/>
                <a:gd name="connsiteY51" fmla="*/ 182030 h 566217"/>
                <a:gd name="connsiteX52" fmla="*/ 455707 w 607639"/>
                <a:gd name="connsiteY52" fmla="*/ 192074 h 566217"/>
                <a:gd name="connsiteX53" fmla="*/ 455707 w 607639"/>
                <a:gd name="connsiteY53" fmla="*/ 313486 h 566217"/>
                <a:gd name="connsiteX54" fmla="*/ 465854 w 607639"/>
                <a:gd name="connsiteY54" fmla="*/ 323530 h 566217"/>
                <a:gd name="connsiteX55" fmla="*/ 476000 w 607639"/>
                <a:gd name="connsiteY55" fmla="*/ 313486 h 566217"/>
                <a:gd name="connsiteX56" fmla="*/ 476000 w 607639"/>
                <a:gd name="connsiteY56" fmla="*/ 192074 h 566217"/>
                <a:gd name="connsiteX57" fmla="*/ 465854 w 607639"/>
                <a:gd name="connsiteY57" fmla="*/ 182030 h 566217"/>
                <a:gd name="connsiteX58" fmla="*/ 499142 w 607639"/>
                <a:gd name="connsiteY58" fmla="*/ 103992 h 566217"/>
                <a:gd name="connsiteX59" fmla="*/ 497896 w 607639"/>
                <a:gd name="connsiteY59" fmla="*/ 105503 h 566217"/>
                <a:gd name="connsiteX60" fmla="*/ 497006 w 607639"/>
                <a:gd name="connsiteY60" fmla="*/ 107369 h 566217"/>
                <a:gd name="connsiteX61" fmla="*/ 496383 w 607639"/>
                <a:gd name="connsiteY61" fmla="*/ 109147 h 566217"/>
                <a:gd name="connsiteX62" fmla="*/ 496205 w 607639"/>
                <a:gd name="connsiteY62" fmla="*/ 111191 h 566217"/>
                <a:gd name="connsiteX63" fmla="*/ 496383 w 607639"/>
                <a:gd name="connsiteY63" fmla="*/ 113236 h 566217"/>
                <a:gd name="connsiteX64" fmla="*/ 497006 w 607639"/>
                <a:gd name="connsiteY64" fmla="*/ 115013 h 566217"/>
                <a:gd name="connsiteX65" fmla="*/ 497896 w 607639"/>
                <a:gd name="connsiteY65" fmla="*/ 116880 h 566217"/>
                <a:gd name="connsiteX66" fmla="*/ 499142 w 607639"/>
                <a:gd name="connsiteY66" fmla="*/ 118391 h 566217"/>
                <a:gd name="connsiteX67" fmla="*/ 506351 w 607639"/>
                <a:gd name="connsiteY67" fmla="*/ 121324 h 566217"/>
                <a:gd name="connsiteX68" fmla="*/ 513561 w 607639"/>
                <a:gd name="connsiteY68" fmla="*/ 118391 h 566217"/>
                <a:gd name="connsiteX69" fmla="*/ 516498 w 607639"/>
                <a:gd name="connsiteY69" fmla="*/ 111191 h 566217"/>
                <a:gd name="connsiteX70" fmla="*/ 513561 w 607639"/>
                <a:gd name="connsiteY70" fmla="*/ 103992 h 566217"/>
                <a:gd name="connsiteX71" fmla="*/ 499142 w 607639"/>
                <a:gd name="connsiteY71" fmla="*/ 103992 h 566217"/>
                <a:gd name="connsiteX72" fmla="*/ 374712 w 607639"/>
                <a:gd name="connsiteY72" fmla="*/ 101059 h 566217"/>
                <a:gd name="connsiteX73" fmla="*/ 364566 w 607639"/>
                <a:gd name="connsiteY73" fmla="*/ 111191 h 566217"/>
                <a:gd name="connsiteX74" fmla="*/ 374712 w 607639"/>
                <a:gd name="connsiteY74" fmla="*/ 121324 h 566217"/>
                <a:gd name="connsiteX75" fmla="*/ 455707 w 607639"/>
                <a:gd name="connsiteY75" fmla="*/ 121324 h 566217"/>
                <a:gd name="connsiteX76" fmla="*/ 465854 w 607639"/>
                <a:gd name="connsiteY76" fmla="*/ 111191 h 566217"/>
                <a:gd name="connsiteX77" fmla="*/ 455707 w 607639"/>
                <a:gd name="connsiteY77" fmla="*/ 101059 h 566217"/>
                <a:gd name="connsiteX78" fmla="*/ 162007 w 607639"/>
                <a:gd name="connsiteY78" fmla="*/ 82209 h 566217"/>
                <a:gd name="connsiteX79" fmla="*/ 162007 w 607639"/>
                <a:gd name="connsiteY79" fmla="*/ 181568 h 566217"/>
                <a:gd name="connsiteX80" fmla="*/ 162096 w 607639"/>
                <a:gd name="connsiteY80" fmla="*/ 181657 h 566217"/>
                <a:gd name="connsiteX81" fmla="*/ 165033 w 607639"/>
                <a:gd name="connsiteY81" fmla="*/ 189123 h 566217"/>
                <a:gd name="connsiteX82" fmla="*/ 231878 w 607639"/>
                <a:gd name="connsiteY82" fmla="*/ 255866 h 566217"/>
                <a:gd name="connsiteX83" fmla="*/ 177227 w 607639"/>
                <a:gd name="connsiteY83" fmla="*/ 273018 h 566217"/>
                <a:gd name="connsiteX84" fmla="*/ 81009 w 607639"/>
                <a:gd name="connsiteY84" fmla="*/ 176947 h 566217"/>
                <a:gd name="connsiteX85" fmla="*/ 162007 w 607639"/>
                <a:gd name="connsiteY85" fmla="*/ 82209 h 566217"/>
                <a:gd name="connsiteX86" fmla="*/ 182271 w 607639"/>
                <a:gd name="connsiteY86" fmla="*/ 81150 h 566217"/>
                <a:gd name="connsiteX87" fmla="*/ 185209 w 607639"/>
                <a:gd name="connsiteY87" fmla="*/ 81239 h 566217"/>
                <a:gd name="connsiteX88" fmla="*/ 188503 w 607639"/>
                <a:gd name="connsiteY88" fmla="*/ 81594 h 566217"/>
                <a:gd name="connsiteX89" fmla="*/ 195268 w 607639"/>
                <a:gd name="connsiteY89" fmla="*/ 82661 h 566217"/>
                <a:gd name="connsiteX90" fmla="*/ 197315 w 607639"/>
                <a:gd name="connsiteY90" fmla="*/ 83017 h 566217"/>
                <a:gd name="connsiteX91" fmla="*/ 205505 w 607639"/>
                <a:gd name="connsiteY91" fmla="*/ 85150 h 566217"/>
                <a:gd name="connsiteX92" fmla="*/ 205950 w 607639"/>
                <a:gd name="connsiteY92" fmla="*/ 85239 h 566217"/>
                <a:gd name="connsiteX93" fmla="*/ 269064 w 607639"/>
                <a:gd name="connsiteY93" fmla="*/ 148255 h 566217"/>
                <a:gd name="connsiteX94" fmla="*/ 269153 w 607639"/>
                <a:gd name="connsiteY94" fmla="*/ 148788 h 566217"/>
                <a:gd name="connsiteX95" fmla="*/ 271290 w 607639"/>
                <a:gd name="connsiteY95" fmla="*/ 156876 h 566217"/>
                <a:gd name="connsiteX96" fmla="*/ 271646 w 607639"/>
                <a:gd name="connsiteY96" fmla="*/ 158921 h 566217"/>
                <a:gd name="connsiteX97" fmla="*/ 272714 w 607639"/>
                <a:gd name="connsiteY97" fmla="*/ 165764 h 566217"/>
                <a:gd name="connsiteX98" fmla="*/ 272981 w 607639"/>
                <a:gd name="connsiteY98" fmla="*/ 168875 h 566217"/>
                <a:gd name="connsiteX99" fmla="*/ 273159 w 607639"/>
                <a:gd name="connsiteY99" fmla="*/ 171897 h 566217"/>
                <a:gd name="connsiteX100" fmla="*/ 182271 w 607639"/>
                <a:gd name="connsiteY100" fmla="*/ 171897 h 566217"/>
                <a:gd name="connsiteX101" fmla="*/ 177210 w 607639"/>
                <a:gd name="connsiteY101" fmla="*/ 60617 h 566217"/>
                <a:gd name="connsiteX102" fmla="*/ 174451 w 607639"/>
                <a:gd name="connsiteY102" fmla="*/ 60795 h 566217"/>
                <a:gd name="connsiteX103" fmla="*/ 171869 w 607639"/>
                <a:gd name="connsiteY103" fmla="*/ 60795 h 566217"/>
                <a:gd name="connsiteX104" fmla="*/ 167508 w 607639"/>
                <a:gd name="connsiteY104" fmla="*/ 61062 h 566217"/>
                <a:gd name="connsiteX105" fmla="*/ 167419 w 607639"/>
                <a:gd name="connsiteY105" fmla="*/ 61151 h 566217"/>
                <a:gd name="connsiteX106" fmla="*/ 60791 w 607639"/>
                <a:gd name="connsiteY106" fmla="*/ 176964 h 566217"/>
                <a:gd name="connsiteX107" fmla="*/ 177210 w 607639"/>
                <a:gd name="connsiteY107" fmla="*/ 293221 h 566217"/>
                <a:gd name="connsiteX108" fmla="*/ 253487 w 607639"/>
                <a:gd name="connsiteY108" fmla="*/ 264601 h 566217"/>
                <a:gd name="connsiteX109" fmla="*/ 254377 w 607639"/>
                <a:gd name="connsiteY109" fmla="*/ 264068 h 566217"/>
                <a:gd name="connsiteX110" fmla="*/ 254733 w 607639"/>
                <a:gd name="connsiteY110" fmla="*/ 263535 h 566217"/>
                <a:gd name="connsiteX111" fmla="*/ 293184 w 607639"/>
                <a:gd name="connsiteY111" fmla="*/ 186652 h 566217"/>
                <a:gd name="connsiteX112" fmla="*/ 293362 w 607639"/>
                <a:gd name="connsiteY112" fmla="*/ 186474 h 566217"/>
                <a:gd name="connsiteX113" fmla="*/ 293540 w 607639"/>
                <a:gd name="connsiteY113" fmla="*/ 182297 h 566217"/>
                <a:gd name="connsiteX114" fmla="*/ 293540 w 607639"/>
                <a:gd name="connsiteY114" fmla="*/ 179630 h 566217"/>
                <a:gd name="connsiteX115" fmla="*/ 293718 w 607639"/>
                <a:gd name="connsiteY115" fmla="*/ 176964 h 566217"/>
                <a:gd name="connsiteX116" fmla="*/ 293540 w 607639"/>
                <a:gd name="connsiteY116" fmla="*/ 173320 h 566217"/>
                <a:gd name="connsiteX117" fmla="*/ 293184 w 607639"/>
                <a:gd name="connsiteY117" fmla="*/ 167898 h 566217"/>
                <a:gd name="connsiteX118" fmla="*/ 292383 w 607639"/>
                <a:gd name="connsiteY118" fmla="*/ 160698 h 566217"/>
                <a:gd name="connsiteX119" fmla="*/ 291760 w 607639"/>
                <a:gd name="connsiteY119" fmla="*/ 156432 h 566217"/>
                <a:gd name="connsiteX120" fmla="*/ 290068 w 607639"/>
                <a:gd name="connsiteY120" fmla="*/ 148522 h 566217"/>
                <a:gd name="connsiteX121" fmla="*/ 289178 w 607639"/>
                <a:gd name="connsiteY121" fmla="*/ 145144 h 566217"/>
                <a:gd name="connsiteX122" fmla="*/ 286508 w 607639"/>
                <a:gd name="connsiteY122" fmla="*/ 137145 h 566217"/>
                <a:gd name="connsiteX123" fmla="*/ 285351 w 607639"/>
                <a:gd name="connsiteY123" fmla="*/ 133856 h 566217"/>
                <a:gd name="connsiteX124" fmla="*/ 282058 w 607639"/>
                <a:gd name="connsiteY124" fmla="*/ 126657 h 566217"/>
                <a:gd name="connsiteX125" fmla="*/ 280278 w 607639"/>
                <a:gd name="connsiteY125" fmla="*/ 122924 h 566217"/>
                <a:gd name="connsiteX126" fmla="*/ 276896 w 607639"/>
                <a:gd name="connsiteY126" fmla="*/ 117057 h 566217"/>
                <a:gd name="connsiteX127" fmla="*/ 274136 w 607639"/>
                <a:gd name="connsiteY127" fmla="*/ 112613 h 566217"/>
                <a:gd name="connsiteX128" fmla="*/ 271199 w 607639"/>
                <a:gd name="connsiteY128" fmla="*/ 108525 h 566217"/>
                <a:gd name="connsiteX129" fmla="*/ 267105 w 607639"/>
                <a:gd name="connsiteY129" fmla="*/ 103014 h 566217"/>
                <a:gd name="connsiteX130" fmla="*/ 266571 w 607639"/>
                <a:gd name="connsiteY130" fmla="*/ 102481 h 566217"/>
                <a:gd name="connsiteX131" fmla="*/ 259540 w 607639"/>
                <a:gd name="connsiteY131" fmla="*/ 94659 h 566217"/>
                <a:gd name="connsiteX132" fmla="*/ 251351 w 607639"/>
                <a:gd name="connsiteY132" fmla="*/ 87371 h 566217"/>
                <a:gd name="connsiteX133" fmla="*/ 251262 w 607639"/>
                <a:gd name="connsiteY133" fmla="*/ 87193 h 566217"/>
                <a:gd name="connsiteX134" fmla="*/ 245388 w 607639"/>
                <a:gd name="connsiteY134" fmla="*/ 82838 h 566217"/>
                <a:gd name="connsiteX135" fmla="*/ 241739 w 607639"/>
                <a:gd name="connsiteY135" fmla="*/ 80171 h 566217"/>
                <a:gd name="connsiteX136" fmla="*/ 236843 w 607639"/>
                <a:gd name="connsiteY136" fmla="*/ 77238 h 566217"/>
                <a:gd name="connsiteX137" fmla="*/ 231414 w 607639"/>
                <a:gd name="connsiteY137" fmla="*/ 74039 h 566217"/>
                <a:gd name="connsiteX138" fmla="*/ 227231 w 607639"/>
                <a:gd name="connsiteY138" fmla="*/ 72083 h 566217"/>
                <a:gd name="connsiteX139" fmla="*/ 220466 w 607639"/>
                <a:gd name="connsiteY139" fmla="*/ 69061 h 566217"/>
                <a:gd name="connsiteX140" fmla="*/ 216817 w 607639"/>
                <a:gd name="connsiteY140" fmla="*/ 67728 h 566217"/>
                <a:gd name="connsiteX141" fmla="*/ 209252 w 607639"/>
                <a:gd name="connsiteY141" fmla="*/ 65239 h 566217"/>
                <a:gd name="connsiteX142" fmla="*/ 205513 w 607639"/>
                <a:gd name="connsiteY142" fmla="*/ 64262 h 566217"/>
                <a:gd name="connsiteX143" fmla="*/ 197770 w 607639"/>
                <a:gd name="connsiteY143" fmla="*/ 62573 h 566217"/>
                <a:gd name="connsiteX144" fmla="*/ 193498 w 607639"/>
                <a:gd name="connsiteY144" fmla="*/ 61951 h 566217"/>
                <a:gd name="connsiteX145" fmla="*/ 186199 w 607639"/>
                <a:gd name="connsiteY145" fmla="*/ 61062 h 566217"/>
                <a:gd name="connsiteX146" fmla="*/ 181037 w 607639"/>
                <a:gd name="connsiteY146" fmla="*/ 60795 h 566217"/>
                <a:gd name="connsiteX147" fmla="*/ 177210 w 607639"/>
                <a:gd name="connsiteY147" fmla="*/ 60617 h 566217"/>
                <a:gd name="connsiteX148" fmla="*/ 431587 w 607639"/>
                <a:gd name="connsiteY148" fmla="*/ 51374 h 566217"/>
                <a:gd name="connsiteX149" fmla="*/ 428294 w 607639"/>
                <a:gd name="connsiteY149" fmla="*/ 53418 h 566217"/>
                <a:gd name="connsiteX150" fmla="*/ 425356 w 607639"/>
                <a:gd name="connsiteY150" fmla="*/ 60617 h 566217"/>
                <a:gd name="connsiteX151" fmla="*/ 428294 w 607639"/>
                <a:gd name="connsiteY151" fmla="*/ 67817 h 566217"/>
                <a:gd name="connsiteX152" fmla="*/ 435414 w 607639"/>
                <a:gd name="connsiteY152" fmla="*/ 70750 h 566217"/>
                <a:gd name="connsiteX153" fmla="*/ 442623 w 607639"/>
                <a:gd name="connsiteY153" fmla="*/ 67817 h 566217"/>
                <a:gd name="connsiteX154" fmla="*/ 445561 w 607639"/>
                <a:gd name="connsiteY154" fmla="*/ 60617 h 566217"/>
                <a:gd name="connsiteX155" fmla="*/ 442623 w 607639"/>
                <a:gd name="connsiteY155" fmla="*/ 53418 h 566217"/>
                <a:gd name="connsiteX156" fmla="*/ 431587 w 607639"/>
                <a:gd name="connsiteY156" fmla="*/ 51374 h 566217"/>
                <a:gd name="connsiteX157" fmla="*/ 476000 w 607639"/>
                <a:gd name="connsiteY157" fmla="*/ 50485 h 566217"/>
                <a:gd name="connsiteX158" fmla="*/ 465854 w 607639"/>
                <a:gd name="connsiteY158" fmla="*/ 60617 h 566217"/>
                <a:gd name="connsiteX159" fmla="*/ 476000 w 607639"/>
                <a:gd name="connsiteY159" fmla="*/ 70750 h 566217"/>
                <a:gd name="connsiteX160" fmla="*/ 506351 w 607639"/>
                <a:gd name="connsiteY160" fmla="*/ 70750 h 566217"/>
                <a:gd name="connsiteX161" fmla="*/ 516498 w 607639"/>
                <a:gd name="connsiteY161" fmla="*/ 60617 h 566217"/>
                <a:gd name="connsiteX162" fmla="*/ 506351 w 607639"/>
                <a:gd name="connsiteY162" fmla="*/ 50485 h 566217"/>
                <a:gd name="connsiteX163" fmla="*/ 374712 w 607639"/>
                <a:gd name="connsiteY163" fmla="*/ 50485 h 566217"/>
                <a:gd name="connsiteX164" fmla="*/ 364566 w 607639"/>
                <a:gd name="connsiteY164" fmla="*/ 60617 h 566217"/>
                <a:gd name="connsiteX165" fmla="*/ 374712 w 607639"/>
                <a:gd name="connsiteY165" fmla="*/ 70750 h 566217"/>
                <a:gd name="connsiteX166" fmla="*/ 394917 w 607639"/>
                <a:gd name="connsiteY166" fmla="*/ 70750 h 566217"/>
                <a:gd name="connsiteX167" fmla="*/ 405063 w 607639"/>
                <a:gd name="connsiteY167" fmla="*/ 60617 h 566217"/>
                <a:gd name="connsiteX168" fmla="*/ 394917 w 607639"/>
                <a:gd name="connsiteY168" fmla="*/ 50485 h 566217"/>
                <a:gd name="connsiteX169" fmla="*/ 45571 w 607639"/>
                <a:gd name="connsiteY169" fmla="*/ 0 h 566217"/>
                <a:gd name="connsiteX170" fmla="*/ 562069 w 607639"/>
                <a:gd name="connsiteY170" fmla="*/ 0 h 566217"/>
                <a:gd name="connsiteX171" fmla="*/ 607639 w 607639"/>
                <a:gd name="connsiteY171" fmla="*/ 45508 h 566217"/>
                <a:gd name="connsiteX172" fmla="*/ 607639 w 607639"/>
                <a:gd name="connsiteY172" fmla="*/ 343795 h 566217"/>
                <a:gd name="connsiteX173" fmla="*/ 0 w 607639"/>
                <a:gd name="connsiteY173" fmla="*/ 343795 h 566217"/>
                <a:gd name="connsiteX174" fmla="*/ 0 w 607639"/>
                <a:gd name="connsiteY174" fmla="*/ 45508 h 566217"/>
                <a:gd name="connsiteX175" fmla="*/ 45571 w 607639"/>
                <a:gd name="connsiteY175" fmla="*/ 0 h 566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</a:cxnLst>
              <a:rect l="l" t="t" r="r" b="b"/>
              <a:pathLst>
                <a:path w="607639" h="566217">
                  <a:moveTo>
                    <a:pt x="261053" y="444915"/>
                  </a:moveTo>
                  <a:lnTo>
                    <a:pt x="245922" y="505522"/>
                  </a:lnTo>
                  <a:lnTo>
                    <a:pt x="361718" y="505522"/>
                  </a:lnTo>
                  <a:lnTo>
                    <a:pt x="346498" y="444915"/>
                  </a:lnTo>
                  <a:close/>
                  <a:moveTo>
                    <a:pt x="0" y="364047"/>
                  </a:moveTo>
                  <a:lnTo>
                    <a:pt x="607639" y="364047"/>
                  </a:lnTo>
                  <a:lnTo>
                    <a:pt x="607639" y="399416"/>
                  </a:lnTo>
                  <a:cubicBezTo>
                    <a:pt x="607639" y="424476"/>
                    <a:pt x="587168" y="444915"/>
                    <a:pt x="562069" y="444915"/>
                  </a:cubicBezTo>
                  <a:lnTo>
                    <a:pt x="367414" y="444915"/>
                  </a:lnTo>
                  <a:lnTo>
                    <a:pt x="382634" y="505522"/>
                  </a:lnTo>
                  <a:lnTo>
                    <a:pt x="384859" y="505522"/>
                  </a:lnTo>
                  <a:cubicBezTo>
                    <a:pt x="412718" y="505522"/>
                    <a:pt x="435414" y="528271"/>
                    <a:pt x="435414" y="556086"/>
                  </a:cubicBezTo>
                  <a:cubicBezTo>
                    <a:pt x="435414" y="561685"/>
                    <a:pt x="430964" y="566217"/>
                    <a:pt x="425356" y="566217"/>
                  </a:cubicBezTo>
                  <a:lnTo>
                    <a:pt x="182283" y="566217"/>
                  </a:lnTo>
                  <a:cubicBezTo>
                    <a:pt x="176676" y="566217"/>
                    <a:pt x="172136" y="561685"/>
                    <a:pt x="172136" y="556086"/>
                  </a:cubicBezTo>
                  <a:cubicBezTo>
                    <a:pt x="172136" y="528271"/>
                    <a:pt x="194833" y="505522"/>
                    <a:pt x="222780" y="505522"/>
                  </a:cubicBezTo>
                  <a:lnTo>
                    <a:pt x="225006" y="505522"/>
                  </a:lnTo>
                  <a:lnTo>
                    <a:pt x="240225" y="444915"/>
                  </a:lnTo>
                  <a:lnTo>
                    <a:pt x="45571" y="444915"/>
                  </a:lnTo>
                  <a:cubicBezTo>
                    <a:pt x="20471" y="444915"/>
                    <a:pt x="0" y="424476"/>
                    <a:pt x="0" y="399416"/>
                  </a:cubicBezTo>
                  <a:close/>
                  <a:moveTo>
                    <a:pt x="344273" y="273045"/>
                  </a:moveTo>
                  <a:cubicBezTo>
                    <a:pt x="338754" y="273045"/>
                    <a:pt x="334215" y="277578"/>
                    <a:pt x="334215" y="283089"/>
                  </a:cubicBezTo>
                  <a:lnTo>
                    <a:pt x="334215" y="313486"/>
                  </a:lnTo>
                  <a:cubicBezTo>
                    <a:pt x="334215" y="318997"/>
                    <a:pt x="338754" y="323530"/>
                    <a:pt x="344273" y="323530"/>
                  </a:cubicBezTo>
                  <a:cubicBezTo>
                    <a:pt x="349880" y="323530"/>
                    <a:pt x="354419" y="318997"/>
                    <a:pt x="354419" y="313486"/>
                  </a:cubicBezTo>
                  <a:lnTo>
                    <a:pt x="354419" y="283089"/>
                  </a:lnTo>
                  <a:cubicBezTo>
                    <a:pt x="354419" y="277578"/>
                    <a:pt x="349880" y="273045"/>
                    <a:pt x="344273" y="273045"/>
                  </a:cubicBezTo>
                  <a:close/>
                  <a:moveTo>
                    <a:pt x="425356" y="252780"/>
                  </a:moveTo>
                  <a:cubicBezTo>
                    <a:pt x="419749" y="252780"/>
                    <a:pt x="415210" y="257313"/>
                    <a:pt x="415210" y="262913"/>
                  </a:cubicBezTo>
                  <a:lnTo>
                    <a:pt x="415210" y="313486"/>
                  </a:lnTo>
                  <a:cubicBezTo>
                    <a:pt x="415210" y="318997"/>
                    <a:pt x="419749" y="323530"/>
                    <a:pt x="425356" y="323530"/>
                  </a:cubicBezTo>
                  <a:cubicBezTo>
                    <a:pt x="430964" y="323530"/>
                    <a:pt x="435414" y="318997"/>
                    <a:pt x="435414" y="313486"/>
                  </a:cubicBezTo>
                  <a:lnTo>
                    <a:pt x="435414" y="262913"/>
                  </a:lnTo>
                  <a:cubicBezTo>
                    <a:pt x="435414" y="257313"/>
                    <a:pt x="430964" y="252780"/>
                    <a:pt x="425356" y="252780"/>
                  </a:cubicBezTo>
                  <a:close/>
                  <a:moveTo>
                    <a:pt x="384859" y="232515"/>
                  </a:moveTo>
                  <a:cubicBezTo>
                    <a:pt x="379252" y="232515"/>
                    <a:pt x="374712" y="237048"/>
                    <a:pt x="374712" y="242648"/>
                  </a:cubicBezTo>
                  <a:lnTo>
                    <a:pt x="374712" y="313486"/>
                  </a:lnTo>
                  <a:cubicBezTo>
                    <a:pt x="374712" y="318997"/>
                    <a:pt x="379252" y="323530"/>
                    <a:pt x="384859" y="323530"/>
                  </a:cubicBezTo>
                  <a:cubicBezTo>
                    <a:pt x="390466" y="323530"/>
                    <a:pt x="394917" y="318997"/>
                    <a:pt x="394917" y="313486"/>
                  </a:cubicBezTo>
                  <a:lnTo>
                    <a:pt x="394917" y="242648"/>
                  </a:lnTo>
                  <a:cubicBezTo>
                    <a:pt x="394917" y="237048"/>
                    <a:pt x="390466" y="232515"/>
                    <a:pt x="384859" y="232515"/>
                  </a:cubicBezTo>
                  <a:close/>
                  <a:moveTo>
                    <a:pt x="506351" y="222471"/>
                  </a:moveTo>
                  <a:cubicBezTo>
                    <a:pt x="500744" y="222471"/>
                    <a:pt x="496205" y="227004"/>
                    <a:pt x="496205" y="232515"/>
                  </a:cubicBezTo>
                  <a:lnTo>
                    <a:pt x="496205" y="313486"/>
                  </a:lnTo>
                  <a:cubicBezTo>
                    <a:pt x="496205" y="318997"/>
                    <a:pt x="500744" y="323530"/>
                    <a:pt x="506351" y="323530"/>
                  </a:cubicBezTo>
                  <a:cubicBezTo>
                    <a:pt x="511959" y="323530"/>
                    <a:pt x="516498" y="318997"/>
                    <a:pt x="516498" y="313486"/>
                  </a:cubicBezTo>
                  <a:lnTo>
                    <a:pt x="516498" y="232515"/>
                  </a:lnTo>
                  <a:cubicBezTo>
                    <a:pt x="516498" y="227004"/>
                    <a:pt x="511959" y="222471"/>
                    <a:pt x="506351" y="222471"/>
                  </a:cubicBezTo>
                  <a:close/>
                  <a:moveTo>
                    <a:pt x="196595" y="192079"/>
                  </a:moveTo>
                  <a:lnTo>
                    <a:pt x="272100" y="192079"/>
                  </a:lnTo>
                  <a:cubicBezTo>
                    <a:pt x="268984" y="211437"/>
                    <a:pt x="260080" y="228929"/>
                    <a:pt x="247258" y="242604"/>
                  </a:cubicBezTo>
                  <a:close/>
                  <a:moveTo>
                    <a:pt x="465854" y="182030"/>
                  </a:moveTo>
                  <a:cubicBezTo>
                    <a:pt x="460247" y="182030"/>
                    <a:pt x="455707" y="186563"/>
                    <a:pt x="455707" y="192074"/>
                  </a:cubicBezTo>
                  <a:lnTo>
                    <a:pt x="455707" y="313486"/>
                  </a:lnTo>
                  <a:cubicBezTo>
                    <a:pt x="455707" y="318997"/>
                    <a:pt x="460247" y="323530"/>
                    <a:pt x="465854" y="323530"/>
                  </a:cubicBezTo>
                  <a:cubicBezTo>
                    <a:pt x="471461" y="323530"/>
                    <a:pt x="476000" y="318997"/>
                    <a:pt x="476000" y="313486"/>
                  </a:cubicBezTo>
                  <a:lnTo>
                    <a:pt x="476000" y="192074"/>
                  </a:lnTo>
                  <a:cubicBezTo>
                    <a:pt x="476000" y="186563"/>
                    <a:pt x="471461" y="182030"/>
                    <a:pt x="465854" y="182030"/>
                  </a:cubicBezTo>
                  <a:close/>
                  <a:moveTo>
                    <a:pt x="499142" y="103992"/>
                  </a:moveTo>
                  <a:cubicBezTo>
                    <a:pt x="498786" y="104525"/>
                    <a:pt x="498252" y="105058"/>
                    <a:pt x="497896" y="105503"/>
                  </a:cubicBezTo>
                  <a:cubicBezTo>
                    <a:pt x="497540" y="106125"/>
                    <a:pt x="497273" y="106747"/>
                    <a:pt x="497006" y="107369"/>
                  </a:cubicBezTo>
                  <a:cubicBezTo>
                    <a:pt x="496739" y="107992"/>
                    <a:pt x="496561" y="108614"/>
                    <a:pt x="496383" y="109147"/>
                  </a:cubicBezTo>
                  <a:cubicBezTo>
                    <a:pt x="496294" y="109858"/>
                    <a:pt x="496205" y="110569"/>
                    <a:pt x="496205" y="111191"/>
                  </a:cubicBezTo>
                  <a:cubicBezTo>
                    <a:pt x="496205" y="111813"/>
                    <a:pt x="496294" y="112524"/>
                    <a:pt x="496383" y="113236"/>
                  </a:cubicBezTo>
                  <a:cubicBezTo>
                    <a:pt x="496561" y="113858"/>
                    <a:pt x="496739" y="114480"/>
                    <a:pt x="497006" y="115013"/>
                  </a:cubicBezTo>
                  <a:cubicBezTo>
                    <a:pt x="497273" y="115635"/>
                    <a:pt x="497540" y="116258"/>
                    <a:pt x="497896" y="116880"/>
                  </a:cubicBezTo>
                  <a:cubicBezTo>
                    <a:pt x="498252" y="117413"/>
                    <a:pt x="498786" y="117857"/>
                    <a:pt x="499142" y="118391"/>
                  </a:cubicBezTo>
                  <a:cubicBezTo>
                    <a:pt x="501100" y="120168"/>
                    <a:pt x="503681" y="121324"/>
                    <a:pt x="506351" y="121324"/>
                  </a:cubicBezTo>
                  <a:cubicBezTo>
                    <a:pt x="509021" y="121324"/>
                    <a:pt x="511603" y="120168"/>
                    <a:pt x="513561" y="118391"/>
                  </a:cubicBezTo>
                  <a:cubicBezTo>
                    <a:pt x="515341" y="116435"/>
                    <a:pt x="516498" y="113947"/>
                    <a:pt x="516498" y="111191"/>
                  </a:cubicBezTo>
                  <a:cubicBezTo>
                    <a:pt x="516498" y="108436"/>
                    <a:pt x="515341" y="105947"/>
                    <a:pt x="513561" y="103992"/>
                  </a:cubicBezTo>
                  <a:cubicBezTo>
                    <a:pt x="509644" y="100259"/>
                    <a:pt x="502880" y="100259"/>
                    <a:pt x="499142" y="103992"/>
                  </a:cubicBezTo>
                  <a:close/>
                  <a:moveTo>
                    <a:pt x="374712" y="101059"/>
                  </a:moveTo>
                  <a:cubicBezTo>
                    <a:pt x="369105" y="101059"/>
                    <a:pt x="364566" y="105592"/>
                    <a:pt x="364566" y="111191"/>
                  </a:cubicBezTo>
                  <a:cubicBezTo>
                    <a:pt x="364566" y="116791"/>
                    <a:pt x="369105" y="121324"/>
                    <a:pt x="374712" y="121324"/>
                  </a:cubicBezTo>
                  <a:lnTo>
                    <a:pt x="455707" y="121324"/>
                  </a:lnTo>
                  <a:cubicBezTo>
                    <a:pt x="461315" y="121324"/>
                    <a:pt x="465854" y="116791"/>
                    <a:pt x="465854" y="111191"/>
                  </a:cubicBezTo>
                  <a:cubicBezTo>
                    <a:pt x="465854" y="105592"/>
                    <a:pt x="461315" y="101059"/>
                    <a:pt x="455707" y="101059"/>
                  </a:cubicBezTo>
                  <a:close/>
                  <a:moveTo>
                    <a:pt x="162007" y="82209"/>
                  </a:moveTo>
                  <a:lnTo>
                    <a:pt x="162007" y="181568"/>
                  </a:lnTo>
                  <a:lnTo>
                    <a:pt x="162096" y="181657"/>
                  </a:lnTo>
                  <a:cubicBezTo>
                    <a:pt x="162007" y="184323"/>
                    <a:pt x="162986" y="187078"/>
                    <a:pt x="165033" y="189123"/>
                  </a:cubicBezTo>
                  <a:lnTo>
                    <a:pt x="231878" y="255866"/>
                  </a:lnTo>
                  <a:cubicBezTo>
                    <a:pt x="216391" y="266619"/>
                    <a:pt x="197521" y="273018"/>
                    <a:pt x="177227" y="273018"/>
                  </a:cubicBezTo>
                  <a:cubicBezTo>
                    <a:pt x="124178" y="273018"/>
                    <a:pt x="81009" y="229915"/>
                    <a:pt x="81009" y="176947"/>
                  </a:cubicBezTo>
                  <a:cubicBezTo>
                    <a:pt x="81009" y="129134"/>
                    <a:pt x="116257" y="89497"/>
                    <a:pt x="162007" y="82209"/>
                  </a:cubicBezTo>
                  <a:close/>
                  <a:moveTo>
                    <a:pt x="182271" y="81150"/>
                  </a:moveTo>
                  <a:cubicBezTo>
                    <a:pt x="183250" y="81150"/>
                    <a:pt x="184230" y="81150"/>
                    <a:pt x="185209" y="81239"/>
                  </a:cubicBezTo>
                  <a:cubicBezTo>
                    <a:pt x="186277" y="81328"/>
                    <a:pt x="187434" y="81417"/>
                    <a:pt x="188503" y="81594"/>
                  </a:cubicBezTo>
                  <a:cubicBezTo>
                    <a:pt x="190728" y="81861"/>
                    <a:pt x="193043" y="82217"/>
                    <a:pt x="195268" y="82661"/>
                  </a:cubicBezTo>
                  <a:cubicBezTo>
                    <a:pt x="195891" y="82750"/>
                    <a:pt x="196603" y="82839"/>
                    <a:pt x="197315" y="83017"/>
                  </a:cubicBezTo>
                  <a:cubicBezTo>
                    <a:pt x="200075" y="83550"/>
                    <a:pt x="202835" y="84261"/>
                    <a:pt x="205505" y="85150"/>
                  </a:cubicBezTo>
                  <a:cubicBezTo>
                    <a:pt x="205594" y="85150"/>
                    <a:pt x="205772" y="85150"/>
                    <a:pt x="205950" y="85239"/>
                  </a:cubicBezTo>
                  <a:cubicBezTo>
                    <a:pt x="235949" y="94571"/>
                    <a:pt x="259628" y="118302"/>
                    <a:pt x="269064" y="148255"/>
                  </a:cubicBezTo>
                  <a:cubicBezTo>
                    <a:pt x="269064" y="148433"/>
                    <a:pt x="269153" y="148610"/>
                    <a:pt x="269153" y="148788"/>
                  </a:cubicBezTo>
                  <a:cubicBezTo>
                    <a:pt x="270044" y="151455"/>
                    <a:pt x="270667" y="154121"/>
                    <a:pt x="271290" y="156876"/>
                  </a:cubicBezTo>
                  <a:cubicBezTo>
                    <a:pt x="271468" y="157587"/>
                    <a:pt x="271557" y="158209"/>
                    <a:pt x="271646" y="158921"/>
                  </a:cubicBezTo>
                  <a:cubicBezTo>
                    <a:pt x="272091" y="161143"/>
                    <a:pt x="272447" y="163453"/>
                    <a:pt x="272714" y="165764"/>
                  </a:cubicBezTo>
                  <a:cubicBezTo>
                    <a:pt x="272803" y="166742"/>
                    <a:pt x="272892" y="167809"/>
                    <a:pt x="272981" y="168875"/>
                  </a:cubicBezTo>
                  <a:cubicBezTo>
                    <a:pt x="273070" y="169853"/>
                    <a:pt x="273159" y="170831"/>
                    <a:pt x="273159" y="171897"/>
                  </a:cubicBezTo>
                  <a:lnTo>
                    <a:pt x="182271" y="171897"/>
                  </a:lnTo>
                  <a:close/>
                  <a:moveTo>
                    <a:pt x="177210" y="60617"/>
                  </a:moveTo>
                  <a:cubicBezTo>
                    <a:pt x="176320" y="60617"/>
                    <a:pt x="175430" y="60795"/>
                    <a:pt x="174451" y="60795"/>
                  </a:cubicBezTo>
                  <a:cubicBezTo>
                    <a:pt x="173561" y="60795"/>
                    <a:pt x="172759" y="60706"/>
                    <a:pt x="171869" y="60795"/>
                  </a:cubicBezTo>
                  <a:lnTo>
                    <a:pt x="167508" y="61062"/>
                  </a:lnTo>
                  <a:lnTo>
                    <a:pt x="167419" y="61151"/>
                  </a:lnTo>
                  <a:cubicBezTo>
                    <a:pt x="107786" y="66128"/>
                    <a:pt x="60791" y="116080"/>
                    <a:pt x="60791" y="176964"/>
                  </a:cubicBezTo>
                  <a:cubicBezTo>
                    <a:pt x="60791" y="241048"/>
                    <a:pt x="113037" y="293221"/>
                    <a:pt x="177210" y="293221"/>
                  </a:cubicBezTo>
                  <a:cubicBezTo>
                    <a:pt x="206403" y="293221"/>
                    <a:pt x="233016" y="282378"/>
                    <a:pt x="253487" y="264601"/>
                  </a:cubicBezTo>
                  <a:cubicBezTo>
                    <a:pt x="253754" y="264424"/>
                    <a:pt x="254110" y="264335"/>
                    <a:pt x="254377" y="264068"/>
                  </a:cubicBezTo>
                  <a:cubicBezTo>
                    <a:pt x="254466" y="263890"/>
                    <a:pt x="254555" y="263713"/>
                    <a:pt x="254733" y="263535"/>
                  </a:cubicBezTo>
                  <a:cubicBezTo>
                    <a:pt x="276273" y="244247"/>
                    <a:pt x="290602" y="217138"/>
                    <a:pt x="293184" y="186652"/>
                  </a:cubicBezTo>
                  <a:lnTo>
                    <a:pt x="293362" y="186474"/>
                  </a:lnTo>
                  <a:lnTo>
                    <a:pt x="293540" y="182297"/>
                  </a:lnTo>
                  <a:cubicBezTo>
                    <a:pt x="293629" y="181408"/>
                    <a:pt x="293540" y="180519"/>
                    <a:pt x="293540" y="179630"/>
                  </a:cubicBezTo>
                  <a:cubicBezTo>
                    <a:pt x="293540" y="178741"/>
                    <a:pt x="293718" y="177853"/>
                    <a:pt x="293718" y="176964"/>
                  </a:cubicBezTo>
                  <a:cubicBezTo>
                    <a:pt x="293718" y="175719"/>
                    <a:pt x="293540" y="174475"/>
                    <a:pt x="293540" y="173320"/>
                  </a:cubicBezTo>
                  <a:cubicBezTo>
                    <a:pt x="293451" y="171453"/>
                    <a:pt x="293362" y="169676"/>
                    <a:pt x="293184" y="167898"/>
                  </a:cubicBezTo>
                  <a:cubicBezTo>
                    <a:pt x="293006" y="165498"/>
                    <a:pt x="292739" y="163098"/>
                    <a:pt x="292383" y="160698"/>
                  </a:cubicBezTo>
                  <a:cubicBezTo>
                    <a:pt x="292205" y="159276"/>
                    <a:pt x="292027" y="157854"/>
                    <a:pt x="291760" y="156432"/>
                  </a:cubicBezTo>
                  <a:cubicBezTo>
                    <a:pt x="291314" y="153766"/>
                    <a:pt x="290691" y="151188"/>
                    <a:pt x="290068" y="148522"/>
                  </a:cubicBezTo>
                  <a:cubicBezTo>
                    <a:pt x="289712" y="147366"/>
                    <a:pt x="289445" y="146211"/>
                    <a:pt x="289178" y="145144"/>
                  </a:cubicBezTo>
                  <a:cubicBezTo>
                    <a:pt x="288377" y="142389"/>
                    <a:pt x="287487" y="139722"/>
                    <a:pt x="286508" y="137145"/>
                  </a:cubicBezTo>
                  <a:cubicBezTo>
                    <a:pt x="286152" y="136078"/>
                    <a:pt x="285707" y="134923"/>
                    <a:pt x="285351" y="133856"/>
                  </a:cubicBezTo>
                  <a:cubicBezTo>
                    <a:pt x="284283" y="131367"/>
                    <a:pt x="283215" y="129057"/>
                    <a:pt x="282058" y="126657"/>
                  </a:cubicBezTo>
                  <a:cubicBezTo>
                    <a:pt x="281435" y="125412"/>
                    <a:pt x="280901" y="124168"/>
                    <a:pt x="280278" y="122924"/>
                  </a:cubicBezTo>
                  <a:cubicBezTo>
                    <a:pt x="279210" y="120968"/>
                    <a:pt x="278053" y="119013"/>
                    <a:pt x="276896" y="117057"/>
                  </a:cubicBezTo>
                  <a:cubicBezTo>
                    <a:pt x="276006" y="115546"/>
                    <a:pt x="275116" y="114035"/>
                    <a:pt x="274136" y="112613"/>
                  </a:cubicBezTo>
                  <a:cubicBezTo>
                    <a:pt x="273246" y="111191"/>
                    <a:pt x="272178" y="109858"/>
                    <a:pt x="271199" y="108525"/>
                  </a:cubicBezTo>
                  <a:cubicBezTo>
                    <a:pt x="269864" y="106658"/>
                    <a:pt x="268529" y="104792"/>
                    <a:pt x="267105" y="103014"/>
                  </a:cubicBezTo>
                  <a:cubicBezTo>
                    <a:pt x="266927" y="102836"/>
                    <a:pt x="266749" y="102659"/>
                    <a:pt x="266571" y="102481"/>
                  </a:cubicBezTo>
                  <a:cubicBezTo>
                    <a:pt x="264346" y="99814"/>
                    <a:pt x="262032" y="97148"/>
                    <a:pt x="259540" y="94659"/>
                  </a:cubicBezTo>
                  <a:cubicBezTo>
                    <a:pt x="256958" y="92082"/>
                    <a:pt x="254199" y="89682"/>
                    <a:pt x="251351" y="87371"/>
                  </a:cubicBezTo>
                  <a:cubicBezTo>
                    <a:pt x="251351" y="87282"/>
                    <a:pt x="251262" y="87282"/>
                    <a:pt x="251262" y="87193"/>
                  </a:cubicBezTo>
                  <a:cubicBezTo>
                    <a:pt x="249393" y="85682"/>
                    <a:pt x="247346" y="84260"/>
                    <a:pt x="245388" y="82838"/>
                  </a:cubicBezTo>
                  <a:cubicBezTo>
                    <a:pt x="244142" y="81949"/>
                    <a:pt x="242985" y="81060"/>
                    <a:pt x="241739" y="80171"/>
                  </a:cubicBezTo>
                  <a:cubicBezTo>
                    <a:pt x="240136" y="79105"/>
                    <a:pt x="238445" y="78216"/>
                    <a:pt x="236843" y="77238"/>
                  </a:cubicBezTo>
                  <a:cubicBezTo>
                    <a:pt x="235063" y="76172"/>
                    <a:pt x="233283" y="75105"/>
                    <a:pt x="231414" y="74039"/>
                  </a:cubicBezTo>
                  <a:cubicBezTo>
                    <a:pt x="230079" y="73328"/>
                    <a:pt x="228655" y="72705"/>
                    <a:pt x="227231" y="72083"/>
                  </a:cubicBezTo>
                  <a:cubicBezTo>
                    <a:pt x="225006" y="71017"/>
                    <a:pt x="222780" y="69950"/>
                    <a:pt x="220466" y="69061"/>
                  </a:cubicBezTo>
                  <a:cubicBezTo>
                    <a:pt x="219309" y="68617"/>
                    <a:pt x="218063" y="68172"/>
                    <a:pt x="216817" y="67728"/>
                  </a:cubicBezTo>
                  <a:cubicBezTo>
                    <a:pt x="214325" y="66839"/>
                    <a:pt x="211833" y="65950"/>
                    <a:pt x="209252" y="65239"/>
                  </a:cubicBezTo>
                  <a:cubicBezTo>
                    <a:pt x="208006" y="64884"/>
                    <a:pt x="206759" y="64617"/>
                    <a:pt x="205513" y="64262"/>
                  </a:cubicBezTo>
                  <a:cubicBezTo>
                    <a:pt x="202932" y="63639"/>
                    <a:pt x="200440" y="63017"/>
                    <a:pt x="197770" y="62573"/>
                  </a:cubicBezTo>
                  <a:cubicBezTo>
                    <a:pt x="196346" y="62306"/>
                    <a:pt x="194922" y="62128"/>
                    <a:pt x="193498" y="61951"/>
                  </a:cubicBezTo>
                  <a:cubicBezTo>
                    <a:pt x="191095" y="61595"/>
                    <a:pt x="188691" y="61329"/>
                    <a:pt x="186199" y="61062"/>
                  </a:cubicBezTo>
                  <a:cubicBezTo>
                    <a:pt x="184508" y="60973"/>
                    <a:pt x="182728" y="60884"/>
                    <a:pt x="181037" y="60795"/>
                  </a:cubicBezTo>
                  <a:cubicBezTo>
                    <a:pt x="179702" y="60795"/>
                    <a:pt x="178456" y="60617"/>
                    <a:pt x="177210" y="60617"/>
                  </a:cubicBezTo>
                  <a:close/>
                  <a:moveTo>
                    <a:pt x="431587" y="51374"/>
                  </a:moveTo>
                  <a:cubicBezTo>
                    <a:pt x="430252" y="51818"/>
                    <a:pt x="429273" y="52529"/>
                    <a:pt x="428294" y="53418"/>
                  </a:cubicBezTo>
                  <a:cubicBezTo>
                    <a:pt x="426424" y="55373"/>
                    <a:pt x="425356" y="58040"/>
                    <a:pt x="425356" y="60617"/>
                  </a:cubicBezTo>
                  <a:cubicBezTo>
                    <a:pt x="425356" y="63284"/>
                    <a:pt x="426424" y="65862"/>
                    <a:pt x="428294" y="67817"/>
                  </a:cubicBezTo>
                  <a:cubicBezTo>
                    <a:pt x="430163" y="69683"/>
                    <a:pt x="432833" y="70750"/>
                    <a:pt x="435414" y="70750"/>
                  </a:cubicBezTo>
                  <a:cubicBezTo>
                    <a:pt x="438084" y="70750"/>
                    <a:pt x="440754" y="69683"/>
                    <a:pt x="442623" y="67817"/>
                  </a:cubicBezTo>
                  <a:cubicBezTo>
                    <a:pt x="444493" y="65862"/>
                    <a:pt x="445561" y="63284"/>
                    <a:pt x="445561" y="60617"/>
                  </a:cubicBezTo>
                  <a:cubicBezTo>
                    <a:pt x="445561" y="58040"/>
                    <a:pt x="444493" y="55373"/>
                    <a:pt x="442623" y="53418"/>
                  </a:cubicBezTo>
                  <a:cubicBezTo>
                    <a:pt x="439775" y="50663"/>
                    <a:pt x="435325" y="49685"/>
                    <a:pt x="431587" y="51374"/>
                  </a:cubicBezTo>
                  <a:close/>
                  <a:moveTo>
                    <a:pt x="476000" y="50485"/>
                  </a:moveTo>
                  <a:cubicBezTo>
                    <a:pt x="470393" y="50485"/>
                    <a:pt x="465854" y="55018"/>
                    <a:pt x="465854" y="60617"/>
                  </a:cubicBezTo>
                  <a:cubicBezTo>
                    <a:pt x="465854" y="66217"/>
                    <a:pt x="470393" y="70750"/>
                    <a:pt x="476000" y="70750"/>
                  </a:cubicBezTo>
                  <a:lnTo>
                    <a:pt x="506351" y="70750"/>
                  </a:lnTo>
                  <a:cubicBezTo>
                    <a:pt x="511959" y="70750"/>
                    <a:pt x="516498" y="66217"/>
                    <a:pt x="516498" y="60617"/>
                  </a:cubicBezTo>
                  <a:cubicBezTo>
                    <a:pt x="516498" y="55018"/>
                    <a:pt x="511959" y="50485"/>
                    <a:pt x="506351" y="50485"/>
                  </a:cubicBezTo>
                  <a:close/>
                  <a:moveTo>
                    <a:pt x="374712" y="50485"/>
                  </a:moveTo>
                  <a:cubicBezTo>
                    <a:pt x="369105" y="50485"/>
                    <a:pt x="364566" y="55018"/>
                    <a:pt x="364566" y="60617"/>
                  </a:cubicBezTo>
                  <a:cubicBezTo>
                    <a:pt x="364566" y="66217"/>
                    <a:pt x="369105" y="70750"/>
                    <a:pt x="374712" y="70750"/>
                  </a:cubicBezTo>
                  <a:lnTo>
                    <a:pt x="394917" y="70750"/>
                  </a:lnTo>
                  <a:cubicBezTo>
                    <a:pt x="400524" y="70750"/>
                    <a:pt x="405063" y="66217"/>
                    <a:pt x="405063" y="60617"/>
                  </a:cubicBezTo>
                  <a:cubicBezTo>
                    <a:pt x="405063" y="55018"/>
                    <a:pt x="400524" y="50485"/>
                    <a:pt x="394917" y="50485"/>
                  </a:cubicBezTo>
                  <a:close/>
                  <a:moveTo>
                    <a:pt x="45571" y="0"/>
                  </a:moveTo>
                  <a:lnTo>
                    <a:pt x="562069" y="0"/>
                  </a:lnTo>
                  <a:cubicBezTo>
                    <a:pt x="587168" y="0"/>
                    <a:pt x="607639" y="20354"/>
                    <a:pt x="607639" y="45508"/>
                  </a:cubicBezTo>
                  <a:lnTo>
                    <a:pt x="607639" y="343795"/>
                  </a:lnTo>
                  <a:lnTo>
                    <a:pt x="0" y="343795"/>
                  </a:lnTo>
                  <a:lnTo>
                    <a:pt x="0" y="45508"/>
                  </a:lnTo>
                  <a:cubicBezTo>
                    <a:pt x="0" y="20354"/>
                    <a:pt x="20471" y="0"/>
                    <a:pt x="45571" y="0"/>
                  </a:cubicBezTo>
                  <a:close/>
                </a:path>
              </a:pathLst>
            </a:custGeom>
            <a:gradFill>
              <a:gsLst>
                <a:gs pos="33000">
                  <a:srgbClr val="4EBCF7"/>
                </a:gs>
                <a:gs pos="99000">
                  <a:srgbClr val="0870D3"/>
                </a:gs>
              </a:gsLst>
              <a:lin ang="10800000" scaled="0"/>
            </a:gradFill>
            <a:ln>
              <a:noFill/>
            </a:ln>
            <a:effectLst/>
          </p:spPr>
        </p:sp>
        <p:sp>
          <p:nvSpPr>
            <p:cNvPr id="2" name="矩形 1"/>
            <p:cNvSpPr/>
            <p:nvPr/>
          </p:nvSpPr>
          <p:spPr>
            <a:xfrm>
              <a:off x="1082791" y="386741"/>
              <a:ext cx="3523722" cy="5232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2800" kern="0" dirty="0">
                  <a:solidFill>
                    <a:srgbClr val="0870D3"/>
                  </a:solidFill>
                  <a:effectLst>
                    <a:outerShdw blurRad="76200" dist="127000" dir="8100000" algn="tr" rotWithShape="0">
                      <a:prstClr val="black">
                        <a:alpha val="40000"/>
                      </a:prstClr>
                    </a:outerShdw>
                  </a:effectLst>
                  <a:latin typeface="思源黑体 CN Bold" panose="020B0800000000000000" pitchFamily="34" charset="-122"/>
                  <a:ea typeface="思源黑体 CN Bold" panose="020B0800000000000000" pitchFamily="34" charset="-122"/>
                  <a:cs typeface="+mn-ea"/>
                  <a:sym typeface="+mn-lt"/>
                </a:rPr>
                <a:t>ENTER YOUR TITLE</a:t>
              </a:r>
              <a:endParaRPr lang="zh-CN" altLang="en-US" sz="2800" kern="0" dirty="0">
                <a:solidFill>
                  <a:srgbClr val="0870D3"/>
                </a:solidFill>
                <a:effectLst>
                  <a:outerShdw blurRad="76200" dist="127000" dir="8100000" algn="tr" rotWithShape="0">
                    <a:prstClr val="black">
                      <a:alpha val="40000"/>
                    </a:prstClr>
                  </a:outerShdw>
                </a:effectLst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endParaRPr>
            </a:p>
          </p:txBody>
        </p: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3000">
        <p:fade/>
      </p:transition>
    </mc:Choice>
    <mc:Fallback xmlns="">
      <p:transition spd="med" advClick="0" advTm="3000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/>
          <p:cNvPicPr>
            <a:picLocks noChangeAspect="1"/>
          </p:cNvPicPr>
          <p:nvPr/>
        </p:nvPicPr>
        <p:blipFill rotWithShape="1"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16" r="11588"/>
          <a:stretch>
            <a:fillRect/>
          </a:stretch>
        </p:blipFill>
        <p:spPr>
          <a:xfrm rot="10800000">
            <a:off x="0" y="-22731"/>
            <a:ext cx="12192000" cy="6858000"/>
          </a:xfrm>
          <a:prstGeom prst="rect">
            <a:avLst/>
          </a:prstGeom>
        </p:spPr>
      </p:pic>
      <p:sp>
        <p:nvSpPr>
          <p:cNvPr id="10" name="菱形 9"/>
          <p:cNvSpPr/>
          <p:nvPr/>
        </p:nvSpPr>
        <p:spPr>
          <a:xfrm>
            <a:off x="1375687" y="2338397"/>
            <a:ext cx="1597445" cy="1597445"/>
          </a:xfrm>
          <a:prstGeom prst="diamond">
            <a:avLst/>
          </a:prstGeom>
          <a:gradFill>
            <a:gsLst>
              <a:gs pos="0">
                <a:srgbClr val="0870D3"/>
              </a:gs>
              <a:gs pos="100000">
                <a:srgbClr val="4EBCF7"/>
              </a:gs>
            </a:gsLst>
            <a:lin ang="9000000" scaled="0"/>
          </a:gradFill>
          <a:ln>
            <a:noFill/>
          </a:ln>
          <a:effectLst>
            <a:outerShdw blurRad="177800" dist="762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3200" dirty="0">
                <a:effectLst/>
                <a:latin typeface="思源黑体 CN Bold" panose="020B0800000000000000" pitchFamily="34" charset="-122"/>
                <a:ea typeface="思源黑体 CN Bold" panose="020B0800000000000000" pitchFamily="34" charset="-122"/>
              </a:rPr>
              <a:t>02</a:t>
            </a:r>
          </a:p>
        </p:txBody>
      </p:sp>
      <p:grpSp>
        <p:nvGrpSpPr>
          <p:cNvPr id="4" name="组合 3"/>
          <p:cNvGrpSpPr/>
          <p:nvPr/>
        </p:nvGrpSpPr>
        <p:grpSpPr>
          <a:xfrm>
            <a:off x="3242507" y="2597563"/>
            <a:ext cx="5277379" cy="1863107"/>
            <a:chOff x="2723241" y="3019858"/>
            <a:chExt cx="5592011" cy="1863107"/>
          </a:xfrm>
        </p:grpSpPr>
        <p:sp>
          <p:nvSpPr>
            <p:cNvPr id="6" name="文本框 5"/>
            <p:cNvSpPr txBox="1"/>
            <p:nvPr/>
          </p:nvSpPr>
          <p:spPr>
            <a:xfrm>
              <a:off x="2723241" y="3019858"/>
              <a:ext cx="2369848" cy="9185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kumimoji="1" lang="zh-CN" altLang="en-US" sz="4000" dirty="0">
                  <a:solidFill>
                    <a:srgbClr val="0870D3"/>
                  </a:solidFill>
                  <a:effectLst/>
                  <a:latin typeface="思源黑体 CN Bold" panose="020B0800000000000000" pitchFamily="34" charset="-122"/>
                  <a:ea typeface="思源黑体 CN Bold" panose="020B0800000000000000" pitchFamily="34" charset="-122"/>
                  <a:cs typeface="+mn-ea"/>
                  <a:sym typeface="+mn-lt"/>
                </a:rPr>
                <a:t>完成情况</a:t>
              </a:r>
            </a:p>
          </p:txBody>
        </p:sp>
        <p:sp>
          <p:nvSpPr>
            <p:cNvPr id="7" name="Content Placeholder 2"/>
            <p:cNvSpPr txBox="1"/>
            <p:nvPr/>
          </p:nvSpPr>
          <p:spPr>
            <a:xfrm>
              <a:off x="2723241" y="3833310"/>
              <a:ext cx="5592011" cy="1049655"/>
            </a:xfrm>
            <a:prstGeom prst="rect">
              <a:avLst/>
            </a:prstGeom>
          </p:spPr>
          <p:txBody>
            <a:bodyPr vert="horz" lIns="121920" tIns="60960" rIns="121920" bIns="60960" rtlCol="0">
              <a:noAutofit/>
            </a:bodyPr>
            <a:lstStyle>
              <a:lvl1pPr marL="342900" indent="-3429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20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05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»"/>
                <a:defRPr sz="105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50000"/>
                </a:lnSpc>
                <a:buNone/>
              </a:pPr>
              <a:r>
                <a:rPr lang="en-US" altLang="zh-CN" sz="1600" dirty="0">
                  <a:solidFill>
                    <a:srgbClr val="0870D3"/>
                  </a:solidFill>
                  <a:effectLst/>
                  <a:latin typeface="思源黑体 CN Bold" panose="020B0800000000000000" pitchFamily="34" charset="-122"/>
                  <a:ea typeface="思源黑体 CN Bold" panose="020B0800000000000000" pitchFamily="34" charset="-122"/>
                  <a:cs typeface="+mn-ea"/>
                  <a:sym typeface="+mn-lt"/>
                </a:rPr>
                <a:t>Efficiently pontificate B2B imperatives for principle-centered schemas. </a:t>
              </a:r>
            </a:p>
          </p:txBody>
        </p: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3000">
        <p:fade/>
      </p:transition>
    </mc:Choice>
    <mc:Fallback xmlns="">
      <p:transition spd="med" advClick="0" advTm="3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ïṡľídé"/>
          <p:cNvSpPr/>
          <p:nvPr/>
        </p:nvSpPr>
        <p:spPr bwMode="auto">
          <a:xfrm>
            <a:off x="3750519" y="1493889"/>
            <a:ext cx="4690961" cy="4678311"/>
          </a:xfrm>
          <a:prstGeom prst="donut">
            <a:avLst>
              <a:gd name="adj" fmla="val 5000"/>
            </a:avLst>
          </a:prstGeom>
          <a:solidFill>
            <a:schemeClr val="tx2">
              <a:lumMod val="20000"/>
              <a:lumOff val="80000"/>
              <a:alpha val="2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zh-CN" altLang="en-US" dirty="0">
              <a:solidFill>
                <a:schemeClr val="lt1"/>
              </a:solidFill>
              <a:latin typeface="思源黑体 CN Normal" panose="020B0400000000000000" pitchFamily="34" charset="-122"/>
              <a:ea typeface="思源黑体 CN Normal" panose="020B0400000000000000" pitchFamily="34" charset="-122"/>
            </a:endParaRPr>
          </a:p>
        </p:txBody>
      </p:sp>
      <p:sp>
        <p:nvSpPr>
          <p:cNvPr id="5" name="iṩľîḓè"/>
          <p:cNvSpPr/>
          <p:nvPr/>
        </p:nvSpPr>
        <p:spPr bwMode="auto">
          <a:xfrm>
            <a:off x="4219615" y="1961720"/>
            <a:ext cx="3752769" cy="3742648"/>
          </a:xfrm>
          <a:prstGeom prst="donut">
            <a:avLst>
              <a:gd name="adj" fmla="val 6250"/>
            </a:avLst>
          </a:prstGeom>
          <a:solidFill>
            <a:schemeClr val="tx2">
              <a:lumMod val="20000"/>
              <a:lumOff val="80000"/>
              <a:alpha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zh-CN" altLang="en-US" dirty="0">
              <a:solidFill>
                <a:schemeClr val="lt1"/>
              </a:solidFill>
              <a:latin typeface="思源黑体 CN Normal" panose="020B0400000000000000" pitchFamily="34" charset="-122"/>
              <a:ea typeface="思源黑体 CN Normal" panose="020B0400000000000000" pitchFamily="34" charset="-122"/>
            </a:endParaRPr>
          </a:p>
        </p:txBody>
      </p:sp>
      <p:sp>
        <p:nvSpPr>
          <p:cNvPr id="6" name="iṣḻïde"/>
          <p:cNvSpPr/>
          <p:nvPr/>
        </p:nvSpPr>
        <p:spPr bwMode="auto">
          <a:xfrm>
            <a:off x="4688711" y="2429552"/>
            <a:ext cx="2814577" cy="2806986"/>
          </a:xfrm>
          <a:prstGeom prst="donut">
            <a:avLst>
              <a:gd name="adj" fmla="val 8333"/>
            </a:avLst>
          </a:prstGeom>
          <a:solidFill>
            <a:schemeClr val="tx2">
              <a:lumMod val="20000"/>
              <a:lumOff val="80000"/>
              <a:alpha val="7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zh-CN" altLang="en-US" dirty="0">
              <a:solidFill>
                <a:schemeClr val="lt1"/>
              </a:solidFill>
              <a:latin typeface="思源黑体 CN Normal" panose="020B0400000000000000" pitchFamily="34" charset="-122"/>
              <a:ea typeface="思源黑体 CN Normal" panose="020B0400000000000000" pitchFamily="34" charset="-122"/>
            </a:endParaRPr>
          </a:p>
        </p:txBody>
      </p:sp>
      <p:sp>
        <p:nvSpPr>
          <p:cNvPr id="7" name="íŝḻîďè"/>
          <p:cNvSpPr/>
          <p:nvPr/>
        </p:nvSpPr>
        <p:spPr bwMode="auto">
          <a:xfrm>
            <a:off x="5157807" y="2897382"/>
            <a:ext cx="1876385" cy="1871325"/>
          </a:xfrm>
          <a:prstGeom prst="ellipse">
            <a:avLst/>
          </a:prstGeom>
          <a:blipFill>
            <a:blip r:embed="rId3" cstate="screen"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zh-CN" altLang="en-US" dirty="0">
              <a:latin typeface="思源黑体 CN Normal" panose="020B0400000000000000" pitchFamily="34" charset="-122"/>
              <a:ea typeface="思源黑体 CN Normal" panose="020B0400000000000000" pitchFamily="34" charset="-122"/>
            </a:endParaRPr>
          </a:p>
        </p:txBody>
      </p:sp>
      <p:sp>
        <p:nvSpPr>
          <p:cNvPr id="26" name="iSḷíḑé"/>
          <p:cNvSpPr/>
          <p:nvPr/>
        </p:nvSpPr>
        <p:spPr>
          <a:xfrm>
            <a:off x="3647611" y="2137019"/>
            <a:ext cx="1144007" cy="1144007"/>
          </a:xfrm>
          <a:prstGeom prst="ellipse">
            <a:avLst/>
          </a:prstGeom>
          <a:gradFill>
            <a:gsLst>
              <a:gs pos="33000">
                <a:srgbClr val="0870D3"/>
              </a:gs>
              <a:gs pos="100000">
                <a:srgbClr val="4EBCF7"/>
              </a:gs>
            </a:gsLst>
            <a:lin ang="10800000" scaled="0"/>
          </a:gradFill>
          <a:ln>
            <a:noFill/>
          </a:ln>
          <a:effectLst>
            <a:outerShdw blurRad="762000" dist="2540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360000" bIns="45720" numCol="1" spcCol="0" rtlCol="0" fromWordArt="0" anchor="ctr" anchorCtr="0" forceAA="0" compatLnSpc="1">
            <a:noAutofit/>
          </a:bodyPr>
          <a:lstStyle/>
          <a:p>
            <a:pPr algn="r" defTabSz="914400"/>
            <a:endParaRPr lang="en-US" sz="1400" b="1">
              <a:latin typeface="思源黑体 CN Normal" panose="020B0400000000000000" pitchFamily="34" charset="-122"/>
              <a:ea typeface="思源黑体 CN Normal" panose="020B0400000000000000" pitchFamily="34" charset="-122"/>
              <a:cs typeface="Open Sans" panose="020B0606030504020204" charset="0"/>
            </a:endParaRPr>
          </a:p>
        </p:txBody>
      </p:sp>
      <p:sp>
        <p:nvSpPr>
          <p:cNvPr id="27" name="ïšḷiḓè"/>
          <p:cNvSpPr/>
          <p:nvPr/>
        </p:nvSpPr>
        <p:spPr bwMode="auto">
          <a:xfrm>
            <a:off x="3942100" y="2458771"/>
            <a:ext cx="555029" cy="500503"/>
          </a:xfrm>
          <a:custGeom>
            <a:avLst/>
            <a:gdLst>
              <a:gd name="connsiteX0" fmla="*/ 521432 w 608344"/>
              <a:gd name="connsiteY0" fmla="*/ 370453 h 548582"/>
              <a:gd name="connsiteX1" fmla="*/ 465737 w 608344"/>
              <a:gd name="connsiteY1" fmla="*/ 425787 h 548582"/>
              <a:gd name="connsiteX2" fmla="*/ 442491 w 608344"/>
              <a:gd name="connsiteY2" fmla="*/ 402479 h 548582"/>
              <a:gd name="connsiteX3" fmla="*/ 418201 w 608344"/>
              <a:gd name="connsiteY3" fmla="*/ 426545 h 548582"/>
              <a:gd name="connsiteX4" fmla="*/ 441447 w 608344"/>
              <a:gd name="connsiteY4" fmla="*/ 449948 h 548582"/>
              <a:gd name="connsiteX5" fmla="*/ 465642 w 608344"/>
              <a:gd name="connsiteY5" fmla="*/ 474204 h 548582"/>
              <a:gd name="connsiteX6" fmla="*/ 489932 w 608344"/>
              <a:gd name="connsiteY6" fmla="*/ 450043 h 548582"/>
              <a:gd name="connsiteX7" fmla="*/ 545532 w 608344"/>
              <a:gd name="connsiteY7" fmla="*/ 394709 h 548582"/>
              <a:gd name="connsiteX8" fmla="*/ 481962 w 608344"/>
              <a:gd name="connsiteY8" fmla="*/ 296170 h 548582"/>
              <a:gd name="connsiteX9" fmla="*/ 608344 w 608344"/>
              <a:gd name="connsiteY9" fmla="*/ 422376 h 548582"/>
              <a:gd name="connsiteX10" fmla="*/ 481962 w 608344"/>
              <a:gd name="connsiteY10" fmla="*/ 548582 h 548582"/>
              <a:gd name="connsiteX11" fmla="*/ 355579 w 608344"/>
              <a:gd name="connsiteY11" fmla="*/ 422376 h 548582"/>
              <a:gd name="connsiteX12" fmla="*/ 481962 w 608344"/>
              <a:gd name="connsiteY12" fmla="*/ 296170 h 548582"/>
              <a:gd name="connsiteX13" fmla="*/ 255835 w 608344"/>
              <a:gd name="connsiteY13" fmla="*/ 446 h 548582"/>
              <a:gd name="connsiteX14" fmla="*/ 317801 w 608344"/>
              <a:gd name="connsiteY14" fmla="*/ 13616 h 548582"/>
              <a:gd name="connsiteX15" fmla="*/ 348072 w 608344"/>
              <a:gd name="connsiteY15" fmla="*/ 41661 h 548582"/>
              <a:gd name="connsiteX16" fmla="*/ 381190 w 608344"/>
              <a:gd name="connsiteY16" fmla="*/ 146831 h 548582"/>
              <a:gd name="connsiteX17" fmla="*/ 378913 w 608344"/>
              <a:gd name="connsiteY17" fmla="*/ 156211 h 548582"/>
              <a:gd name="connsiteX18" fmla="*/ 387833 w 608344"/>
              <a:gd name="connsiteY18" fmla="*/ 200458 h 548582"/>
              <a:gd name="connsiteX19" fmla="*/ 366387 w 608344"/>
              <a:gd name="connsiteY19" fmla="*/ 237694 h 548582"/>
              <a:gd name="connsiteX20" fmla="*/ 351393 w 608344"/>
              <a:gd name="connsiteY20" fmla="*/ 278720 h 548582"/>
              <a:gd name="connsiteX21" fmla="*/ 351393 w 608344"/>
              <a:gd name="connsiteY21" fmla="*/ 322873 h 548582"/>
              <a:gd name="connsiteX22" fmla="*/ 317611 w 608344"/>
              <a:gd name="connsiteY22" fmla="*/ 422358 h 548582"/>
              <a:gd name="connsiteX23" fmla="*/ 376635 w 608344"/>
              <a:gd name="connsiteY23" fmla="*/ 548088 h 548582"/>
              <a:gd name="connsiteX24" fmla="*/ 26855 w 608344"/>
              <a:gd name="connsiteY24" fmla="*/ 548088 h 548582"/>
              <a:gd name="connsiteX25" fmla="*/ 0 w 608344"/>
              <a:gd name="connsiteY25" fmla="*/ 521274 h 548582"/>
              <a:gd name="connsiteX26" fmla="*/ 0 w 608344"/>
              <a:gd name="connsiteY26" fmla="*/ 473806 h 548582"/>
              <a:gd name="connsiteX27" fmla="*/ 19453 w 608344"/>
              <a:gd name="connsiteY27" fmla="*/ 432969 h 548582"/>
              <a:gd name="connsiteX28" fmla="*/ 173751 w 608344"/>
              <a:gd name="connsiteY28" fmla="*/ 334242 h 548582"/>
              <a:gd name="connsiteX29" fmla="*/ 176408 w 608344"/>
              <a:gd name="connsiteY29" fmla="*/ 329884 h 548582"/>
              <a:gd name="connsiteX30" fmla="*/ 176408 w 608344"/>
              <a:gd name="connsiteY30" fmla="*/ 278720 h 548582"/>
              <a:gd name="connsiteX31" fmla="*/ 161320 w 608344"/>
              <a:gd name="connsiteY31" fmla="*/ 237694 h 548582"/>
              <a:gd name="connsiteX32" fmla="*/ 139969 w 608344"/>
              <a:gd name="connsiteY32" fmla="*/ 200458 h 548582"/>
              <a:gd name="connsiteX33" fmla="*/ 148320 w 608344"/>
              <a:gd name="connsiteY33" fmla="*/ 156211 h 548582"/>
              <a:gd name="connsiteX34" fmla="*/ 146042 w 608344"/>
              <a:gd name="connsiteY34" fmla="*/ 146736 h 548582"/>
              <a:gd name="connsiteX35" fmla="*/ 145758 w 608344"/>
              <a:gd name="connsiteY35" fmla="*/ 95099 h 548582"/>
              <a:gd name="connsiteX36" fmla="*/ 176029 w 608344"/>
              <a:gd name="connsiteY36" fmla="*/ 42135 h 548582"/>
              <a:gd name="connsiteX37" fmla="*/ 203928 w 608344"/>
              <a:gd name="connsiteY37" fmla="*/ 19017 h 548582"/>
              <a:gd name="connsiteX38" fmla="*/ 231162 w 608344"/>
              <a:gd name="connsiteY38" fmla="*/ 5089 h 548582"/>
              <a:gd name="connsiteX39" fmla="*/ 255835 w 608344"/>
              <a:gd name="connsiteY39" fmla="*/ 446 h 5485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608344" h="548582">
                <a:moveTo>
                  <a:pt x="521432" y="370453"/>
                </a:moveTo>
                <a:lnTo>
                  <a:pt x="465737" y="425787"/>
                </a:lnTo>
                <a:lnTo>
                  <a:pt x="442491" y="402479"/>
                </a:lnTo>
                <a:lnTo>
                  <a:pt x="418201" y="426545"/>
                </a:lnTo>
                <a:lnTo>
                  <a:pt x="441447" y="449948"/>
                </a:lnTo>
                <a:lnTo>
                  <a:pt x="465642" y="474204"/>
                </a:lnTo>
                <a:lnTo>
                  <a:pt x="489932" y="450043"/>
                </a:lnTo>
                <a:lnTo>
                  <a:pt x="545532" y="394709"/>
                </a:lnTo>
                <a:close/>
                <a:moveTo>
                  <a:pt x="481962" y="296170"/>
                </a:moveTo>
                <a:cubicBezTo>
                  <a:pt x="551795" y="296170"/>
                  <a:pt x="608344" y="352641"/>
                  <a:pt x="608344" y="422376"/>
                </a:cubicBezTo>
                <a:cubicBezTo>
                  <a:pt x="608344" y="492111"/>
                  <a:pt x="551795" y="548582"/>
                  <a:pt x="481962" y="548582"/>
                </a:cubicBezTo>
                <a:cubicBezTo>
                  <a:pt x="412129" y="548582"/>
                  <a:pt x="355579" y="492111"/>
                  <a:pt x="355579" y="422376"/>
                </a:cubicBezTo>
                <a:cubicBezTo>
                  <a:pt x="355579" y="352641"/>
                  <a:pt x="412129" y="296170"/>
                  <a:pt x="481962" y="296170"/>
                </a:cubicBezTo>
                <a:close/>
                <a:moveTo>
                  <a:pt x="255835" y="446"/>
                </a:moveTo>
                <a:cubicBezTo>
                  <a:pt x="282785" y="-1828"/>
                  <a:pt x="303187" y="4899"/>
                  <a:pt x="317801" y="13616"/>
                </a:cubicBezTo>
                <a:cubicBezTo>
                  <a:pt x="339721" y="25744"/>
                  <a:pt x="348072" y="41661"/>
                  <a:pt x="348072" y="41661"/>
                </a:cubicBezTo>
                <a:cubicBezTo>
                  <a:pt x="348072" y="41661"/>
                  <a:pt x="398176" y="45167"/>
                  <a:pt x="381190" y="146831"/>
                </a:cubicBezTo>
                <a:cubicBezTo>
                  <a:pt x="380621" y="149863"/>
                  <a:pt x="379862" y="153085"/>
                  <a:pt x="378913" y="156211"/>
                </a:cubicBezTo>
                <a:cubicBezTo>
                  <a:pt x="388592" y="156211"/>
                  <a:pt x="398271" y="163507"/>
                  <a:pt x="387833" y="200458"/>
                </a:cubicBezTo>
                <a:cubicBezTo>
                  <a:pt x="379672" y="229262"/>
                  <a:pt x="372080" y="237221"/>
                  <a:pt x="366387" y="237694"/>
                </a:cubicBezTo>
                <a:cubicBezTo>
                  <a:pt x="364394" y="250675"/>
                  <a:pt x="359175" y="265076"/>
                  <a:pt x="351393" y="278720"/>
                </a:cubicBezTo>
                <a:lnTo>
                  <a:pt x="351393" y="322873"/>
                </a:lnTo>
                <a:cubicBezTo>
                  <a:pt x="330232" y="350539"/>
                  <a:pt x="317611" y="385027"/>
                  <a:pt x="317611" y="422358"/>
                </a:cubicBezTo>
                <a:cubicBezTo>
                  <a:pt x="317611" y="472764"/>
                  <a:pt x="340480" y="518053"/>
                  <a:pt x="376635" y="548088"/>
                </a:cubicBezTo>
                <a:lnTo>
                  <a:pt x="26855" y="548088"/>
                </a:lnTo>
                <a:cubicBezTo>
                  <a:pt x="12052" y="548088"/>
                  <a:pt x="0" y="536055"/>
                  <a:pt x="0" y="521274"/>
                </a:cubicBezTo>
                <a:lnTo>
                  <a:pt x="0" y="473806"/>
                </a:lnTo>
                <a:cubicBezTo>
                  <a:pt x="0" y="457983"/>
                  <a:pt x="7212" y="443013"/>
                  <a:pt x="19453" y="432969"/>
                </a:cubicBezTo>
                <a:cubicBezTo>
                  <a:pt x="86638" y="377921"/>
                  <a:pt x="159043" y="341443"/>
                  <a:pt x="173751" y="334242"/>
                </a:cubicBezTo>
                <a:cubicBezTo>
                  <a:pt x="175365" y="333484"/>
                  <a:pt x="176408" y="331779"/>
                  <a:pt x="176408" y="329884"/>
                </a:cubicBezTo>
                <a:lnTo>
                  <a:pt x="176408" y="278720"/>
                </a:lnTo>
                <a:cubicBezTo>
                  <a:pt x="168437" y="265076"/>
                  <a:pt x="163313" y="250675"/>
                  <a:pt x="161320" y="237694"/>
                </a:cubicBezTo>
                <a:cubicBezTo>
                  <a:pt x="155627" y="237221"/>
                  <a:pt x="148035" y="229072"/>
                  <a:pt x="139969" y="200458"/>
                </a:cubicBezTo>
                <a:cubicBezTo>
                  <a:pt x="129531" y="164170"/>
                  <a:pt x="138925" y="156496"/>
                  <a:pt x="148320" y="156211"/>
                </a:cubicBezTo>
                <a:cubicBezTo>
                  <a:pt x="147371" y="153085"/>
                  <a:pt x="146612" y="149863"/>
                  <a:pt x="146042" y="146736"/>
                </a:cubicBezTo>
                <a:cubicBezTo>
                  <a:pt x="142436" y="128450"/>
                  <a:pt x="141487" y="111396"/>
                  <a:pt x="145758" y="95099"/>
                </a:cubicBezTo>
                <a:cubicBezTo>
                  <a:pt x="150787" y="73212"/>
                  <a:pt x="162744" y="55684"/>
                  <a:pt x="176029" y="42135"/>
                </a:cubicBezTo>
                <a:cubicBezTo>
                  <a:pt x="184379" y="33134"/>
                  <a:pt x="193869" y="25459"/>
                  <a:pt x="203928" y="19017"/>
                </a:cubicBezTo>
                <a:cubicBezTo>
                  <a:pt x="212183" y="13332"/>
                  <a:pt x="221293" y="8405"/>
                  <a:pt x="231162" y="5089"/>
                </a:cubicBezTo>
                <a:cubicBezTo>
                  <a:pt x="238849" y="2625"/>
                  <a:pt x="247105" y="825"/>
                  <a:pt x="255835" y="44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762000" dist="2540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360000" bIns="45720" numCol="1" spcCol="0" rtlCol="0" fromWordArt="0" anchor="ctr" anchorCtr="0" forceAA="0" compatLnSpc="1">
            <a:noAutofit/>
          </a:bodyPr>
          <a:lstStyle/>
          <a:p>
            <a:pPr algn="r" defTabSz="914400"/>
            <a:endParaRPr lang="zh-CN" altLang="en-US" sz="1400" b="1">
              <a:solidFill>
                <a:schemeClr val="lt1"/>
              </a:solidFill>
              <a:latin typeface="思源黑体 CN Normal" panose="020B0400000000000000" pitchFamily="34" charset="-122"/>
              <a:ea typeface="思源黑体 CN Normal" panose="020B0400000000000000" pitchFamily="34" charset="-122"/>
              <a:cs typeface="Open Sans" panose="020B0606030504020204" charset="0"/>
            </a:endParaRPr>
          </a:p>
        </p:txBody>
      </p:sp>
      <p:sp>
        <p:nvSpPr>
          <p:cNvPr id="24" name="íṣḷïḑe"/>
          <p:cNvSpPr/>
          <p:nvPr/>
        </p:nvSpPr>
        <p:spPr>
          <a:xfrm>
            <a:off x="3647611" y="4326446"/>
            <a:ext cx="1144007" cy="1144007"/>
          </a:xfrm>
          <a:prstGeom prst="ellipse">
            <a:avLst/>
          </a:prstGeom>
          <a:gradFill>
            <a:gsLst>
              <a:gs pos="33000">
                <a:srgbClr val="0870D3"/>
              </a:gs>
              <a:gs pos="100000">
                <a:srgbClr val="4EBCF7"/>
              </a:gs>
            </a:gsLst>
            <a:lin ang="10800000" scaled="0"/>
          </a:gradFill>
          <a:ln>
            <a:noFill/>
          </a:ln>
          <a:effectLst>
            <a:outerShdw blurRad="762000" dist="2540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360000" bIns="45720" numCol="1" spcCol="0" rtlCol="0" fromWordArt="0" anchor="ctr" anchorCtr="0" forceAA="0" compatLnSpc="1">
            <a:noAutofit/>
          </a:bodyPr>
          <a:lstStyle/>
          <a:p>
            <a:pPr algn="r" defTabSz="914400"/>
            <a:endParaRPr lang="en-US" sz="1400" b="1">
              <a:latin typeface="思源黑体 CN Normal" panose="020B0400000000000000" pitchFamily="34" charset="-122"/>
              <a:ea typeface="思源黑体 CN Normal" panose="020B0400000000000000" pitchFamily="34" charset="-122"/>
              <a:cs typeface="Open Sans" panose="020B0606030504020204" charset="0"/>
            </a:endParaRPr>
          </a:p>
        </p:txBody>
      </p:sp>
      <p:sp>
        <p:nvSpPr>
          <p:cNvPr id="25" name="îŝḷide"/>
          <p:cNvSpPr/>
          <p:nvPr/>
        </p:nvSpPr>
        <p:spPr bwMode="auto">
          <a:xfrm>
            <a:off x="3942100" y="4648198"/>
            <a:ext cx="555029" cy="500503"/>
          </a:xfrm>
          <a:custGeom>
            <a:avLst/>
            <a:gdLst>
              <a:gd name="connsiteX0" fmla="*/ 521432 w 608344"/>
              <a:gd name="connsiteY0" fmla="*/ 370453 h 548582"/>
              <a:gd name="connsiteX1" fmla="*/ 465737 w 608344"/>
              <a:gd name="connsiteY1" fmla="*/ 425787 h 548582"/>
              <a:gd name="connsiteX2" fmla="*/ 442491 w 608344"/>
              <a:gd name="connsiteY2" fmla="*/ 402479 h 548582"/>
              <a:gd name="connsiteX3" fmla="*/ 418201 w 608344"/>
              <a:gd name="connsiteY3" fmla="*/ 426545 h 548582"/>
              <a:gd name="connsiteX4" fmla="*/ 441447 w 608344"/>
              <a:gd name="connsiteY4" fmla="*/ 449948 h 548582"/>
              <a:gd name="connsiteX5" fmla="*/ 465642 w 608344"/>
              <a:gd name="connsiteY5" fmla="*/ 474204 h 548582"/>
              <a:gd name="connsiteX6" fmla="*/ 489932 w 608344"/>
              <a:gd name="connsiteY6" fmla="*/ 450043 h 548582"/>
              <a:gd name="connsiteX7" fmla="*/ 545532 w 608344"/>
              <a:gd name="connsiteY7" fmla="*/ 394709 h 548582"/>
              <a:gd name="connsiteX8" fmla="*/ 481962 w 608344"/>
              <a:gd name="connsiteY8" fmla="*/ 296170 h 548582"/>
              <a:gd name="connsiteX9" fmla="*/ 608344 w 608344"/>
              <a:gd name="connsiteY9" fmla="*/ 422376 h 548582"/>
              <a:gd name="connsiteX10" fmla="*/ 481962 w 608344"/>
              <a:gd name="connsiteY10" fmla="*/ 548582 h 548582"/>
              <a:gd name="connsiteX11" fmla="*/ 355579 w 608344"/>
              <a:gd name="connsiteY11" fmla="*/ 422376 h 548582"/>
              <a:gd name="connsiteX12" fmla="*/ 481962 w 608344"/>
              <a:gd name="connsiteY12" fmla="*/ 296170 h 548582"/>
              <a:gd name="connsiteX13" fmla="*/ 255835 w 608344"/>
              <a:gd name="connsiteY13" fmla="*/ 446 h 548582"/>
              <a:gd name="connsiteX14" fmla="*/ 317801 w 608344"/>
              <a:gd name="connsiteY14" fmla="*/ 13616 h 548582"/>
              <a:gd name="connsiteX15" fmla="*/ 348072 w 608344"/>
              <a:gd name="connsiteY15" fmla="*/ 41661 h 548582"/>
              <a:gd name="connsiteX16" fmla="*/ 381190 w 608344"/>
              <a:gd name="connsiteY16" fmla="*/ 146831 h 548582"/>
              <a:gd name="connsiteX17" fmla="*/ 378913 w 608344"/>
              <a:gd name="connsiteY17" fmla="*/ 156211 h 548582"/>
              <a:gd name="connsiteX18" fmla="*/ 387833 w 608344"/>
              <a:gd name="connsiteY18" fmla="*/ 200458 h 548582"/>
              <a:gd name="connsiteX19" fmla="*/ 366387 w 608344"/>
              <a:gd name="connsiteY19" fmla="*/ 237694 h 548582"/>
              <a:gd name="connsiteX20" fmla="*/ 351393 w 608344"/>
              <a:gd name="connsiteY20" fmla="*/ 278720 h 548582"/>
              <a:gd name="connsiteX21" fmla="*/ 351393 w 608344"/>
              <a:gd name="connsiteY21" fmla="*/ 322873 h 548582"/>
              <a:gd name="connsiteX22" fmla="*/ 317611 w 608344"/>
              <a:gd name="connsiteY22" fmla="*/ 422358 h 548582"/>
              <a:gd name="connsiteX23" fmla="*/ 376635 w 608344"/>
              <a:gd name="connsiteY23" fmla="*/ 548088 h 548582"/>
              <a:gd name="connsiteX24" fmla="*/ 26855 w 608344"/>
              <a:gd name="connsiteY24" fmla="*/ 548088 h 548582"/>
              <a:gd name="connsiteX25" fmla="*/ 0 w 608344"/>
              <a:gd name="connsiteY25" fmla="*/ 521274 h 548582"/>
              <a:gd name="connsiteX26" fmla="*/ 0 w 608344"/>
              <a:gd name="connsiteY26" fmla="*/ 473806 h 548582"/>
              <a:gd name="connsiteX27" fmla="*/ 19453 w 608344"/>
              <a:gd name="connsiteY27" fmla="*/ 432969 h 548582"/>
              <a:gd name="connsiteX28" fmla="*/ 173751 w 608344"/>
              <a:gd name="connsiteY28" fmla="*/ 334242 h 548582"/>
              <a:gd name="connsiteX29" fmla="*/ 176408 w 608344"/>
              <a:gd name="connsiteY29" fmla="*/ 329884 h 548582"/>
              <a:gd name="connsiteX30" fmla="*/ 176408 w 608344"/>
              <a:gd name="connsiteY30" fmla="*/ 278720 h 548582"/>
              <a:gd name="connsiteX31" fmla="*/ 161320 w 608344"/>
              <a:gd name="connsiteY31" fmla="*/ 237694 h 548582"/>
              <a:gd name="connsiteX32" fmla="*/ 139969 w 608344"/>
              <a:gd name="connsiteY32" fmla="*/ 200458 h 548582"/>
              <a:gd name="connsiteX33" fmla="*/ 148320 w 608344"/>
              <a:gd name="connsiteY33" fmla="*/ 156211 h 548582"/>
              <a:gd name="connsiteX34" fmla="*/ 146042 w 608344"/>
              <a:gd name="connsiteY34" fmla="*/ 146736 h 548582"/>
              <a:gd name="connsiteX35" fmla="*/ 145758 w 608344"/>
              <a:gd name="connsiteY35" fmla="*/ 95099 h 548582"/>
              <a:gd name="connsiteX36" fmla="*/ 176029 w 608344"/>
              <a:gd name="connsiteY36" fmla="*/ 42135 h 548582"/>
              <a:gd name="connsiteX37" fmla="*/ 203928 w 608344"/>
              <a:gd name="connsiteY37" fmla="*/ 19017 h 548582"/>
              <a:gd name="connsiteX38" fmla="*/ 231162 w 608344"/>
              <a:gd name="connsiteY38" fmla="*/ 5089 h 548582"/>
              <a:gd name="connsiteX39" fmla="*/ 255835 w 608344"/>
              <a:gd name="connsiteY39" fmla="*/ 446 h 5485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608344" h="548582">
                <a:moveTo>
                  <a:pt x="521432" y="370453"/>
                </a:moveTo>
                <a:lnTo>
                  <a:pt x="465737" y="425787"/>
                </a:lnTo>
                <a:lnTo>
                  <a:pt x="442491" y="402479"/>
                </a:lnTo>
                <a:lnTo>
                  <a:pt x="418201" y="426545"/>
                </a:lnTo>
                <a:lnTo>
                  <a:pt x="441447" y="449948"/>
                </a:lnTo>
                <a:lnTo>
                  <a:pt x="465642" y="474204"/>
                </a:lnTo>
                <a:lnTo>
                  <a:pt x="489932" y="450043"/>
                </a:lnTo>
                <a:lnTo>
                  <a:pt x="545532" y="394709"/>
                </a:lnTo>
                <a:close/>
                <a:moveTo>
                  <a:pt x="481962" y="296170"/>
                </a:moveTo>
                <a:cubicBezTo>
                  <a:pt x="551795" y="296170"/>
                  <a:pt x="608344" y="352641"/>
                  <a:pt x="608344" y="422376"/>
                </a:cubicBezTo>
                <a:cubicBezTo>
                  <a:pt x="608344" y="492111"/>
                  <a:pt x="551795" y="548582"/>
                  <a:pt x="481962" y="548582"/>
                </a:cubicBezTo>
                <a:cubicBezTo>
                  <a:pt x="412129" y="548582"/>
                  <a:pt x="355579" y="492111"/>
                  <a:pt x="355579" y="422376"/>
                </a:cubicBezTo>
                <a:cubicBezTo>
                  <a:pt x="355579" y="352641"/>
                  <a:pt x="412129" y="296170"/>
                  <a:pt x="481962" y="296170"/>
                </a:cubicBezTo>
                <a:close/>
                <a:moveTo>
                  <a:pt x="255835" y="446"/>
                </a:moveTo>
                <a:cubicBezTo>
                  <a:pt x="282785" y="-1828"/>
                  <a:pt x="303187" y="4899"/>
                  <a:pt x="317801" y="13616"/>
                </a:cubicBezTo>
                <a:cubicBezTo>
                  <a:pt x="339721" y="25744"/>
                  <a:pt x="348072" y="41661"/>
                  <a:pt x="348072" y="41661"/>
                </a:cubicBezTo>
                <a:cubicBezTo>
                  <a:pt x="348072" y="41661"/>
                  <a:pt x="398176" y="45167"/>
                  <a:pt x="381190" y="146831"/>
                </a:cubicBezTo>
                <a:cubicBezTo>
                  <a:pt x="380621" y="149863"/>
                  <a:pt x="379862" y="153085"/>
                  <a:pt x="378913" y="156211"/>
                </a:cubicBezTo>
                <a:cubicBezTo>
                  <a:pt x="388592" y="156211"/>
                  <a:pt x="398271" y="163507"/>
                  <a:pt x="387833" y="200458"/>
                </a:cubicBezTo>
                <a:cubicBezTo>
                  <a:pt x="379672" y="229262"/>
                  <a:pt x="372080" y="237221"/>
                  <a:pt x="366387" y="237694"/>
                </a:cubicBezTo>
                <a:cubicBezTo>
                  <a:pt x="364394" y="250675"/>
                  <a:pt x="359175" y="265076"/>
                  <a:pt x="351393" y="278720"/>
                </a:cubicBezTo>
                <a:lnTo>
                  <a:pt x="351393" y="322873"/>
                </a:lnTo>
                <a:cubicBezTo>
                  <a:pt x="330232" y="350539"/>
                  <a:pt x="317611" y="385027"/>
                  <a:pt x="317611" y="422358"/>
                </a:cubicBezTo>
                <a:cubicBezTo>
                  <a:pt x="317611" y="472764"/>
                  <a:pt x="340480" y="518053"/>
                  <a:pt x="376635" y="548088"/>
                </a:cubicBezTo>
                <a:lnTo>
                  <a:pt x="26855" y="548088"/>
                </a:lnTo>
                <a:cubicBezTo>
                  <a:pt x="12052" y="548088"/>
                  <a:pt x="0" y="536055"/>
                  <a:pt x="0" y="521274"/>
                </a:cubicBezTo>
                <a:lnTo>
                  <a:pt x="0" y="473806"/>
                </a:lnTo>
                <a:cubicBezTo>
                  <a:pt x="0" y="457983"/>
                  <a:pt x="7212" y="443013"/>
                  <a:pt x="19453" y="432969"/>
                </a:cubicBezTo>
                <a:cubicBezTo>
                  <a:pt x="86638" y="377921"/>
                  <a:pt x="159043" y="341443"/>
                  <a:pt x="173751" y="334242"/>
                </a:cubicBezTo>
                <a:cubicBezTo>
                  <a:pt x="175365" y="333484"/>
                  <a:pt x="176408" y="331779"/>
                  <a:pt x="176408" y="329884"/>
                </a:cubicBezTo>
                <a:lnTo>
                  <a:pt x="176408" y="278720"/>
                </a:lnTo>
                <a:cubicBezTo>
                  <a:pt x="168437" y="265076"/>
                  <a:pt x="163313" y="250675"/>
                  <a:pt x="161320" y="237694"/>
                </a:cubicBezTo>
                <a:cubicBezTo>
                  <a:pt x="155627" y="237221"/>
                  <a:pt x="148035" y="229072"/>
                  <a:pt x="139969" y="200458"/>
                </a:cubicBezTo>
                <a:cubicBezTo>
                  <a:pt x="129531" y="164170"/>
                  <a:pt x="138925" y="156496"/>
                  <a:pt x="148320" y="156211"/>
                </a:cubicBezTo>
                <a:cubicBezTo>
                  <a:pt x="147371" y="153085"/>
                  <a:pt x="146612" y="149863"/>
                  <a:pt x="146042" y="146736"/>
                </a:cubicBezTo>
                <a:cubicBezTo>
                  <a:pt x="142436" y="128450"/>
                  <a:pt x="141487" y="111396"/>
                  <a:pt x="145758" y="95099"/>
                </a:cubicBezTo>
                <a:cubicBezTo>
                  <a:pt x="150787" y="73212"/>
                  <a:pt x="162744" y="55684"/>
                  <a:pt x="176029" y="42135"/>
                </a:cubicBezTo>
                <a:cubicBezTo>
                  <a:pt x="184379" y="33134"/>
                  <a:pt x="193869" y="25459"/>
                  <a:pt x="203928" y="19017"/>
                </a:cubicBezTo>
                <a:cubicBezTo>
                  <a:pt x="212183" y="13332"/>
                  <a:pt x="221293" y="8405"/>
                  <a:pt x="231162" y="5089"/>
                </a:cubicBezTo>
                <a:cubicBezTo>
                  <a:pt x="238849" y="2625"/>
                  <a:pt x="247105" y="825"/>
                  <a:pt x="255835" y="44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762000" dist="2540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360000" bIns="45720" numCol="1" spcCol="0" rtlCol="0" fromWordArt="0" anchor="ctr" anchorCtr="0" forceAA="0" compatLnSpc="1">
            <a:noAutofit/>
          </a:bodyPr>
          <a:lstStyle/>
          <a:p>
            <a:pPr algn="r" defTabSz="914400"/>
            <a:endParaRPr lang="zh-CN" altLang="en-US" sz="1400" b="1" dirty="0">
              <a:solidFill>
                <a:schemeClr val="lt1"/>
              </a:solidFill>
              <a:latin typeface="思源黑体 CN Normal" panose="020B0400000000000000" pitchFamily="34" charset="-122"/>
              <a:ea typeface="思源黑体 CN Normal" panose="020B0400000000000000" pitchFamily="34" charset="-122"/>
              <a:cs typeface="Open Sans" panose="020B0606030504020204" charset="0"/>
            </a:endParaRPr>
          </a:p>
        </p:txBody>
      </p:sp>
      <p:sp>
        <p:nvSpPr>
          <p:cNvPr id="22" name="ïŝļiďé"/>
          <p:cNvSpPr/>
          <p:nvPr/>
        </p:nvSpPr>
        <p:spPr>
          <a:xfrm>
            <a:off x="7449236" y="2137019"/>
            <a:ext cx="1144007" cy="1144007"/>
          </a:xfrm>
          <a:prstGeom prst="ellipse">
            <a:avLst/>
          </a:prstGeom>
          <a:gradFill>
            <a:gsLst>
              <a:gs pos="33000">
                <a:srgbClr val="0870D3"/>
              </a:gs>
              <a:gs pos="100000">
                <a:srgbClr val="4EBCF7"/>
              </a:gs>
            </a:gsLst>
            <a:lin ang="10800000" scaled="0"/>
          </a:gradFill>
          <a:ln>
            <a:noFill/>
          </a:ln>
          <a:effectLst>
            <a:outerShdw blurRad="762000" dist="2540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360000" bIns="45720" numCol="1" spcCol="0" rtlCol="0" fromWordArt="0" anchor="ctr" anchorCtr="0" forceAA="0" compatLnSpc="1">
            <a:noAutofit/>
          </a:bodyPr>
          <a:lstStyle/>
          <a:p>
            <a:pPr algn="r" defTabSz="914400"/>
            <a:endParaRPr lang="en-US" sz="1400" b="1">
              <a:latin typeface="思源黑体 CN Normal" panose="020B0400000000000000" pitchFamily="34" charset="-122"/>
              <a:ea typeface="思源黑体 CN Normal" panose="020B0400000000000000" pitchFamily="34" charset="-122"/>
              <a:cs typeface="Open Sans" panose="020B0606030504020204" charset="0"/>
            </a:endParaRPr>
          </a:p>
        </p:txBody>
      </p:sp>
      <p:sp>
        <p:nvSpPr>
          <p:cNvPr id="23" name="iṡľiḍe"/>
          <p:cNvSpPr/>
          <p:nvPr/>
        </p:nvSpPr>
        <p:spPr bwMode="auto">
          <a:xfrm>
            <a:off x="7743725" y="2458771"/>
            <a:ext cx="555029" cy="500503"/>
          </a:xfrm>
          <a:custGeom>
            <a:avLst/>
            <a:gdLst>
              <a:gd name="connsiteX0" fmla="*/ 521432 w 608344"/>
              <a:gd name="connsiteY0" fmla="*/ 370453 h 548582"/>
              <a:gd name="connsiteX1" fmla="*/ 465737 w 608344"/>
              <a:gd name="connsiteY1" fmla="*/ 425787 h 548582"/>
              <a:gd name="connsiteX2" fmla="*/ 442491 w 608344"/>
              <a:gd name="connsiteY2" fmla="*/ 402479 h 548582"/>
              <a:gd name="connsiteX3" fmla="*/ 418201 w 608344"/>
              <a:gd name="connsiteY3" fmla="*/ 426545 h 548582"/>
              <a:gd name="connsiteX4" fmla="*/ 441447 w 608344"/>
              <a:gd name="connsiteY4" fmla="*/ 449948 h 548582"/>
              <a:gd name="connsiteX5" fmla="*/ 465642 w 608344"/>
              <a:gd name="connsiteY5" fmla="*/ 474204 h 548582"/>
              <a:gd name="connsiteX6" fmla="*/ 489932 w 608344"/>
              <a:gd name="connsiteY6" fmla="*/ 450043 h 548582"/>
              <a:gd name="connsiteX7" fmla="*/ 545532 w 608344"/>
              <a:gd name="connsiteY7" fmla="*/ 394709 h 548582"/>
              <a:gd name="connsiteX8" fmla="*/ 481962 w 608344"/>
              <a:gd name="connsiteY8" fmla="*/ 296170 h 548582"/>
              <a:gd name="connsiteX9" fmla="*/ 608344 w 608344"/>
              <a:gd name="connsiteY9" fmla="*/ 422376 h 548582"/>
              <a:gd name="connsiteX10" fmla="*/ 481962 w 608344"/>
              <a:gd name="connsiteY10" fmla="*/ 548582 h 548582"/>
              <a:gd name="connsiteX11" fmla="*/ 355579 w 608344"/>
              <a:gd name="connsiteY11" fmla="*/ 422376 h 548582"/>
              <a:gd name="connsiteX12" fmla="*/ 481962 w 608344"/>
              <a:gd name="connsiteY12" fmla="*/ 296170 h 548582"/>
              <a:gd name="connsiteX13" fmla="*/ 255835 w 608344"/>
              <a:gd name="connsiteY13" fmla="*/ 446 h 548582"/>
              <a:gd name="connsiteX14" fmla="*/ 317801 w 608344"/>
              <a:gd name="connsiteY14" fmla="*/ 13616 h 548582"/>
              <a:gd name="connsiteX15" fmla="*/ 348072 w 608344"/>
              <a:gd name="connsiteY15" fmla="*/ 41661 h 548582"/>
              <a:gd name="connsiteX16" fmla="*/ 381190 w 608344"/>
              <a:gd name="connsiteY16" fmla="*/ 146831 h 548582"/>
              <a:gd name="connsiteX17" fmla="*/ 378913 w 608344"/>
              <a:gd name="connsiteY17" fmla="*/ 156211 h 548582"/>
              <a:gd name="connsiteX18" fmla="*/ 387833 w 608344"/>
              <a:gd name="connsiteY18" fmla="*/ 200458 h 548582"/>
              <a:gd name="connsiteX19" fmla="*/ 366387 w 608344"/>
              <a:gd name="connsiteY19" fmla="*/ 237694 h 548582"/>
              <a:gd name="connsiteX20" fmla="*/ 351393 w 608344"/>
              <a:gd name="connsiteY20" fmla="*/ 278720 h 548582"/>
              <a:gd name="connsiteX21" fmla="*/ 351393 w 608344"/>
              <a:gd name="connsiteY21" fmla="*/ 322873 h 548582"/>
              <a:gd name="connsiteX22" fmla="*/ 317611 w 608344"/>
              <a:gd name="connsiteY22" fmla="*/ 422358 h 548582"/>
              <a:gd name="connsiteX23" fmla="*/ 376635 w 608344"/>
              <a:gd name="connsiteY23" fmla="*/ 548088 h 548582"/>
              <a:gd name="connsiteX24" fmla="*/ 26855 w 608344"/>
              <a:gd name="connsiteY24" fmla="*/ 548088 h 548582"/>
              <a:gd name="connsiteX25" fmla="*/ 0 w 608344"/>
              <a:gd name="connsiteY25" fmla="*/ 521274 h 548582"/>
              <a:gd name="connsiteX26" fmla="*/ 0 w 608344"/>
              <a:gd name="connsiteY26" fmla="*/ 473806 h 548582"/>
              <a:gd name="connsiteX27" fmla="*/ 19453 w 608344"/>
              <a:gd name="connsiteY27" fmla="*/ 432969 h 548582"/>
              <a:gd name="connsiteX28" fmla="*/ 173751 w 608344"/>
              <a:gd name="connsiteY28" fmla="*/ 334242 h 548582"/>
              <a:gd name="connsiteX29" fmla="*/ 176408 w 608344"/>
              <a:gd name="connsiteY29" fmla="*/ 329884 h 548582"/>
              <a:gd name="connsiteX30" fmla="*/ 176408 w 608344"/>
              <a:gd name="connsiteY30" fmla="*/ 278720 h 548582"/>
              <a:gd name="connsiteX31" fmla="*/ 161320 w 608344"/>
              <a:gd name="connsiteY31" fmla="*/ 237694 h 548582"/>
              <a:gd name="connsiteX32" fmla="*/ 139969 w 608344"/>
              <a:gd name="connsiteY32" fmla="*/ 200458 h 548582"/>
              <a:gd name="connsiteX33" fmla="*/ 148320 w 608344"/>
              <a:gd name="connsiteY33" fmla="*/ 156211 h 548582"/>
              <a:gd name="connsiteX34" fmla="*/ 146042 w 608344"/>
              <a:gd name="connsiteY34" fmla="*/ 146736 h 548582"/>
              <a:gd name="connsiteX35" fmla="*/ 145758 w 608344"/>
              <a:gd name="connsiteY35" fmla="*/ 95099 h 548582"/>
              <a:gd name="connsiteX36" fmla="*/ 176029 w 608344"/>
              <a:gd name="connsiteY36" fmla="*/ 42135 h 548582"/>
              <a:gd name="connsiteX37" fmla="*/ 203928 w 608344"/>
              <a:gd name="connsiteY37" fmla="*/ 19017 h 548582"/>
              <a:gd name="connsiteX38" fmla="*/ 231162 w 608344"/>
              <a:gd name="connsiteY38" fmla="*/ 5089 h 548582"/>
              <a:gd name="connsiteX39" fmla="*/ 255835 w 608344"/>
              <a:gd name="connsiteY39" fmla="*/ 446 h 5485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608344" h="548582">
                <a:moveTo>
                  <a:pt x="521432" y="370453"/>
                </a:moveTo>
                <a:lnTo>
                  <a:pt x="465737" y="425787"/>
                </a:lnTo>
                <a:lnTo>
                  <a:pt x="442491" y="402479"/>
                </a:lnTo>
                <a:lnTo>
                  <a:pt x="418201" y="426545"/>
                </a:lnTo>
                <a:lnTo>
                  <a:pt x="441447" y="449948"/>
                </a:lnTo>
                <a:lnTo>
                  <a:pt x="465642" y="474204"/>
                </a:lnTo>
                <a:lnTo>
                  <a:pt x="489932" y="450043"/>
                </a:lnTo>
                <a:lnTo>
                  <a:pt x="545532" y="394709"/>
                </a:lnTo>
                <a:close/>
                <a:moveTo>
                  <a:pt x="481962" y="296170"/>
                </a:moveTo>
                <a:cubicBezTo>
                  <a:pt x="551795" y="296170"/>
                  <a:pt x="608344" y="352641"/>
                  <a:pt x="608344" y="422376"/>
                </a:cubicBezTo>
                <a:cubicBezTo>
                  <a:pt x="608344" y="492111"/>
                  <a:pt x="551795" y="548582"/>
                  <a:pt x="481962" y="548582"/>
                </a:cubicBezTo>
                <a:cubicBezTo>
                  <a:pt x="412129" y="548582"/>
                  <a:pt x="355579" y="492111"/>
                  <a:pt x="355579" y="422376"/>
                </a:cubicBezTo>
                <a:cubicBezTo>
                  <a:pt x="355579" y="352641"/>
                  <a:pt x="412129" y="296170"/>
                  <a:pt x="481962" y="296170"/>
                </a:cubicBezTo>
                <a:close/>
                <a:moveTo>
                  <a:pt x="255835" y="446"/>
                </a:moveTo>
                <a:cubicBezTo>
                  <a:pt x="282785" y="-1828"/>
                  <a:pt x="303187" y="4899"/>
                  <a:pt x="317801" y="13616"/>
                </a:cubicBezTo>
                <a:cubicBezTo>
                  <a:pt x="339721" y="25744"/>
                  <a:pt x="348072" y="41661"/>
                  <a:pt x="348072" y="41661"/>
                </a:cubicBezTo>
                <a:cubicBezTo>
                  <a:pt x="348072" y="41661"/>
                  <a:pt x="398176" y="45167"/>
                  <a:pt x="381190" y="146831"/>
                </a:cubicBezTo>
                <a:cubicBezTo>
                  <a:pt x="380621" y="149863"/>
                  <a:pt x="379862" y="153085"/>
                  <a:pt x="378913" y="156211"/>
                </a:cubicBezTo>
                <a:cubicBezTo>
                  <a:pt x="388592" y="156211"/>
                  <a:pt x="398271" y="163507"/>
                  <a:pt x="387833" y="200458"/>
                </a:cubicBezTo>
                <a:cubicBezTo>
                  <a:pt x="379672" y="229262"/>
                  <a:pt x="372080" y="237221"/>
                  <a:pt x="366387" y="237694"/>
                </a:cubicBezTo>
                <a:cubicBezTo>
                  <a:pt x="364394" y="250675"/>
                  <a:pt x="359175" y="265076"/>
                  <a:pt x="351393" y="278720"/>
                </a:cubicBezTo>
                <a:lnTo>
                  <a:pt x="351393" y="322873"/>
                </a:lnTo>
                <a:cubicBezTo>
                  <a:pt x="330232" y="350539"/>
                  <a:pt x="317611" y="385027"/>
                  <a:pt x="317611" y="422358"/>
                </a:cubicBezTo>
                <a:cubicBezTo>
                  <a:pt x="317611" y="472764"/>
                  <a:pt x="340480" y="518053"/>
                  <a:pt x="376635" y="548088"/>
                </a:cubicBezTo>
                <a:lnTo>
                  <a:pt x="26855" y="548088"/>
                </a:lnTo>
                <a:cubicBezTo>
                  <a:pt x="12052" y="548088"/>
                  <a:pt x="0" y="536055"/>
                  <a:pt x="0" y="521274"/>
                </a:cubicBezTo>
                <a:lnTo>
                  <a:pt x="0" y="473806"/>
                </a:lnTo>
                <a:cubicBezTo>
                  <a:pt x="0" y="457983"/>
                  <a:pt x="7212" y="443013"/>
                  <a:pt x="19453" y="432969"/>
                </a:cubicBezTo>
                <a:cubicBezTo>
                  <a:pt x="86638" y="377921"/>
                  <a:pt x="159043" y="341443"/>
                  <a:pt x="173751" y="334242"/>
                </a:cubicBezTo>
                <a:cubicBezTo>
                  <a:pt x="175365" y="333484"/>
                  <a:pt x="176408" y="331779"/>
                  <a:pt x="176408" y="329884"/>
                </a:cubicBezTo>
                <a:lnTo>
                  <a:pt x="176408" y="278720"/>
                </a:lnTo>
                <a:cubicBezTo>
                  <a:pt x="168437" y="265076"/>
                  <a:pt x="163313" y="250675"/>
                  <a:pt x="161320" y="237694"/>
                </a:cubicBezTo>
                <a:cubicBezTo>
                  <a:pt x="155627" y="237221"/>
                  <a:pt x="148035" y="229072"/>
                  <a:pt x="139969" y="200458"/>
                </a:cubicBezTo>
                <a:cubicBezTo>
                  <a:pt x="129531" y="164170"/>
                  <a:pt x="138925" y="156496"/>
                  <a:pt x="148320" y="156211"/>
                </a:cubicBezTo>
                <a:cubicBezTo>
                  <a:pt x="147371" y="153085"/>
                  <a:pt x="146612" y="149863"/>
                  <a:pt x="146042" y="146736"/>
                </a:cubicBezTo>
                <a:cubicBezTo>
                  <a:pt x="142436" y="128450"/>
                  <a:pt x="141487" y="111396"/>
                  <a:pt x="145758" y="95099"/>
                </a:cubicBezTo>
                <a:cubicBezTo>
                  <a:pt x="150787" y="73212"/>
                  <a:pt x="162744" y="55684"/>
                  <a:pt x="176029" y="42135"/>
                </a:cubicBezTo>
                <a:cubicBezTo>
                  <a:pt x="184379" y="33134"/>
                  <a:pt x="193869" y="25459"/>
                  <a:pt x="203928" y="19017"/>
                </a:cubicBezTo>
                <a:cubicBezTo>
                  <a:pt x="212183" y="13332"/>
                  <a:pt x="221293" y="8405"/>
                  <a:pt x="231162" y="5089"/>
                </a:cubicBezTo>
                <a:cubicBezTo>
                  <a:pt x="238849" y="2625"/>
                  <a:pt x="247105" y="825"/>
                  <a:pt x="255835" y="44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762000" dist="2540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360000" bIns="45720" numCol="1" spcCol="0" rtlCol="0" fromWordArt="0" anchor="ctr" anchorCtr="0" forceAA="0" compatLnSpc="1">
            <a:noAutofit/>
          </a:bodyPr>
          <a:lstStyle/>
          <a:p>
            <a:pPr algn="r" defTabSz="914400"/>
            <a:endParaRPr lang="zh-CN" altLang="en-US" sz="1400" b="1" dirty="0">
              <a:solidFill>
                <a:schemeClr val="lt1"/>
              </a:solidFill>
              <a:latin typeface="思源黑体 CN Normal" panose="020B0400000000000000" pitchFamily="34" charset="-122"/>
              <a:ea typeface="思源黑体 CN Normal" panose="020B0400000000000000" pitchFamily="34" charset="-122"/>
              <a:cs typeface="Open Sans" panose="020B0606030504020204" charset="0"/>
            </a:endParaRPr>
          </a:p>
        </p:txBody>
      </p:sp>
      <p:sp>
        <p:nvSpPr>
          <p:cNvPr id="20" name="ïŝḻîḓê"/>
          <p:cNvSpPr/>
          <p:nvPr/>
        </p:nvSpPr>
        <p:spPr>
          <a:xfrm>
            <a:off x="7449236" y="4326446"/>
            <a:ext cx="1144007" cy="1144007"/>
          </a:xfrm>
          <a:prstGeom prst="ellipse">
            <a:avLst/>
          </a:prstGeom>
          <a:gradFill>
            <a:gsLst>
              <a:gs pos="33000">
                <a:srgbClr val="0870D3"/>
              </a:gs>
              <a:gs pos="100000">
                <a:srgbClr val="4EBCF7"/>
              </a:gs>
            </a:gsLst>
            <a:lin ang="10800000" scaled="0"/>
          </a:gradFill>
          <a:ln>
            <a:noFill/>
          </a:ln>
          <a:effectLst>
            <a:outerShdw blurRad="762000" dist="2540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360000" bIns="45720" numCol="1" spcCol="0" rtlCol="0" fromWordArt="0" anchor="ctr" anchorCtr="0" forceAA="0" compatLnSpc="1">
            <a:noAutofit/>
          </a:bodyPr>
          <a:lstStyle/>
          <a:p>
            <a:pPr algn="r" defTabSz="914400"/>
            <a:endParaRPr lang="en-US" sz="1400" b="1">
              <a:latin typeface="思源黑体 CN Normal" panose="020B0400000000000000" pitchFamily="34" charset="-122"/>
              <a:ea typeface="思源黑体 CN Normal" panose="020B0400000000000000" pitchFamily="34" charset="-122"/>
              <a:cs typeface="Open Sans" panose="020B0606030504020204" charset="0"/>
            </a:endParaRPr>
          </a:p>
        </p:txBody>
      </p:sp>
      <p:sp>
        <p:nvSpPr>
          <p:cNvPr id="21" name="ï$ḷîḑè"/>
          <p:cNvSpPr/>
          <p:nvPr/>
        </p:nvSpPr>
        <p:spPr bwMode="auto">
          <a:xfrm>
            <a:off x="7743725" y="4648198"/>
            <a:ext cx="555029" cy="500503"/>
          </a:xfrm>
          <a:custGeom>
            <a:avLst/>
            <a:gdLst>
              <a:gd name="connsiteX0" fmla="*/ 521432 w 608344"/>
              <a:gd name="connsiteY0" fmla="*/ 370453 h 548582"/>
              <a:gd name="connsiteX1" fmla="*/ 465737 w 608344"/>
              <a:gd name="connsiteY1" fmla="*/ 425787 h 548582"/>
              <a:gd name="connsiteX2" fmla="*/ 442491 w 608344"/>
              <a:gd name="connsiteY2" fmla="*/ 402479 h 548582"/>
              <a:gd name="connsiteX3" fmla="*/ 418201 w 608344"/>
              <a:gd name="connsiteY3" fmla="*/ 426545 h 548582"/>
              <a:gd name="connsiteX4" fmla="*/ 441447 w 608344"/>
              <a:gd name="connsiteY4" fmla="*/ 449948 h 548582"/>
              <a:gd name="connsiteX5" fmla="*/ 465642 w 608344"/>
              <a:gd name="connsiteY5" fmla="*/ 474204 h 548582"/>
              <a:gd name="connsiteX6" fmla="*/ 489932 w 608344"/>
              <a:gd name="connsiteY6" fmla="*/ 450043 h 548582"/>
              <a:gd name="connsiteX7" fmla="*/ 545532 w 608344"/>
              <a:gd name="connsiteY7" fmla="*/ 394709 h 548582"/>
              <a:gd name="connsiteX8" fmla="*/ 481962 w 608344"/>
              <a:gd name="connsiteY8" fmla="*/ 296170 h 548582"/>
              <a:gd name="connsiteX9" fmla="*/ 608344 w 608344"/>
              <a:gd name="connsiteY9" fmla="*/ 422376 h 548582"/>
              <a:gd name="connsiteX10" fmla="*/ 481962 w 608344"/>
              <a:gd name="connsiteY10" fmla="*/ 548582 h 548582"/>
              <a:gd name="connsiteX11" fmla="*/ 355579 w 608344"/>
              <a:gd name="connsiteY11" fmla="*/ 422376 h 548582"/>
              <a:gd name="connsiteX12" fmla="*/ 481962 w 608344"/>
              <a:gd name="connsiteY12" fmla="*/ 296170 h 548582"/>
              <a:gd name="connsiteX13" fmla="*/ 255835 w 608344"/>
              <a:gd name="connsiteY13" fmla="*/ 446 h 548582"/>
              <a:gd name="connsiteX14" fmla="*/ 317801 w 608344"/>
              <a:gd name="connsiteY14" fmla="*/ 13616 h 548582"/>
              <a:gd name="connsiteX15" fmla="*/ 348072 w 608344"/>
              <a:gd name="connsiteY15" fmla="*/ 41661 h 548582"/>
              <a:gd name="connsiteX16" fmla="*/ 381190 w 608344"/>
              <a:gd name="connsiteY16" fmla="*/ 146831 h 548582"/>
              <a:gd name="connsiteX17" fmla="*/ 378913 w 608344"/>
              <a:gd name="connsiteY17" fmla="*/ 156211 h 548582"/>
              <a:gd name="connsiteX18" fmla="*/ 387833 w 608344"/>
              <a:gd name="connsiteY18" fmla="*/ 200458 h 548582"/>
              <a:gd name="connsiteX19" fmla="*/ 366387 w 608344"/>
              <a:gd name="connsiteY19" fmla="*/ 237694 h 548582"/>
              <a:gd name="connsiteX20" fmla="*/ 351393 w 608344"/>
              <a:gd name="connsiteY20" fmla="*/ 278720 h 548582"/>
              <a:gd name="connsiteX21" fmla="*/ 351393 w 608344"/>
              <a:gd name="connsiteY21" fmla="*/ 322873 h 548582"/>
              <a:gd name="connsiteX22" fmla="*/ 317611 w 608344"/>
              <a:gd name="connsiteY22" fmla="*/ 422358 h 548582"/>
              <a:gd name="connsiteX23" fmla="*/ 376635 w 608344"/>
              <a:gd name="connsiteY23" fmla="*/ 548088 h 548582"/>
              <a:gd name="connsiteX24" fmla="*/ 26855 w 608344"/>
              <a:gd name="connsiteY24" fmla="*/ 548088 h 548582"/>
              <a:gd name="connsiteX25" fmla="*/ 0 w 608344"/>
              <a:gd name="connsiteY25" fmla="*/ 521274 h 548582"/>
              <a:gd name="connsiteX26" fmla="*/ 0 w 608344"/>
              <a:gd name="connsiteY26" fmla="*/ 473806 h 548582"/>
              <a:gd name="connsiteX27" fmla="*/ 19453 w 608344"/>
              <a:gd name="connsiteY27" fmla="*/ 432969 h 548582"/>
              <a:gd name="connsiteX28" fmla="*/ 173751 w 608344"/>
              <a:gd name="connsiteY28" fmla="*/ 334242 h 548582"/>
              <a:gd name="connsiteX29" fmla="*/ 176408 w 608344"/>
              <a:gd name="connsiteY29" fmla="*/ 329884 h 548582"/>
              <a:gd name="connsiteX30" fmla="*/ 176408 w 608344"/>
              <a:gd name="connsiteY30" fmla="*/ 278720 h 548582"/>
              <a:gd name="connsiteX31" fmla="*/ 161320 w 608344"/>
              <a:gd name="connsiteY31" fmla="*/ 237694 h 548582"/>
              <a:gd name="connsiteX32" fmla="*/ 139969 w 608344"/>
              <a:gd name="connsiteY32" fmla="*/ 200458 h 548582"/>
              <a:gd name="connsiteX33" fmla="*/ 148320 w 608344"/>
              <a:gd name="connsiteY33" fmla="*/ 156211 h 548582"/>
              <a:gd name="connsiteX34" fmla="*/ 146042 w 608344"/>
              <a:gd name="connsiteY34" fmla="*/ 146736 h 548582"/>
              <a:gd name="connsiteX35" fmla="*/ 145758 w 608344"/>
              <a:gd name="connsiteY35" fmla="*/ 95099 h 548582"/>
              <a:gd name="connsiteX36" fmla="*/ 176029 w 608344"/>
              <a:gd name="connsiteY36" fmla="*/ 42135 h 548582"/>
              <a:gd name="connsiteX37" fmla="*/ 203928 w 608344"/>
              <a:gd name="connsiteY37" fmla="*/ 19017 h 548582"/>
              <a:gd name="connsiteX38" fmla="*/ 231162 w 608344"/>
              <a:gd name="connsiteY38" fmla="*/ 5089 h 548582"/>
              <a:gd name="connsiteX39" fmla="*/ 255835 w 608344"/>
              <a:gd name="connsiteY39" fmla="*/ 446 h 5485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608344" h="548582">
                <a:moveTo>
                  <a:pt x="521432" y="370453"/>
                </a:moveTo>
                <a:lnTo>
                  <a:pt x="465737" y="425787"/>
                </a:lnTo>
                <a:lnTo>
                  <a:pt x="442491" y="402479"/>
                </a:lnTo>
                <a:lnTo>
                  <a:pt x="418201" y="426545"/>
                </a:lnTo>
                <a:lnTo>
                  <a:pt x="441447" y="449948"/>
                </a:lnTo>
                <a:lnTo>
                  <a:pt x="465642" y="474204"/>
                </a:lnTo>
                <a:lnTo>
                  <a:pt x="489932" y="450043"/>
                </a:lnTo>
                <a:lnTo>
                  <a:pt x="545532" y="394709"/>
                </a:lnTo>
                <a:close/>
                <a:moveTo>
                  <a:pt x="481962" y="296170"/>
                </a:moveTo>
                <a:cubicBezTo>
                  <a:pt x="551795" y="296170"/>
                  <a:pt x="608344" y="352641"/>
                  <a:pt x="608344" y="422376"/>
                </a:cubicBezTo>
                <a:cubicBezTo>
                  <a:pt x="608344" y="492111"/>
                  <a:pt x="551795" y="548582"/>
                  <a:pt x="481962" y="548582"/>
                </a:cubicBezTo>
                <a:cubicBezTo>
                  <a:pt x="412129" y="548582"/>
                  <a:pt x="355579" y="492111"/>
                  <a:pt x="355579" y="422376"/>
                </a:cubicBezTo>
                <a:cubicBezTo>
                  <a:pt x="355579" y="352641"/>
                  <a:pt x="412129" y="296170"/>
                  <a:pt x="481962" y="296170"/>
                </a:cubicBezTo>
                <a:close/>
                <a:moveTo>
                  <a:pt x="255835" y="446"/>
                </a:moveTo>
                <a:cubicBezTo>
                  <a:pt x="282785" y="-1828"/>
                  <a:pt x="303187" y="4899"/>
                  <a:pt x="317801" y="13616"/>
                </a:cubicBezTo>
                <a:cubicBezTo>
                  <a:pt x="339721" y="25744"/>
                  <a:pt x="348072" y="41661"/>
                  <a:pt x="348072" y="41661"/>
                </a:cubicBezTo>
                <a:cubicBezTo>
                  <a:pt x="348072" y="41661"/>
                  <a:pt x="398176" y="45167"/>
                  <a:pt x="381190" y="146831"/>
                </a:cubicBezTo>
                <a:cubicBezTo>
                  <a:pt x="380621" y="149863"/>
                  <a:pt x="379862" y="153085"/>
                  <a:pt x="378913" y="156211"/>
                </a:cubicBezTo>
                <a:cubicBezTo>
                  <a:pt x="388592" y="156211"/>
                  <a:pt x="398271" y="163507"/>
                  <a:pt x="387833" y="200458"/>
                </a:cubicBezTo>
                <a:cubicBezTo>
                  <a:pt x="379672" y="229262"/>
                  <a:pt x="372080" y="237221"/>
                  <a:pt x="366387" y="237694"/>
                </a:cubicBezTo>
                <a:cubicBezTo>
                  <a:pt x="364394" y="250675"/>
                  <a:pt x="359175" y="265076"/>
                  <a:pt x="351393" y="278720"/>
                </a:cubicBezTo>
                <a:lnTo>
                  <a:pt x="351393" y="322873"/>
                </a:lnTo>
                <a:cubicBezTo>
                  <a:pt x="330232" y="350539"/>
                  <a:pt x="317611" y="385027"/>
                  <a:pt x="317611" y="422358"/>
                </a:cubicBezTo>
                <a:cubicBezTo>
                  <a:pt x="317611" y="472764"/>
                  <a:pt x="340480" y="518053"/>
                  <a:pt x="376635" y="548088"/>
                </a:cubicBezTo>
                <a:lnTo>
                  <a:pt x="26855" y="548088"/>
                </a:lnTo>
                <a:cubicBezTo>
                  <a:pt x="12052" y="548088"/>
                  <a:pt x="0" y="536055"/>
                  <a:pt x="0" y="521274"/>
                </a:cubicBezTo>
                <a:lnTo>
                  <a:pt x="0" y="473806"/>
                </a:lnTo>
                <a:cubicBezTo>
                  <a:pt x="0" y="457983"/>
                  <a:pt x="7212" y="443013"/>
                  <a:pt x="19453" y="432969"/>
                </a:cubicBezTo>
                <a:cubicBezTo>
                  <a:pt x="86638" y="377921"/>
                  <a:pt x="159043" y="341443"/>
                  <a:pt x="173751" y="334242"/>
                </a:cubicBezTo>
                <a:cubicBezTo>
                  <a:pt x="175365" y="333484"/>
                  <a:pt x="176408" y="331779"/>
                  <a:pt x="176408" y="329884"/>
                </a:cubicBezTo>
                <a:lnTo>
                  <a:pt x="176408" y="278720"/>
                </a:lnTo>
                <a:cubicBezTo>
                  <a:pt x="168437" y="265076"/>
                  <a:pt x="163313" y="250675"/>
                  <a:pt x="161320" y="237694"/>
                </a:cubicBezTo>
                <a:cubicBezTo>
                  <a:pt x="155627" y="237221"/>
                  <a:pt x="148035" y="229072"/>
                  <a:pt x="139969" y="200458"/>
                </a:cubicBezTo>
                <a:cubicBezTo>
                  <a:pt x="129531" y="164170"/>
                  <a:pt x="138925" y="156496"/>
                  <a:pt x="148320" y="156211"/>
                </a:cubicBezTo>
                <a:cubicBezTo>
                  <a:pt x="147371" y="153085"/>
                  <a:pt x="146612" y="149863"/>
                  <a:pt x="146042" y="146736"/>
                </a:cubicBezTo>
                <a:cubicBezTo>
                  <a:pt x="142436" y="128450"/>
                  <a:pt x="141487" y="111396"/>
                  <a:pt x="145758" y="95099"/>
                </a:cubicBezTo>
                <a:cubicBezTo>
                  <a:pt x="150787" y="73212"/>
                  <a:pt x="162744" y="55684"/>
                  <a:pt x="176029" y="42135"/>
                </a:cubicBezTo>
                <a:cubicBezTo>
                  <a:pt x="184379" y="33134"/>
                  <a:pt x="193869" y="25459"/>
                  <a:pt x="203928" y="19017"/>
                </a:cubicBezTo>
                <a:cubicBezTo>
                  <a:pt x="212183" y="13332"/>
                  <a:pt x="221293" y="8405"/>
                  <a:pt x="231162" y="5089"/>
                </a:cubicBezTo>
                <a:cubicBezTo>
                  <a:pt x="238849" y="2625"/>
                  <a:pt x="247105" y="825"/>
                  <a:pt x="255835" y="44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762000" dist="2540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360000" bIns="45720" numCol="1" spcCol="0" rtlCol="0" fromWordArt="0" anchor="ctr" anchorCtr="0" forceAA="0" compatLnSpc="1">
            <a:noAutofit/>
          </a:bodyPr>
          <a:lstStyle/>
          <a:p>
            <a:pPr algn="r" defTabSz="914400"/>
            <a:endParaRPr lang="zh-CN" altLang="en-US" sz="1400" b="1">
              <a:solidFill>
                <a:schemeClr val="lt1"/>
              </a:solidFill>
              <a:latin typeface="思源黑体 CN Normal" panose="020B0400000000000000" pitchFamily="34" charset="-122"/>
              <a:ea typeface="思源黑体 CN Normal" panose="020B0400000000000000" pitchFamily="34" charset="-122"/>
              <a:cs typeface="Open Sans" panose="020B0606030504020204" charset="0"/>
            </a:endParaRPr>
          </a:p>
        </p:txBody>
      </p:sp>
      <p:sp>
        <p:nvSpPr>
          <p:cNvPr id="12" name="íṥlîďè"/>
          <p:cNvSpPr txBox="1"/>
          <p:nvPr/>
        </p:nvSpPr>
        <p:spPr bwMode="auto">
          <a:xfrm>
            <a:off x="1082901" y="2065315"/>
            <a:ext cx="2466856" cy="408179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b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r>
              <a:rPr lang="zh-CN" altLang="en-US" sz="2000" b="1" dirty="0">
                <a:solidFill>
                  <a:srgbClr val="0870D3"/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添加标题</a:t>
            </a:r>
          </a:p>
        </p:txBody>
      </p:sp>
      <p:sp>
        <p:nvSpPr>
          <p:cNvPr id="13" name="îşḻîḍê"/>
          <p:cNvSpPr/>
          <p:nvPr/>
        </p:nvSpPr>
        <p:spPr bwMode="auto">
          <a:xfrm>
            <a:off x="1082901" y="2473495"/>
            <a:ext cx="2466856" cy="8009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200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Copy paste fonts. Choose the only option to retain text.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200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……</a:t>
            </a:r>
          </a:p>
        </p:txBody>
      </p:sp>
      <p:sp>
        <p:nvSpPr>
          <p:cNvPr id="14" name="iṧḻïdè"/>
          <p:cNvSpPr txBox="1"/>
          <p:nvPr/>
        </p:nvSpPr>
        <p:spPr bwMode="auto">
          <a:xfrm>
            <a:off x="8642242" y="2065315"/>
            <a:ext cx="2466856" cy="408179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b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/>
            <a:r>
              <a:rPr lang="zh-CN" altLang="en-US" sz="2000" b="1" dirty="0">
                <a:solidFill>
                  <a:srgbClr val="0870D3"/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添加标题</a:t>
            </a:r>
          </a:p>
        </p:txBody>
      </p:sp>
      <p:sp>
        <p:nvSpPr>
          <p:cNvPr id="15" name="ïś1îdê"/>
          <p:cNvSpPr/>
          <p:nvPr/>
        </p:nvSpPr>
        <p:spPr bwMode="auto">
          <a:xfrm>
            <a:off x="8642242" y="2473495"/>
            <a:ext cx="2466856" cy="8009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 algn="r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200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Copy paste fonts. Choose the only option to retain text.</a:t>
            </a:r>
          </a:p>
          <a:p>
            <a:pPr marL="171450" indent="-171450" algn="r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200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……</a:t>
            </a:r>
          </a:p>
        </p:txBody>
      </p:sp>
      <p:sp>
        <p:nvSpPr>
          <p:cNvPr id="16" name="íşḻïḋê"/>
          <p:cNvSpPr txBox="1"/>
          <p:nvPr/>
        </p:nvSpPr>
        <p:spPr bwMode="auto">
          <a:xfrm>
            <a:off x="1082901" y="4360528"/>
            <a:ext cx="2466856" cy="408179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b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r>
              <a:rPr lang="zh-CN" altLang="en-US" sz="2000" b="1" dirty="0">
                <a:solidFill>
                  <a:srgbClr val="0870D3"/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添加标题</a:t>
            </a:r>
          </a:p>
        </p:txBody>
      </p:sp>
      <p:sp>
        <p:nvSpPr>
          <p:cNvPr id="17" name="íṡ1iḑè"/>
          <p:cNvSpPr/>
          <p:nvPr/>
        </p:nvSpPr>
        <p:spPr bwMode="auto">
          <a:xfrm>
            <a:off x="1082901" y="4768708"/>
            <a:ext cx="2466856" cy="8009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200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Copy paste fonts. Choose the only option to retain text.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200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……</a:t>
            </a:r>
          </a:p>
        </p:txBody>
      </p:sp>
      <p:sp>
        <p:nvSpPr>
          <p:cNvPr id="18" name="îśľiḍè"/>
          <p:cNvSpPr txBox="1"/>
          <p:nvPr/>
        </p:nvSpPr>
        <p:spPr bwMode="auto">
          <a:xfrm>
            <a:off x="8642242" y="4360528"/>
            <a:ext cx="2466856" cy="408179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b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/>
            <a:r>
              <a:rPr lang="zh-CN" altLang="en-US" sz="2000" b="1" dirty="0">
                <a:solidFill>
                  <a:srgbClr val="0870D3"/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添加标题</a:t>
            </a:r>
          </a:p>
        </p:txBody>
      </p:sp>
      <p:sp>
        <p:nvSpPr>
          <p:cNvPr id="19" name="i$ľiḓê"/>
          <p:cNvSpPr/>
          <p:nvPr/>
        </p:nvSpPr>
        <p:spPr bwMode="auto">
          <a:xfrm>
            <a:off x="8642242" y="4768708"/>
            <a:ext cx="2466856" cy="8009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 algn="r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200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Copy paste fonts. Choose the only option to retain text.</a:t>
            </a:r>
          </a:p>
          <a:p>
            <a:pPr marL="171450" indent="-171450" algn="r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200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……</a:t>
            </a:r>
          </a:p>
        </p:txBody>
      </p:sp>
      <p:grpSp>
        <p:nvGrpSpPr>
          <p:cNvPr id="28" name="组合 27"/>
          <p:cNvGrpSpPr/>
          <p:nvPr/>
        </p:nvGrpSpPr>
        <p:grpSpPr>
          <a:xfrm>
            <a:off x="445680" y="386741"/>
            <a:ext cx="4160833" cy="523220"/>
            <a:chOff x="445680" y="386741"/>
            <a:chExt cx="4160833" cy="523220"/>
          </a:xfrm>
        </p:grpSpPr>
        <p:sp>
          <p:nvSpPr>
            <p:cNvPr id="29" name="analytics_237488"/>
            <p:cNvSpPr>
              <a:spLocks noChangeAspect="1"/>
            </p:cNvSpPr>
            <p:nvPr/>
          </p:nvSpPr>
          <p:spPr bwMode="auto">
            <a:xfrm>
              <a:off x="445680" y="386741"/>
              <a:ext cx="454475" cy="423493"/>
            </a:xfrm>
            <a:custGeom>
              <a:avLst/>
              <a:gdLst>
                <a:gd name="connsiteX0" fmla="*/ 261053 w 607639"/>
                <a:gd name="connsiteY0" fmla="*/ 444915 h 566217"/>
                <a:gd name="connsiteX1" fmla="*/ 245922 w 607639"/>
                <a:gd name="connsiteY1" fmla="*/ 505522 h 566217"/>
                <a:gd name="connsiteX2" fmla="*/ 361718 w 607639"/>
                <a:gd name="connsiteY2" fmla="*/ 505522 h 566217"/>
                <a:gd name="connsiteX3" fmla="*/ 346498 w 607639"/>
                <a:gd name="connsiteY3" fmla="*/ 444915 h 566217"/>
                <a:gd name="connsiteX4" fmla="*/ 0 w 607639"/>
                <a:gd name="connsiteY4" fmla="*/ 364047 h 566217"/>
                <a:gd name="connsiteX5" fmla="*/ 607639 w 607639"/>
                <a:gd name="connsiteY5" fmla="*/ 364047 h 566217"/>
                <a:gd name="connsiteX6" fmla="*/ 607639 w 607639"/>
                <a:gd name="connsiteY6" fmla="*/ 399416 h 566217"/>
                <a:gd name="connsiteX7" fmla="*/ 562069 w 607639"/>
                <a:gd name="connsiteY7" fmla="*/ 444915 h 566217"/>
                <a:gd name="connsiteX8" fmla="*/ 367414 w 607639"/>
                <a:gd name="connsiteY8" fmla="*/ 444915 h 566217"/>
                <a:gd name="connsiteX9" fmla="*/ 382634 w 607639"/>
                <a:gd name="connsiteY9" fmla="*/ 505522 h 566217"/>
                <a:gd name="connsiteX10" fmla="*/ 384859 w 607639"/>
                <a:gd name="connsiteY10" fmla="*/ 505522 h 566217"/>
                <a:gd name="connsiteX11" fmla="*/ 435414 w 607639"/>
                <a:gd name="connsiteY11" fmla="*/ 556086 h 566217"/>
                <a:gd name="connsiteX12" fmla="*/ 425356 w 607639"/>
                <a:gd name="connsiteY12" fmla="*/ 566217 h 566217"/>
                <a:gd name="connsiteX13" fmla="*/ 182283 w 607639"/>
                <a:gd name="connsiteY13" fmla="*/ 566217 h 566217"/>
                <a:gd name="connsiteX14" fmla="*/ 172136 w 607639"/>
                <a:gd name="connsiteY14" fmla="*/ 556086 h 566217"/>
                <a:gd name="connsiteX15" fmla="*/ 222780 w 607639"/>
                <a:gd name="connsiteY15" fmla="*/ 505522 h 566217"/>
                <a:gd name="connsiteX16" fmla="*/ 225006 w 607639"/>
                <a:gd name="connsiteY16" fmla="*/ 505522 h 566217"/>
                <a:gd name="connsiteX17" fmla="*/ 240225 w 607639"/>
                <a:gd name="connsiteY17" fmla="*/ 444915 h 566217"/>
                <a:gd name="connsiteX18" fmla="*/ 45571 w 607639"/>
                <a:gd name="connsiteY18" fmla="*/ 444915 h 566217"/>
                <a:gd name="connsiteX19" fmla="*/ 0 w 607639"/>
                <a:gd name="connsiteY19" fmla="*/ 399416 h 566217"/>
                <a:gd name="connsiteX20" fmla="*/ 344273 w 607639"/>
                <a:gd name="connsiteY20" fmla="*/ 273045 h 566217"/>
                <a:gd name="connsiteX21" fmla="*/ 334215 w 607639"/>
                <a:gd name="connsiteY21" fmla="*/ 283089 h 566217"/>
                <a:gd name="connsiteX22" fmla="*/ 334215 w 607639"/>
                <a:gd name="connsiteY22" fmla="*/ 313486 h 566217"/>
                <a:gd name="connsiteX23" fmla="*/ 344273 w 607639"/>
                <a:gd name="connsiteY23" fmla="*/ 323530 h 566217"/>
                <a:gd name="connsiteX24" fmla="*/ 354419 w 607639"/>
                <a:gd name="connsiteY24" fmla="*/ 313486 h 566217"/>
                <a:gd name="connsiteX25" fmla="*/ 354419 w 607639"/>
                <a:gd name="connsiteY25" fmla="*/ 283089 h 566217"/>
                <a:gd name="connsiteX26" fmla="*/ 344273 w 607639"/>
                <a:gd name="connsiteY26" fmla="*/ 273045 h 566217"/>
                <a:gd name="connsiteX27" fmla="*/ 425356 w 607639"/>
                <a:gd name="connsiteY27" fmla="*/ 252780 h 566217"/>
                <a:gd name="connsiteX28" fmla="*/ 415210 w 607639"/>
                <a:gd name="connsiteY28" fmla="*/ 262913 h 566217"/>
                <a:gd name="connsiteX29" fmla="*/ 415210 w 607639"/>
                <a:gd name="connsiteY29" fmla="*/ 313486 h 566217"/>
                <a:gd name="connsiteX30" fmla="*/ 425356 w 607639"/>
                <a:gd name="connsiteY30" fmla="*/ 323530 h 566217"/>
                <a:gd name="connsiteX31" fmla="*/ 435414 w 607639"/>
                <a:gd name="connsiteY31" fmla="*/ 313486 h 566217"/>
                <a:gd name="connsiteX32" fmla="*/ 435414 w 607639"/>
                <a:gd name="connsiteY32" fmla="*/ 262913 h 566217"/>
                <a:gd name="connsiteX33" fmla="*/ 425356 w 607639"/>
                <a:gd name="connsiteY33" fmla="*/ 252780 h 566217"/>
                <a:gd name="connsiteX34" fmla="*/ 384859 w 607639"/>
                <a:gd name="connsiteY34" fmla="*/ 232515 h 566217"/>
                <a:gd name="connsiteX35" fmla="*/ 374712 w 607639"/>
                <a:gd name="connsiteY35" fmla="*/ 242648 h 566217"/>
                <a:gd name="connsiteX36" fmla="*/ 374712 w 607639"/>
                <a:gd name="connsiteY36" fmla="*/ 313486 h 566217"/>
                <a:gd name="connsiteX37" fmla="*/ 384859 w 607639"/>
                <a:gd name="connsiteY37" fmla="*/ 323530 h 566217"/>
                <a:gd name="connsiteX38" fmla="*/ 394917 w 607639"/>
                <a:gd name="connsiteY38" fmla="*/ 313486 h 566217"/>
                <a:gd name="connsiteX39" fmla="*/ 394917 w 607639"/>
                <a:gd name="connsiteY39" fmla="*/ 242648 h 566217"/>
                <a:gd name="connsiteX40" fmla="*/ 384859 w 607639"/>
                <a:gd name="connsiteY40" fmla="*/ 232515 h 566217"/>
                <a:gd name="connsiteX41" fmla="*/ 506351 w 607639"/>
                <a:gd name="connsiteY41" fmla="*/ 222471 h 566217"/>
                <a:gd name="connsiteX42" fmla="*/ 496205 w 607639"/>
                <a:gd name="connsiteY42" fmla="*/ 232515 h 566217"/>
                <a:gd name="connsiteX43" fmla="*/ 496205 w 607639"/>
                <a:gd name="connsiteY43" fmla="*/ 313486 h 566217"/>
                <a:gd name="connsiteX44" fmla="*/ 506351 w 607639"/>
                <a:gd name="connsiteY44" fmla="*/ 323530 h 566217"/>
                <a:gd name="connsiteX45" fmla="*/ 516498 w 607639"/>
                <a:gd name="connsiteY45" fmla="*/ 313486 h 566217"/>
                <a:gd name="connsiteX46" fmla="*/ 516498 w 607639"/>
                <a:gd name="connsiteY46" fmla="*/ 232515 h 566217"/>
                <a:gd name="connsiteX47" fmla="*/ 506351 w 607639"/>
                <a:gd name="connsiteY47" fmla="*/ 222471 h 566217"/>
                <a:gd name="connsiteX48" fmla="*/ 196595 w 607639"/>
                <a:gd name="connsiteY48" fmla="*/ 192079 h 566217"/>
                <a:gd name="connsiteX49" fmla="*/ 272100 w 607639"/>
                <a:gd name="connsiteY49" fmla="*/ 192079 h 566217"/>
                <a:gd name="connsiteX50" fmla="*/ 247258 w 607639"/>
                <a:gd name="connsiteY50" fmla="*/ 242604 h 566217"/>
                <a:gd name="connsiteX51" fmla="*/ 465854 w 607639"/>
                <a:gd name="connsiteY51" fmla="*/ 182030 h 566217"/>
                <a:gd name="connsiteX52" fmla="*/ 455707 w 607639"/>
                <a:gd name="connsiteY52" fmla="*/ 192074 h 566217"/>
                <a:gd name="connsiteX53" fmla="*/ 455707 w 607639"/>
                <a:gd name="connsiteY53" fmla="*/ 313486 h 566217"/>
                <a:gd name="connsiteX54" fmla="*/ 465854 w 607639"/>
                <a:gd name="connsiteY54" fmla="*/ 323530 h 566217"/>
                <a:gd name="connsiteX55" fmla="*/ 476000 w 607639"/>
                <a:gd name="connsiteY55" fmla="*/ 313486 h 566217"/>
                <a:gd name="connsiteX56" fmla="*/ 476000 w 607639"/>
                <a:gd name="connsiteY56" fmla="*/ 192074 h 566217"/>
                <a:gd name="connsiteX57" fmla="*/ 465854 w 607639"/>
                <a:gd name="connsiteY57" fmla="*/ 182030 h 566217"/>
                <a:gd name="connsiteX58" fmla="*/ 499142 w 607639"/>
                <a:gd name="connsiteY58" fmla="*/ 103992 h 566217"/>
                <a:gd name="connsiteX59" fmla="*/ 497896 w 607639"/>
                <a:gd name="connsiteY59" fmla="*/ 105503 h 566217"/>
                <a:gd name="connsiteX60" fmla="*/ 497006 w 607639"/>
                <a:gd name="connsiteY60" fmla="*/ 107369 h 566217"/>
                <a:gd name="connsiteX61" fmla="*/ 496383 w 607639"/>
                <a:gd name="connsiteY61" fmla="*/ 109147 h 566217"/>
                <a:gd name="connsiteX62" fmla="*/ 496205 w 607639"/>
                <a:gd name="connsiteY62" fmla="*/ 111191 h 566217"/>
                <a:gd name="connsiteX63" fmla="*/ 496383 w 607639"/>
                <a:gd name="connsiteY63" fmla="*/ 113236 h 566217"/>
                <a:gd name="connsiteX64" fmla="*/ 497006 w 607639"/>
                <a:gd name="connsiteY64" fmla="*/ 115013 h 566217"/>
                <a:gd name="connsiteX65" fmla="*/ 497896 w 607639"/>
                <a:gd name="connsiteY65" fmla="*/ 116880 h 566217"/>
                <a:gd name="connsiteX66" fmla="*/ 499142 w 607639"/>
                <a:gd name="connsiteY66" fmla="*/ 118391 h 566217"/>
                <a:gd name="connsiteX67" fmla="*/ 506351 w 607639"/>
                <a:gd name="connsiteY67" fmla="*/ 121324 h 566217"/>
                <a:gd name="connsiteX68" fmla="*/ 513561 w 607639"/>
                <a:gd name="connsiteY68" fmla="*/ 118391 h 566217"/>
                <a:gd name="connsiteX69" fmla="*/ 516498 w 607639"/>
                <a:gd name="connsiteY69" fmla="*/ 111191 h 566217"/>
                <a:gd name="connsiteX70" fmla="*/ 513561 w 607639"/>
                <a:gd name="connsiteY70" fmla="*/ 103992 h 566217"/>
                <a:gd name="connsiteX71" fmla="*/ 499142 w 607639"/>
                <a:gd name="connsiteY71" fmla="*/ 103992 h 566217"/>
                <a:gd name="connsiteX72" fmla="*/ 374712 w 607639"/>
                <a:gd name="connsiteY72" fmla="*/ 101059 h 566217"/>
                <a:gd name="connsiteX73" fmla="*/ 364566 w 607639"/>
                <a:gd name="connsiteY73" fmla="*/ 111191 h 566217"/>
                <a:gd name="connsiteX74" fmla="*/ 374712 w 607639"/>
                <a:gd name="connsiteY74" fmla="*/ 121324 h 566217"/>
                <a:gd name="connsiteX75" fmla="*/ 455707 w 607639"/>
                <a:gd name="connsiteY75" fmla="*/ 121324 h 566217"/>
                <a:gd name="connsiteX76" fmla="*/ 465854 w 607639"/>
                <a:gd name="connsiteY76" fmla="*/ 111191 h 566217"/>
                <a:gd name="connsiteX77" fmla="*/ 455707 w 607639"/>
                <a:gd name="connsiteY77" fmla="*/ 101059 h 566217"/>
                <a:gd name="connsiteX78" fmla="*/ 162007 w 607639"/>
                <a:gd name="connsiteY78" fmla="*/ 82209 h 566217"/>
                <a:gd name="connsiteX79" fmla="*/ 162007 w 607639"/>
                <a:gd name="connsiteY79" fmla="*/ 181568 h 566217"/>
                <a:gd name="connsiteX80" fmla="*/ 162096 w 607639"/>
                <a:gd name="connsiteY80" fmla="*/ 181657 h 566217"/>
                <a:gd name="connsiteX81" fmla="*/ 165033 w 607639"/>
                <a:gd name="connsiteY81" fmla="*/ 189123 h 566217"/>
                <a:gd name="connsiteX82" fmla="*/ 231878 w 607639"/>
                <a:gd name="connsiteY82" fmla="*/ 255866 h 566217"/>
                <a:gd name="connsiteX83" fmla="*/ 177227 w 607639"/>
                <a:gd name="connsiteY83" fmla="*/ 273018 h 566217"/>
                <a:gd name="connsiteX84" fmla="*/ 81009 w 607639"/>
                <a:gd name="connsiteY84" fmla="*/ 176947 h 566217"/>
                <a:gd name="connsiteX85" fmla="*/ 162007 w 607639"/>
                <a:gd name="connsiteY85" fmla="*/ 82209 h 566217"/>
                <a:gd name="connsiteX86" fmla="*/ 182271 w 607639"/>
                <a:gd name="connsiteY86" fmla="*/ 81150 h 566217"/>
                <a:gd name="connsiteX87" fmla="*/ 185209 w 607639"/>
                <a:gd name="connsiteY87" fmla="*/ 81239 h 566217"/>
                <a:gd name="connsiteX88" fmla="*/ 188503 w 607639"/>
                <a:gd name="connsiteY88" fmla="*/ 81594 h 566217"/>
                <a:gd name="connsiteX89" fmla="*/ 195268 w 607639"/>
                <a:gd name="connsiteY89" fmla="*/ 82661 h 566217"/>
                <a:gd name="connsiteX90" fmla="*/ 197315 w 607639"/>
                <a:gd name="connsiteY90" fmla="*/ 83017 h 566217"/>
                <a:gd name="connsiteX91" fmla="*/ 205505 w 607639"/>
                <a:gd name="connsiteY91" fmla="*/ 85150 h 566217"/>
                <a:gd name="connsiteX92" fmla="*/ 205950 w 607639"/>
                <a:gd name="connsiteY92" fmla="*/ 85239 h 566217"/>
                <a:gd name="connsiteX93" fmla="*/ 269064 w 607639"/>
                <a:gd name="connsiteY93" fmla="*/ 148255 h 566217"/>
                <a:gd name="connsiteX94" fmla="*/ 269153 w 607639"/>
                <a:gd name="connsiteY94" fmla="*/ 148788 h 566217"/>
                <a:gd name="connsiteX95" fmla="*/ 271290 w 607639"/>
                <a:gd name="connsiteY95" fmla="*/ 156876 h 566217"/>
                <a:gd name="connsiteX96" fmla="*/ 271646 w 607639"/>
                <a:gd name="connsiteY96" fmla="*/ 158921 h 566217"/>
                <a:gd name="connsiteX97" fmla="*/ 272714 w 607639"/>
                <a:gd name="connsiteY97" fmla="*/ 165764 h 566217"/>
                <a:gd name="connsiteX98" fmla="*/ 272981 w 607639"/>
                <a:gd name="connsiteY98" fmla="*/ 168875 h 566217"/>
                <a:gd name="connsiteX99" fmla="*/ 273159 w 607639"/>
                <a:gd name="connsiteY99" fmla="*/ 171897 h 566217"/>
                <a:gd name="connsiteX100" fmla="*/ 182271 w 607639"/>
                <a:gd name="connsiteY100" fmla="*/ 171897 h 566217"/>
                <a:gd name="connsiteX101" fmla="*/ 177210 w 607639"/>
                <a:gd name="connsiteY101" fmla="*/ 60617 h 566217"/>
                <a:gd name="connsiteX102" fmla="*/ 174451 w 607639"/>
                <a:gd name="connsiteY102" fmla="*/ 60795 h 566217"/>
                <a:gd name="connsiteX103" fmla="*/ 171869 w 607639"/>
                <a:gd name="connsiteY103" fmla="*/ 60795 h 566217"/>
                <a:gd name="connsiteX104" fmla="*/ 167508 w 607639"/>
                <a:gd name="connsiteY104" fmla="*/ 61062 h 566217"/>
                <a:gd name="connsiteX105" fmla="*/ 167419 w 607639"/>
                <a:gd name="connsiteY105" fmla="*/ 61151 h 566217"/>
                <a:gd name="connsiteX106" fmla="*/ 60791 w 607639"/>
                <a:gd name="connsiteY106" fmla="*/ 176964 h 566217"/>
                <a:gd name="connsiteX107" fmla="*/ 177210 w 607639"/>
                <a:gd name="connsiteY107" fmla="*/ 293221 h 566217"/>
                <a:gd name="connsiteX108" fmla="*/ 253487 w 607639"/>
                <a:gd name="connsiteY108" fmla="*/ 264601 h 566217"/>
                <a:gd name="connsiteX109" fmla="*/ 254377 w 607639"/>
                <a:gd name="connsiteY109" fmla="*/ 264068 h 566217"/>
                <a:gd name="connsiteX110" fmla="*/ 254733 w 607639"/>
                <a:gd name="connsiteY110" fmla="*/ 263535 h 566217"/>
                <a:gd name="connsiteX111" fmla="*/ 293184 w 607639"/>
                <a:gd name="connsiteY111" fmla="*/ 186652 h 566217"/>
                <a:gd name="connsiteX112" fmla="*/ 293362 w 607639"/>
                <a:gd name="connsiteY112" fmla="*/ 186474 h 566217"/>
                <a:gd name="connsiteX113" fmla="*/ 293540 w 607639"/>
                <a:gd name="connsiteY113" fmla="*/ 182297 h 566217"/>
                <a:gd name="connsiteX114" fmla="*/ 293540 w 607639"/>
                <a:gd name="connsiteY114" fmla="*/ 179630 h 566217"/>
                <a:gd name="connsiteX115" fmla="*/ 293718 w 607639"/>
                <a:gd name="connsiteY115" fmla="*/ 176964 h 566217"/>
                <a:gd name="connsiteX116" fmla="*/ 293540 w 607639"/>
                <a:gd name="connsiteY116" fmla="*/ 173320 h 566217"/>
                <a:gd name="connsiteX117" fmla="*/ 293184 w 607639"/>
                <a:gd name="connsiteY117" fmla="*/ 167898 h 566217"/>
                <a:gd name="connsiteX118" fmla="*/ 292383 w 607639"/>
                <a:gd name="connsiteY118" fmla="*/ 160698 h 566217"/>
                <a:gd name="connsiteX119" fmla="*/ 291760 w 607639"/>
                <a:gd name="connsiteY119" fmla="*/ 156432 h 566217"/>
                <a:gd name="connsiteX120" fmla="*/ 290068 w 607639"/>
                <a:gd name="connsiteY120" fmla="*/ 148522 h 566217"/>
                <a:gd name="connsiteX121" fmla="*/ 289178 w 607639"/>
                <a:gd name="connsiteY121" fmla="*/ 145144 h 566217"/>
                <a:gd name="connsiteX122" fmla="*/ 286508 w 607639"/>
                <a:gd name="connsiteY122" fmla="*/ 137145 h 566217"/>
                <a:gd name="connsiteX123" fmla="*/ 285351 w 607639"/>
                <a:gd name="connsiteY123" fmla="*/ 133856 h 566217"/>
                <a:gd name="connsiteX124" fmla="*/ 282058 w 607639"/>
                <a:gd name="connsiteY124" fmla="*/ 126657 h 566217"/>
                <a:gd name="connsiteX125" fmla="*/ 280278 w 607639"/>
                <a:gd name="connsiteY125" fmla="*/ 122924 h 566217"/>
                <a:gd name="connsiteX126" fmla="*/ 276896 w 607639"/>
                <a:gd name="connsiteY126" fmla="*/ 117057 h 566217"/>
                <a:gd name="connsiteX127" fmla="*/ 274136 w 607639"/>
                <a:gd name="connsiteY127" fmla="*/ 112613 h 566217"/>
                <a:gd name="connsiteX128" fmla="*/ 271199 w 607639"/>
                <a:gd name="connsiteY128" fmla="*/ 108525 h 566217"/>
                <a:gd name="connsiteX129" fmla="*/ 267105 w 607639"/>
                <a:gd name="connsiteY129" fmla="*/ 103014 h 566217"/>
                <a:gd name="connsiteX130" fmla="*/ 266571 w 607639"/>
                <a:gd name="connsiteY130" fmla="*/ 102481 h 566217"/>
                <a:gd name="connsiteX131" fmla="*/ 259540 w 607639"/>
                <a:gd name="connsiteY131" fmla="*/ 94659 h 566217"/>
                <a:gd name="connsiteX132" fmla="*/ 251351 w 607639"/>
                <a:gd name="connsiteY132" fmla="*/ 87371 h 566217"/>
                <a:gd name="connsiteX133" fmla="*/ 251262 w 607639"/>
                <a:gd name="connsiteY133" fmla="*/ 87193 h 566217"/>
                <a:gd name="connsiteX134" fmla="*/ 245388 w 607639"/>
                <a:gd name="connsiteY134" fmla="*/ 82838 h 566217"/>
                <a:gd name="connsiteX135" fmla="*/ 241739 w 607639"/>
                <a:gd name="connsiteY135" fmla="*/ 80171 h 566217"/>
                <a:gd name="connsiteX136" fmla="*/ 236843 w 607639"/>
                <a:gd name="connsiteY136" fmla="*/ 77238 h 566217"/>
                <a:gd name="connsiteX137" fmla="*/ 231414 w 607639"/>
                <a:gd name="connsiteY137" fmla="*/ 74039 h 566217"/>
                <a:gd name="connsiteX138" fmla="*/ 227231 w 607639"/>
                <a:gd name="connsiteY138" fmla="*/ 72083 h 566217"/>
                <a:gd name="connsiteX139" fmla="*/ 220466 w 607639"/>
                <a:gd name="connsiteY139" fmla="*/ 69061 h 566217"/>
                <a:gd name="connsiteX140" fmla="*/ 216817 w 607639"/>
                <a:gd name="connsiteY140" fmla="*/ 67728 h 566217"/>
                <a:gd name="connsiteX141" fmla="*/ 209252 w 607639"/>
                <a:gd name="connsiteY141" fmla="*/ 65239 h 566217"/>
                <a:gd name="connsiteX142" fmla="*/ 205513 w 607639"/>
                <a:gd name="connsiteY142" fmla="*/ 64262 h 566217"/>
                <a:gd name="connsiteX143" fmla="*/ 197770 w 607639"/>
                <a:gd name="connsiteY143" fmla="*/ 62573 h 566217"/>
                <a:gd name="connsiteX144" fmla="*/ 193498 w 607639"/>
                <a:gd name="connsiteY144" fmla="*/ 61951 h 566217"/>
                <a:gd name="connsiteX145" fmla="*/ 186199 w 607639"/>
                <a:gd name="connsiteY145" fmla="*/ 61062 h 566217"/>
                <a:gd name="connsiteX146" fmla="*/ 181037 w 607639"/>
                <a:gd name="connsiteY146" fmla="*/ 60795 h 566217"/>
                <a:gd name="connsiteX147" fmla="*/ 177210 w 607639"/>
                <a:gd name="connsiteY147" fmla="*/ 60617 h 566217"/>
                <a:gd name="connsiteX148" fmla="*/ 431587 w 607639"/>
                <a:gd name="connsiteY148" fmla="*/ 51374 h 566217"/>
                <a:gd name="connsiteX149" fmla="*/ 428294 w 607639"/>
                <a:gd name="connsiteY149" fmla="*/ 53418 h 566217"/>
                <a:gd name="connsiteX150" fmla="*/ 425356 w 607639"/>
                <a:gd name="connsiteY150" fmla="*/ 60617 h 566217"/>
                <a:gd name="connsiteX151" fmla="*/ 428294 w 607639"/>
                <a:gd name="connsiteY151" fmla="*/ 67817 h 566217"/>
                <a:gd name="connsiteX152" fmla="*/ 435414 w 607639"/>
                <a:gd name="connsiteY152" fmla="*/ 70750 h 566217"/>
                <a:gd name="connsiteX153" fmla="*/ 442623 w 607639"/>
                <a:gd name="connsiteY153" fmla="*/ 67817 h 566217"/>
                <a:gd name="connsiteX154" fmla="*/ 445561 w 607639"/>
                <a:gd name="connsiteY154" fmla="*/ 60617 h 566217"/>
                <a:gd name="connsiteX155" fmla="*/ 442623 w 607639"/>
                <a:gd name="connsiteY155" fmla="*/ 53418 h 566217"/>
                <a:gd name="connsiteX156" fmla="*/ 431587 w 607639"/>
                <a:gd name="connsiteY156" fmla="*/ 51374 h 566217"/>
                <a:gd name="connsiteX157" fmla="*/ 476000 w 607639"/>
                <a:gd name="connsiteY157" fmla="*/ 50485 h 566217"/>
                <a:gd name="connsiteX158" fmla="*/ 465854 w 607639"/>
                <a:gd name="connsiteY158" fmla="*/ 60617 h 566217"/>
                <a:gd name="connsiteX159" fmla="*/ 476000 w 607639"/>
                <a:gd name="connsiteY159" fmla="*/ 70750 h 566217"/>
                <a:gd name="connsiteX160" fmla="*/ 506351 w 607639"/>
                <a:gd name="connsiteY160" fmla="*/ 70750 h 566217"/>
                <a:gd name="connsiteX161" fmla="*/ 516498 w 607639"/>
                <a:gd name="connsiteY161" fmla="*/ 60617 h 566217"/>
                <a:gd name="connsiteX162" fmla="*/ 506351 w 607639"/>
                <a:gd name="connsiteY162" fmla="*/ 50485 h 566217"/>
                <a:gd name="connsiteX163" fmla="*/ 374712 w 607639"/>
                <a:gd name="connsiteY163" fmla="*/ 50485 h 566217"/>
                <a:gd name="connsiteX164" fmla="*/ 364566 w 607639"/>
                <a:gd name="connsiteY164" fmla="*/ 60617 h 566217"/>
                <a:gd name="connsiteX165" fmla="*/ 374712 w 607639"/>
                <a:gd name="connsiteY165" fmla="*/ 70750 h 566217"/>
                <a:gd name="connsiteX166" fmla="*/ 394917 w 607639"/>
                <a:gd name="connsiteY166" fmla="*/ 70750 h 566217"/>
                <a:gd name="connsiteX167" fmla="*/ 405063 w 607639"/>
                <a:gd name="connsiteY167" fmla="*/ 60617 h 566217"/>
                <a:gd name="connsiteX168" fmla="*/ 394917 w 607639"/>
                <a:gd name="connsiteY168" fmla="*/ 50485 h 566217"/>
                <a:gd name="connsiteX169" fmla="*/ 45571 w 607639"/>
                <a:gd name="connsiteY169" fmla="*/ 0 h 566217"/>
                <a:gd name="connsiteX170" fmla="*/ 562069 w 607639"/>
                <a:gd name="connsiteY170" fmla="*/ 0 h 566217"/>
                <a:gd name="connsiteX171" fmla="*/ 607639 w 607639"/>
                <a:gd name="connsiteY171" fmla="*/ 45508 h 566217"/>
                <a:gd name="connsiteX172" fmla="*/ 607639 w 607639"/>
                <a:gd name="connsiteY172" fmla="*/ 343795 h 566217"/>
                <a:gd name="connsiteX173" fmla="*/ 0 w 607639"/>
                <a:gd name="connsiteY173" fmla="*/ 343795 h 566217"/>
                <a:gd name="connsiteX174" fmla="*/ 0 w 607639"/>
                <a:gd name="connsiteY174" fmla="*/ 45508 h 566217"/>
                <a:gd name="connsiteX175" fmla="*/ 45571 w 607639"/>
                <a:gd name="connsiteY175" fmla="*/ 0 h 566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</a:cxnLst>
              <a:rect l="l" t="t" r="r" b="b"/>
              <a:pathLst>
                <a:path w="607639" h="566217">
                  <a:moveTo>
                    <a:pt x="261053" y="444915"/>
                  </a:moveTo>
                  <a:lnTo>
                    <a:pt x="245922" y="505522"/>
                  </a:lnTo>
                  <a:lnTo>
                    <a:pt x="361718" y="505522"/>
                  </a:lnTo>
                  <a:lnTo>
                    <a:pt x="346498" y="444915"/>
                  </a:lnTo>
                  <a:close/>
                  <a:moveTo>
                    <a:pt x="0" y="364047"/>
                  </a:moveTo>
                  <a:lnTo>
                    <a:pt x="607639" y="364047"/>
                  </a:lnTo>
                  <a:lnTo>
                    <a:pt x="607639" y="399416"/>
                  </a:lnTo>
                  <a:cubicBezTo>
                    <a:pt x="607639" y="424476"/>
                    <a:pt x="587168" y="444915"/>
                    <a:pt x="562069" y="444915"/>
                  </a:cubicBezTo>
                  <a:lnTo>
                    <a:pt x="367414" y="444915"/>
                  </a:lnTo>
                  <a:lnTo>
                    <a:pt x="382634" y="505522"/>
                  </a:lnTo>
                  <a:lnTo>
                    <a:pt x="384859" y="505522"/>
                  </a:lnTo>
                  <a:cubicBezTo>
                    <a:pt x="412718" y="505522"/>
                    <a:pt x="435414" y="528271"/>
                    <a:pt x="435414" y="556086"/>
                  </a:cubicBezTo>
                  <a:cubicBezTo>
                    <a:pt x="435414" y="561685"/>
                    <a:pt x="430964" y="566217"/>
                    <a:pt x="425356" y="566217"/>
                  </a:cubicBezTo>
                  <a:lnTo>
                    <a:pt x="182283" y="566217"/>
                  </a:lnTo>
                  <a:cubicBezTo>
                    <a:pt x="176676" y="566217"/>
                    <a:pt x="172136" y="561685"/>
                    <a:pt x="172136" y="556086"/>
                  </a:cubicBezTo>
                  <a:cubicBezTo>
                    <a:pt x="172136" y="528271"/>
                    <a:pt x="194833" y="505522"/>
                    <a:pt x="222780" y="505522"/>
                  </a:cubicBezTo>
                  <a:lnTo>
                    <a:pt x="225006" y="505522"/>
                  </a:lnTo>
                  <a:lnTo>
                    <a:pt x="240225" y="444915"/>
                  </a:lnTo>
                  <a:lnTo>
                    <a:pt x="45571" y="444915"/>
                  </a:lnTo>
                  <a:cubicBezTo>
                    <a:pt x="20471" y="444915"/>
                    <a:pt x="0" y="424476"/>
                    <a:pt x="0" y="399416"/>
                  </a:cubicBezTo>
                  <a:close/>
                  <a:moveTo>
                    <a:pt x="344273" y="273045"/>
                  </a:moveTo>
                  <a:cubicBezTo>
                    <a:pt x="338754" y="273045"/>
                    <a:pt x="334215" y="277578"/>
                    <a:pt x="334215" y="283089"/>
                  </a:cubicBezTo>
                  <a:lnTo>
                    <a:pt x="334215" y="313486"/>
                  </a:lnTo>
                  <a:cubicBezTo>
                    <a:pt x="334215" y="318997"/>
                    <a:pt x="338754" y="323530"/>
                    <a:pt x="344273" y="323530"/>
                  </a:cubicBezTo>
                  <a:cubicBezTo>
                    <a:pt x="349880" y="323530"/>
                    <a:pt x="354419" y="318997"/>
                    <a:pt x="354419" y="313486"/>
                  </a:cubicBezTo>
                  <a:lnTo>
                    <a:pt x="354419" y="283089"/>
                  </a:lnTo>
                  <a:cubicBezTo>
                    <a:pt x="354419" y="277578"/>
                    <a:pt x="349880" y="273045"/>
                    <a:pt x="344273" y="273045"/>
                  </a:cubicBezTo>
                  <a:close/>
                  <a:moveTo>
                    <a:pt x="425356" y="252780"/>
                  </a:moveTo>
                  <a:cubicBezTo>
                    <a:pt x="419749" y="252780"/>
                    <a:pt x="415210" y="257313"/>
                    <a:pt x="415210" y="262913"/>
                  </a:cubicBezTo>
                  <a:lnTo>
                    <a:pt x="415210" y="313486"/>
                  </a:lnTo>
                  <a:cubicBezTo>
                    <a:pt x="415210" y="318997"/>
                    <a:pt x="419749" y="323530"/>
                    <a:pt x="425356" y="323530"/>
                  </a:cubicBezTo>
                  <a:cubicBezTo>
                    <a:pt x="430964" y="323530"/>
                    <a:pt x="435414" y="318997"/>
                    <a:pt x="435414" y="313486"/>
                  </a:cubicBezTo>
                  <a:lnTo>
                    <a:pt x="435414" y="262913"/>
                  </a:lnTo>
                  <a:cubicBezTo>
                    <a:pt x="435414" y="257313"/>
                    <a:pt x="430964" y="252780"/>
                    <a:pt x="425356" y="252780"/>
                  </a:cubicBezTo>
                  <a:close/>
                  <a:moveTo>
                    <a:pt x="384859" y="232515"/>
                  </a:moveTo>
                  <a:cubicBezTo>
                    <a:pt x="379252" y="232515"/>
                    <a:pt x="374712" y="237048"/>
                    <a:pt x="374712" y="242648"/>
                  </a:cubicBezTo>
                  <a:lnTo>
                    <a:pt x="374712" y="313486"/>
                  </a:lnTo>
                  <a:cubicBezTo>
                    <a:pt x="374712" y="318997"/>
                    <a:pt x="379252" y="323530"/>
                    <a:pt x="384859" y="323530"/>
                  </a:cubicBezTo>
                  <a:cubicBezTo>
                    <a:pt x="390466" y="323530"/>
                    <a:pt x="394917" y="318997"/>
                    <a:pt x="394917" y="313486"/>
                  </a:cubicBezTo>
                  <a:lnTo>
                    <a:pt x="394917" y="242648"/>
                  </a:lnTo>
                  <a:cubicBezTo>
                    <a:pt x="394917" y="237048"/>
                    <a:pt x="390466" y="232515"/>
                    <a:pt x="384859" y="232515"/>
                  </a:cubicBezTo>
                  <a:close/>
                  <a:moveTo>
                    <a:pt x="506351" y="222471"/>
                  </a:moveTo>
                  <a:cubicBezTo>
                    <a:pt x="500744" y="222471"/>
                    <a:pt x="496205" y="227004"/>
                    <a:pt x="496205" y="232515"/>
                  </a:cubicBezTo>
                  <a:lnTo>
                    <a:pt x="496205" y="313486"/>
                  </a:lnTo>
                  <a:cubicBezTo>
                    <a:pt x="496205" y="318997"/>
                    <a:pt x="500744" y="323530"/>
                    <a:pt x="506351" y="323530"/>
                  </a:cubicBezTo>
                  <a:cubicBezTo>
                    <a:pt x="511959" y="323530"/>
                    <a:pt x="516498" y="318997"/>
                    <a:pt x="516498" y="313486"/>
                  </a:cubicBezTo>
                  <a:lnTo>
                    <a:pt x="516498" y="232515"/>
                  </a:lnTo>
                  <a:cubicBezTo>
                    <a:pt x="516498" y="227004"/>
                    <a:pt x="511959" y="222471"/>
                    <a:pt x="506351" y="222471"/>
                  </a:cubicBezTo>
                  <a:close/>
                  <a:moveTo>
                    <a:pt x="196595" y="192079"/>
                  </a:moveTo>
                  <a:lnTo>
                    <a:pt x="272100" y="192079"/>
                  </a:lnTo>
                  <a:cubicBezTo>
                    <a:pt x="268984" y="211437"/>
                    <a:pt x="260080" y="228929"/>
                    <a:pt x="247258" y="242604"/>
                  </a:cubicBezTo>
                  <a:close/>
                  <a:moveTo>
                    <a:pt x="465854" y="182030"/>
                  </a:moveTo>
                  <a:cubicBezTo>
                    <a:pt x="460247" y="182030"/>
                    <a:pt x="455707" y="186563"/>
                    <a:pt x="455707" y="192074"/>
                  </a:cubicBezTo>
                  <a:lnTo>
                    <a:pt x="455707" y="313486"/>
                  </a:lnTo>
                  <a:cubicBezTo>
                    <a:pt x="455707" y="318997"/>
                    <a:pt x="460247" y="323530"/>
                    <a:pt x="465854" y="323530"/>
                  </a:cubicBezTo>
                  <a:cubicBezTo>
                    <a:pt x="471461" y="323530"/>
                    <a:pt x="476000" y="318997"/>
                    <a:pt x="476000" y="313486"/>
                  </a:cubicBezTo>
                  <a:lnTo>
                    <a:pt x="476000" y="192074"/>
                  </a:lnTo>
                  <a:cubicBezTo>
                    <a:pt x="476000" y="186563"/>
                    <a:pt x="471461" y="182030"/>
                    <a:pt x="465854" y="182030"/>
                  </a:cubicBezTo>
                  <a:close/>
                  <a:moveTo>
                    <a:pt x="499142" y="103992"/>
                  </a:moveTo>
                  <a:cubicBezTo>
                    <a:pt x="498786" y="104525"/>
                    <a:pt x="498252" y="105058"/>
                    <a:pt x="497896" y="105503"/>
                  </a:cubicBezTo>
                  <a:cubicBezTo>
                    <a:pt x="497540" y="106125"/>
                    <a:pt x="497273" y="106747"/>
                    <a:pt x="497006" y="107369"/>
                  </a:cubicBezTo>
                  <a:cubicBezTo>
                    <a:pt x="496739" y="107992"/>
                    <a:pt x="496561" y="108614"/>
                    <a:pt x="496383" y="109147"/>
                  </a:cubicBezTo>
                  <a:cubicBezTo>
                    <a:pt x="496294" y="109858"/>
                    <a:pt x="496205" y="110569"/>
                    <a:pt x="496205" y="111191"/>
                  </a:cubicBezTo>
                  <a:cubicBezTo>
                    <a:pt x="496205" y="111813"/>
                    <a:pt x="496294" y="112524"/>
                    <a:pt x="496383" y="113236"/>
                  </a:cubicBezTo>
                  <a:cubicBezTo>
                    <a:pt x="496561" y="113858"/>
                    <a:pt x="496739" y="114480"/>
                    <a:pt x="497006" y="115013"/>
                  </a:cubicBezTo>
                  <a:cubicBezTo>
                    <a:pt x="497273" y="115635"/>
                    <a:pt x="497540" y="116258"/>
                    <a:pt x="497896" y="116880"/>
                  </a:cubicBezTo>
                  <a:cubicBezTo>
                    <a:pt x="498252" y="117413"/>
                    <a:pt x="498786" y="117857"/>
                    <a:pt x="499142" y="118391"/>
                  </a:cubicBezTo>
                  <a:cubicBezTo>
                    <a:pt x="501100" y="120168"/>
                    <a:pt x="503681" y="121324"/>
                    <a:pt x="506351" y="121324"/>
                  </a:cubicBezTo>
                  <a:cubicBezTo>
                    <a:pt x="509021" y="121324"/>
                    <a:pt x="511603" y="120168"/>
                    <a:pt x="513561" y="118391"/>
                  </a:cubicBezTo>
                  <a:cubicBezTo>
                    <a:pt x="515341" y="116435"/>
                    <a:pt x="516498" y="113947"/>
                    <a:pt x="516498" y="111191"/>
                  </a:cubicBezTo>
                  <a:cubicBezTo>
                    <a:pt x="516498" y="108436"/>
                    <a:pt x="515341" y="105947"/>
                    <a:pt x="513561" y="103992"/>
                  </a:cubicBezTo>
                  <a:cubicBezTo>
                    <a:pt x="509644" y="100259"/>
                    <a:pt x="502880" y="100259"/>
                    <a:pt x="499142" y="103992"/>
                  </a:cubicBezTo>
                  <a:close/>
                  <a:moveTo>
                    <a:pt x="374712" y="101059"/>
                  </a:moveTo>
                  <a:cubicBezTo>
                    <a:pt x="369105" y="101059"/>
                    <a:pt x="364566" y="105592"/>
                    <a:pt x="364566" y="111191"/>
                  </a:cubicBezTo>
                  <a:cubicBezTo>
                    <a:pt x="364566" y="116791"/>
                    <a:pt x="369105" y="121324"/>
                    <a:pt x="374712" y="121324"/>
                  </a:cubicBezTo>
                  <a:lnTo>
                    <a:pt x="455707" y="121324"/>
                  </a:lnTo>
                  <a:cubicBezTo>
                    <a:pt x="461315" y="121324"/>
                    <a:pt x="465854" y="116791"/>
                    <a:pt x="465854" y="111191"/>
                  </a:cubicBezTo>
                  <a:cubicBezTo>
                    <a:pt x="465854" y="105592"/>
                    <a:pt x="461315" y="101059"/>
                    <a:pt x="455707" y="101059"/>
                  </a:cubicBezTo>
                  <a:close/>
                  <a:moveTo>
                    <a:pt x="162007" y="82209"/>
                  </a:moveTo>
                  <a:lnTo>
                    <a:pt x="162007" y="181568"/>
                  </a:lnTo>
                  <a:lnTo>
                    <a:pt x="162096" y="181657"/>
                  </a:lnTo>
                  <a:cubicBezTo>
                    <a:pt x="162007" y="184323"/>
                    <a:pt x="162986" y="187078"/>
                    <a:pt x="165033" y="189123"/>
                  </a:cubicBezTo>
                  <a:lnTo>
                    <a:pt x="231878" y="255866"/>
                  </a:lnTo>
                  <a:cubicBezTo>
                    <a:pt x="216391" y="266619"/>
                    <a:pt x="197521" y="273018"/>
                    <a:pt x="177227" y="273018"/>
                  </a:cubicBezTo>
                  <a:cubicBezTo>
                    <a:pt x="124178" y="273018"/>
                    <a:pt x="81009" y="229915"/>
                    <a:pt x="81009" y="176947"/>
                  </a:cubicBezTo>
                  <a:cubicBezTo>
                    <a:pt x="81009" y="129134"/>
                    <a:pt x="116257" y="89497"/>
                    <a:pt x="162007" y="82209"/>
                  </a:cubicBezTo>
                  <a:close/>
                  <a:moveTo>
                    <a:pt x="182271" y="81150"/>
                  </a:moveTo>
                  <a:cubicBezTo>
                    <a:pt x="183250" y="81150"/>
                    <a:pt x="184230" y="81150"/>
                    <a:pt x="185209" y="81239"/>
                  </a:cubicBezTo>
                  <a:cubicBezTo>
                    <a:pt x="186277" y="81328"/>
                    <a:pt x="187434" y="81417"/>
                    <a:pt x="188503" y="81594"/>
                  </a:cubicBezTo>
                  <a:cubicBezTo>
                    <a:pt x="190728" y="81861"/>
                    <a:pt x="193043" y="82217"/>
                    <a:pt x="195268" y="82661"/>
                  </a:cubicBezTo>
                  <a:cubicBezTo>
                    <a:pt x="195891" y="82750"/>
                    <a:pt x="196603" y="82839"/>
                    <a:pt x="197315" y="83017"/>
                  </a:cubicBezTo>
                  <a:cubicBezTo>
                    <a:pt x="200075" y="83550"/>
                    <a:pt x="202835" y="84261"/>
                    <a:pt x="205505" y="85150"/>
                  </a:cubicBezTo>
                  <a:cubicBezTo>
                    <a:pt x="205594" y="85150"/>
                    <a:pt x="205772" y="85150"/>
                    <a:pt x="205950" y="85239"/>
                  </a:cubicBezTo>
                  <a:cubicBezTo>
                    <a:pt x="235949" y="94571"/>
                    <a:pt x="259628" y="118302"/>
                    <a:pt x="269064" y="148255"/>
                  </a:cubicBezTo>
                  <a:cubicBezTo>
                    <a:pt x="269064" y="148433"/>
                    <a:pt x="269153" y="148610"/>
                    <a:pt x="269153" y="148788"/>
                  </a:cubicBezTo>
                  <a:cubicBezTo>
                    <a:pt x="270044" y="151455"/>
                    <a:pt x="270667" y="154121"/>
                    <a:pt x="271290" y="156876"/>
                  </a:cubicBezTo>
                  <a:cubicBezTo>
                    <a:pt x="271468" y="157587"/>
                    <a:pt x="271557" y="158209"/>
                    <a:pt x="271646" y="158921"/>
                  </a:cubicBezTo>
                  <a:cubicBezTo>
                    <a:pt x="272091" y="161143"/>
                    <a:pt x="272447" y="163453"/>
                    <a:pt x="272714" y="165764"/>
                  </a:cubicBezTo>
                  <a:cubicBezTo>
                    <a:pt x="272803" y="166742"/>
                    <a:pt x="272892" y="167809"/>
                    <a:pt x="272981" y="168875"/>
                  </a:cubicBezTo>
                  <a:cubicBezTo>
                    <a:pt x="273070" y="169853"/>
                    <a:pt x="273159" y="170831"/>
                    <a:pt x="273159" y="171897"/>
                  </a:cubicBezTo>
                  <a:lnTo>
                    <a:pt x="182271" y="171897"/>
                  </a:lnTo>
                  <a:close/>
                  <a:moveTo>
                    <a:pt x="177210" y="60617"/>
                  </a:moveTo>
                  <a:cubicBezTo>
                    <a:pt x="176320" y="60617"/>
                    <a:pt x="175430" y="60795"/>
                    <a:pt x="174451" y="60795"/>
                  </a:cubicBezTo>
                  <a:cubicBezTo>
                    <a:pt x="173561" y="60795"/>
                    <a:pt x="172759" y="60706"/>
                    <a:pt x="171869" y="60795"/>
                  </a:cubicBezTo>
                  <a:lnTo>
                    <a:pt x="167508" y="61062"/>
                  </a:lnTo>
                  <a:lnTo>
                    <a:pt x="167419" y="61151"/>
                  </a:lnTo>
                  <a:cubicBezTo>
                    <a:pt x="107786" y="66128"/>
                    <a:pt x="60791" y="116080"/>
                    <a:pt x="60791" y="176964"/>
                  </a:cubicBezTo>
                  <a:cubicBezTo>
                    <a:pt x="60791" y="241048"/>
                    <a:pt x="113037" y="293221"/>
                    <a:pt x="177210" y="293221"/>
                  </a:cubicBezTo>
                  <a:cubicBezTo>
                    <a:pt x="206403" y="293221"/>
                    <a:pt x="233016" y="282378"/>
                    <a:pt x="253487" y="264601"/>
                  </a:cubicBezTo>
                  <a:cubicBezTo>
                    <a:pt x="253754" y="264424"/>
                    <a:pt x="254110" y="264335"/>
                    <a:pt x="254377" y="264068"/>
                  </a:cubicBezTo>
                  <a:cubicBezTo>
                    <a:pt x="254466" y="263890"/>
                    <a:pt x="254555" y="263713"/>
                    <a:pt x="254733" y="263535"/>
                  </a:cubicBezTo>
                  <a:cubicBezTo>
                    <a:pt x="276273" y="244247"/>
                    <a:pt x="290602" y="217138"/>
                    <a:pt x="293184" y="186652"/>
                  </a:cubicBezTo>
                  <a:lnTo>
                    <a:pt x="293362" y="186474"/>
                  </a:lnTo>
                  <a:lnTo>
                    <a:pt x="293540" y="182297"/>
                  </a:lnTo>
                  <a:cubicBezTo>
                    <a:pt x="293629" y="181408"/>
                    <a:pt x="293540" y="180519"/>
                    <a:pt x="293540" y="179630"/>
                  </a:cubicBezTo>
                  <a:cubicBezTo>
                    <a:pt x="293540" y="178741"/>
                    <a:pt x="293718" y="177853"/>
                    <a:pt x="293718" y="176964"/>
                  </a:cubicBezTo>
                  <a:cubicBezTo>
                    <a:pt x="293718" y="175719"/>
                    <a:pt x="293540" y="174475"/>
                    <a:pt x="293540" y="173320"/>
                  </a:cubicBezTo>
                  <a:cubicBezTo>
                    <a:pt x="293451" y="171453"/>
                    <a:pt x="293362" y="169676"/>
                    <a:pt x="293184" y="167898"/>
                  </a:cubicBezTo>
                  <a:cubicBezTo>
                    <a:pt x="293006" y="165498"/>
                    <a:pt x="292739" y="163098"/>
                    <a:pt x="292383" y="160698"/>
                  </a:cubicBezTo>
                  <a:cubicBezTo>
                    <a:pt x="292205" y="159276"/>
                    <a:pt x="292027" y="157854"/>
                    <a:pt x="291760" y="156432"/>
                  </a:cubicBezTo>
                  <a:cubicBezTo>
                    <a:pt x="291314" y="153766"/>
                    <a:pt x="290691" y="151188"/>
                    <a:pt x="290068" y="148522"/>
                  </a:cubicBezTo>
                  <a:cubicBezTo>
                    <a:pt x="289712" y="147366"/>
                    <a:pt x="289445" y="146211"/>
                    <a:pt x="289178" y="145144"/>
                  </a:cubicBezTo>
                  <a:cubicBezTo>
                    <a:pt x="288377" y="142389"/>
                    <a:pt x="287487" y="139722"/>
                    <a:pt x="286508" y="137145"/>
                  </a:cubicBezTo>
                  <a:cubicBezTo>
                    <a:pt x="286152" y="136078"/>
                    <a:pt x="285707" y="134923"/>
                    <a:pt x="285351" y="133856"/>
                  </a:cubicBezTo>
                  <a:cubicBezTo>
                    <a:pt x="284283" y="131367"/>
                    <a:pt x="283215" y="129057"/>
                    <a:pt x="282058" y="126657"/>
                  </a:cubicBezTo>
                  <a:cubicBezTo>
                    <a:pt x="281435" y="125412"/>
                    <a:pt x="280901" y="124168"/>
                    <a:pt x="280278" y="122924"/>
                  </a:cubicBezTo>
                  <a:cubicBezTo>
                    <a:pt x="279210" y="120968"/>
                    <a:pt x="278053" y="119013"/>
                    <a:pt x="276896" y="117057"/>
                  </a:cubicBezTo>
                  <a:cubicBezTo>
                    <a:pt x="276006" y="115546"/>
                    <a:pt x="275116" y="114035"/>
                    <a:pt x="274136" y="112613"/>
                  </a:cubicBezTo>
                  <a:cubicBezTo>
                    <a:pt x="273246" y="111191"/>
                    <a:pt x="272178" y="109858"/>
                    <a:pt x="271199" y="108525"/>
                  </a:cubicBezTo>
                  <a:cubicBezTo>
                    <a:pt x="269864" y="106658"/>
                    <a:pt x="268529" y="104792"/>
                    <a:pt x="267105" y="103014"/>
                  </a:cubicBezTo>
                  <a:cubicBezTo>
                    <a:pt x="266927" y="102836"/>
                    <a:pt x="266749" y="102659"/>
                    <a:pt x="266571" y="102481"/>
                  </a:cubicBezTo>
                  <a:cubicBezTo>
                    <a:pt x="264346" y="99814"/>
                    <a:pt x="262032" y="97148"/>
                    <a:pt x="259540" y="94659"/>
                  </a:cubicBezTo>
                  <a:cubicBezTo>
                    <a:pt x="256958" y="92082"/>
                    <a:pt x="254199" y="89682"/>
                    <a:pt x="251351" y="87371"/>
                  </a:cubicBezTo>
                  <a:cubicBezTo>
                    <a:pt x="251351" y="87282"/>
                    <a:pt x="251262" y="87282"/>
                    <a:pt x="251262" y="87193"/>
                  </a:cubicBezTo>
                  <a:cubicBezTo>
                    <a:pt x="249393" y="85682"/>
                    <a:pt x="247346" y="84260"/>
                    <a:pt x="245388" y="82838"/>
                  </a:cubicBezTo>
                  <a:cubicBezTo>
                    <a:pt x="244142" y="81949"/>
                    <a:pt x="242985" y="81060"/>
                    <a:pt x="241739" y="80171"/>
                  </a:cubicBezTo>
                  <a:cubicBezTo>
                    <a:pt x="240136" y="79105"/>
                    <a:pt x="238445" y="78216"/>
                    <a:pt x="236843" y="77238"/>
                  </a:cubicBezTo>
                  <a:cubicBezTo>
                    <a:pt x="235063" y="76172"/>
                    <a:pt x="233283" y="75105"/>
                    <a:pt x="231414" y="74039"/>
                  </a:cubicBezTo>
                  <a:cubicBezTo>
                    <a:pt x="230079" y="73328"/>
                    <a:pt x="228655" y="72705"/>
                    <a:pt x="227231" y="72083"/>
                  </a:cubicBezTo>
                  <a:cubicBezTo>
                    <a:pt x="225006" y="71017"/>
                    <a:pt x="222780" y="69950"/>
                    <a:pt x="220466" y="69061"/>
                  </a:cubicBezTo>
                  <a:cubicBezTo>
                    <a:pt x="219309" y="68617"/>
                    <a:pt x="218063" y="68172"/>
                    <a:pt x="216817" y="67728"/>
                  </a:cubicBezTo>
                  <a:cubicBezTo>
                    <a:pt x="214325" y="66839"/>
                    <a:pt x="211833" y="65950"/>
                    <a:pt x="209252" y="65239"/>
                  </a:cubicBezTo>
                  <a:cubicBezTo>
                    <a:pt x="208006" y="64884"/>
                    <a:pt x="206759" y="64617"/>
                    <a:pt x="205513" y="64262"/>
                  </a:cubicBezTo>
                  <a:cubicBezTo>
                    <a:pt x="202932" y="63639"/>
                    <a:pt x="200440" y="63017"/>
                    <a:pt x="197770" y="62573"/>
                  </a:cubicBezTo>
                  <a:cubicBezTo>
                    <a:pt x="196346" y="62306"/>
                    <a:pt x="194922" y="62128"/>
                    <a:pt x="193498" y="61951"/>
                  </a:cubicBezTo>
                  <a:cubicBezTo>
                    <a:pt x="191095" y="61595"/>
                    <a:pt x="188691" y="61329"/>
                    <a:pt x="186199" y="61062"/>
                  </a:cubicBezTo>
                  <a:cubicBezTo>
                    <a:pt x="184508" y="60973"/>
                    <a:pt x="182728" y="60884"/>
                    <a:pt x="181037" y="60795"/>
                  </a:cubicBezTo>
                  <a:cubicBezTo>
                    <a:pt x="179702" y="60795"/>
                    <a:pt x="178456" y="60617"/>
                    <a:pt x="177210" y="60617"/>
                  </a:cubicBezTo>
                  <a:close/>
                  <a:moveTo>
                    <a:pt x="431587" y="51374"/>
                  </a:moveTo>
                  <a:cubicBezTo>
                    <a:pt x="430252" y="51818"/>
                    <a:pt x="429273" y="52529"/>
                    <a:pt x="428294" y="53418"/>
                  </a:cubicBezTo>
                  <a:cubicBezTo>
                    <a:pt x="426424" y="55373"/>
                    <a:pt x="425356" y="58040"/>
                    <a:pt x="425356" y="60617"/>
                  </a:cubicBezTo>
                  <a:cubicBezTo>
                    <a:pt x="425356" y="63284"/>
                    <a:pt x="426424" y="65862"/>
                    <a:pt x="428294" y="67817"/>
                  </a:cubicBezTo>
                  <a:cubicBezTo>
                    <a:pt x="430163" y="69683"/>
                    <a:pt x="432833" y="70750"/>
                    <a:pt x="435414" y="70750"/>
                  </a:cubicBezTo>
                  <a:cubicBezTo>
                    <a:pt x="438084" y="70750"/>
                    <a:pt x="440754" y="69683"/>
                    <a:pt x="442623" y="67817"/>
                  </a:cubicBezTo>
                  <a:cubicBezTo>
                    <a:pt x="444493" y="65862"/>
                    <a:pt x="445561" y="63284"/>
                    <a:pt x="445561" y="60617"/>
                  </a:cubicBezTo>
                  <a:cubicBezTo>
                    <a:pt x="445561" y="58040"/>
                    <a:pt x="444493" y="55373"/>
                    <a:pt x="442623" y="53418"/>
                  </a:cubicBezTo>
                  <a:cubicBezTo>
                    <a:pt x="439775" y="50663"/>
                    <a:pt x="435325" y="49685"/>
                    <a:pt x="431587" y="51374"/>
                  </a:cubicBezTo>
                  <a:close/>
                  <a:moveTo>
                    <a:pt x="476000" y="50485"/>
                  </a:moveTo>
                  <a:cubicBezTo>
                    <a:pt x="470393" y="50485"/>
                    <a:pt x="465854" y="55018"/>
                    <a:pt x="465854" y="60617"/>
                  </a:cubicBezTo>
                  <a:cubicBezTo>
                    <a:pt x="465854" y="66217"/>
                    <a:pt x="470393" y="70750"/>
                    <a:pt x="476000" y="70750"/>
                  </a:cubicBezTo>
                  <a:lnTo>
                    <a:pt x="506351" y="70750"/>
                  </a:lnTo>
                  <a:cubicBezTo>
                    <a:pt x="511959" y="70750"/>
                    <a:pt x="516498" y="66217"/>
                    <a:pt x="516498" y="60617"/>
                  </a:cubicBezTo>
                  <a:cubicBezTo>
                    <a:pt x="516498" y="55018"/>
                    <a:pt x="511959" y="50485"/>
                    <a:pt x="506351" y="50485"/>
                  </a:cubicBezTo>
                  <a:close/>
                  <a:moveTo>
                    <a:pt x="374712" y="50485"/>
                  </a:moveTo>
                  <a:cubicBezTo>
                    <a:pt x="369105" y="50485"/>
                    <a:pt x="364566" y="55018"/>
                    <a:pt x="364566" y="60617"/>
                  </a:cubicBezTo>
                  <a:cubicBezTo>
                    <a:pt x="364566" y="66217"/>
                    <a:pt x="369105" y="70750"/>
                    <a:pt x="374712" y="70750"/>
                  </a:cubicBezTo>
                  <a:lnTo>
                    <a:pt x="394917" y="70750"/>
                  </a:lnTo>
                  <a:cubicBezTo>
                    <a:pt x="400524" y="70750"/>
                    <a:pt x="405063" y="66217"/>
                    <a:pt x="405063" y="60617"/>
                  </a:cubicBezTo>
                  <a:cubicBezTo>
                    <a:pt x="405063" y="55018"/>
                    <a:pt x="400524" y="50485"/>
                    <a:pt x="394917" y="50485"/>
                  </a:cubicBezTo>
                  <a:close/>
                  <a:moveTo>
                    <a:pt x="45571" y="0"/>
                  </a:moveTo>
                  <a:lnTo>
                    <a:pt x="562069" y="0"/>
                  </a:lnTo>
                  <a:cubicBezTo>
                    <a:pt x="587168" y="0"/>
                    <a:pt x="607639" y="20354"/>
                    <a:pt x="607639" y="45508"/>
                  </a:cubicBezTo>
                  <a:lnTo>
                    <a:pt x="607639" y="343795"/>
                  </a:lnTo>
                  <a:lnTo>
                    <a:pt x="0" y="343795"/>
                  </a:lnTo>
                  <a:lnTo>
                    <a:pt x="0" y="45508"/>
                  </a:lnTo>
                  <a:cubicBezTo>
                    <a:pt x="0" y="20354"/>
                    <a:pt x="20471" y="0"/>
                    <a:pt x="45571" y="0"/>
                  </a:cubicBezTo>
                  <a:close/>
                </a:path>
              </a:pathLst>
            </a:custGeom>
            <a:gradFill>
              <a:gsLst>
                <a:gs pos="33000">
                  <a:srgbClr val="4EBCF7"/>
                </a:gs>
                <a:gs pos="99000">
                  <a:srgbClr val="0870D3"/>
                </a:gs>
              </a:gsLst>
              <a:lin ang="10800000" scaled="0"/>
            </a:gradFill>
            <a:ln>
              <a:noFill/>
            </a:ln>
            <a:effectLst/>
          </p:spPr>
        </p:sp>
        <p:sp>
          <p:nvSpPr>
            <p:cNvPr id="30" name="矩形 29"/>
            <p:cNvSpPr/>
            <p:nvPr/>
          </p:nvSpPr>
          <p:spPr>
            <a:xfrm>
              <a:off x="1082791" y="386741"/>
              <a:ext cx="3523722" cy="5232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2800" kern="0" dirty="0">
                  <a:solidFill>
                    <a:srgbClr val="0870D3"/>
                  </a:solidFill>
                  <a:effectLst>
                    <a:outerShdw blurRad="76200" dist="127000" dir="8100000" algn="tr" rotWithShape="0">
                      <a:prstClr val="black">
                        <a:alpha val="40000"/>
                      </a:prstClr>
                    </a:outerShdw>
                  </a:effectLst>
                  <a:latin typeface="思源黑体 CN Bold" panose="020B0800000000000000" pitchFamily="34" charset="-122"/>
                  <a:ea typeface="思源黑体 CN Bold" panose="020B0800000000000000" pitchFamily="34" charset="-122"/>
                  <a:cs typeface="+mn-ea"/>
                  <a:sym typeface="+mn-lt"/>
                </a:rPr>
                <a:t>ENTER YOUR TITLE</a:t>
              </a:r>
              <a:endParaRPr lang="zh-CN" altLang="en-US" sz="2800" kern="0" dirty="0">
                <a:solidFill>
                  <a:srgbClr val="0870D3"/>
                </a:solidFill>
                <a:effectLst>
                  <a:outerShdw blurRad="76200" dist="127000" dir="8100000" algn="tr" rotWithShape="0">
                    <a:prstClr val="black">
                      <a:alpha val="40000"/>
                    </a:prstClr>
                  </a:outerShdw>
                </a:effectLst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endParaRPr>
            </a:p>
          </p:txBody>
        </p: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3000">
        <p:fade/>
      </p:transition>
    </mc:Choice>
    <mc:Fallback xmlns="">
      <p:transition spd="med" advClick="0" advTm="3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6" grpId="0" animBg="1"/>
      <p:bldP spid="7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/>
          <p:cNvPicPr>
            <a:picLocks noChangeAspect="1"/>
          </p:cNvPicPr>
          <p:nvPr/>
        </p:nvPicPr>
        <p:blipFill rotWithShape="1"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16" r="11588"/>
          <a:stretch>
            <a:fillRect/>
          </a:stretch>
        </p:blipFill>
        <p:spPr>
          <a:xfrm rot="10800000">
            <a:off x="0" y="-22731"/>
            <a:ext cx="12192000" cy="6858000"/>
          </a:xfrm>
          <a:prstGeom prst="rect">
            <a:avLst/>
          </a:prstGeom>
        </p:spPr>
      </p:pic>
      <p:sp>
        <p:nvSpPr>
          <p:cNvPr id="10" name="菱形 9"/>
          <p:cNvSpPr/>
          <p:nvPr/>
        </p:nvSpPr>
        <p:spPr>
          <a:xfrm>
            <a:off x="1375687" y="2338397"/>
            <a:ext cx="1597445" cy="1597445"/>
          </a:xfrm>
          <a:prstGeom prst="diamond">
            <a:avLst/>
          </a:prstGeom>
          <a:gradFill>
            <a:gsLst>
              <a:gs pos="0">
                <a:srgbClr val="0870D3"/>
              </a:gs>
              <a:gs pos="100000">
                <a:srgbClr val="4EBCF7"/>
              </a:gs>
            </a:gsLst>
            <a:lin ang="9000000" scaled="0"/>
          </a:gradFill>
          <a:ln>
            <a:noFill/>
          </a:ln>
          <a:effectLst>
            <a:outerShdw blurRad="177800" dist="762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3200" dirty="0">
                <a:effectLst/>
                <a:latin typeface="思源黑体 CN Bold" panose="020B0800000000000000" pitchFamily="34" charset="-122"/>
                <a:ea typeface="思源黑体 CN Bold" panose="020B0800000000000000" pitchFamily="34" charset="-122"/>
              </a:rPr>
              <a:t>03</a:t>
            </a:r>
          </a:p>
        </p:txBody>
      </p:sp>
      <p:grpSp>
        <p:nvGrpSpPr>
          <p:cNvPr id="4" name="组合 3"/>
          <p:cNvGrpSpPr/>
          <p:nvPr/>
        </p:nvGrpSpPr>
        <p:grpSpPr>
          <a:xfrm>
            <a:off x="3184451" y="2463918"/>
            <a:ext cx="5707554" cy="1992006"/>
            <a:chOff x="2723242" y="3147470"/>
            <a:chExt cx="5707554" cy="1992006"/>
          </a:xfrm>
        </p:grpSpPr>
        <p:sp>
          <p:nvSpPr>
            <p:cNvPr id="6" name="文本框 5"/>
            <p:cNvSpPr txBox="1"/>
            <p:nvPr/>
          </p:nvSpPr>
          <p:spPr>
            <a:xfrm>
              <a:off x="2723242" y="3147470"/>
              <a:ext cx="2441694" cy="100110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kumimoji="1" lang="zh-CN" altLang="en-US" sz="4400" b="1" dirty="0">
                  <a:solidFill>
                    <a:srgbClr val="0870D3"/>
                  </a:solidFill>
                  <a:effectLst/>
                  <a:latin typeface="思源黑体 CN Bold" panose="020B0800000000000000" pitchFamily="34" charset="-122"/>
                  <a:ea typeface="思源黑体 CN Bold" panose="020B0800000000000000" pitchFamily="34" charset="-122"/>
                  <a:cs typeface="+mn-ea"/>
                  <a:sym typeface="+mn-lt"/>
                </a:rPr>
                <a:t>不足之处</a:t>
              </a:r>
            </a:p>
          </p:txBody>
        </p:sp>
        <p:sp>
          <p:nvSpPr>
            <p:cNvPr id="7" name="Content Placeholder 2"/>
            <p:cNvSpPr txBox="1"/>
            <p:nvPr/>
          </p:nvSpPr>
          <p:spPr>
            <a:xfrm>
              <a:off x="2838785" y="4089821"/>
              <a:ext cx="5592011" cy="1049655"/>
            </a:xfrm>
            <a:prstGeom prst="rect">
              <a:avLst/>
            </a:prstGeom>
          </p:spPr>
          <p:txBody>
            <a:bodyPr vert="horz" lIns="121920" tIns="60960" rIns="121920" bIns="60960" rtlCol="0">
              <a:noAutofit/>
            </a:bodyPr>
            <a:lstStyle>
              <a:lvl1pPr marL="342900" indent="-3429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20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05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»"/>
                <a:defRPr sz="105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50000"/>
                </a:lnSpc>
                <a:buNone/>
              </a:pPr>
              <a:r>
                <a:rPr lang="en-US" altLang="zh-CN" sz="1800" b="1" dirty="0">
                  <a:solidFill>
                    <a:srgbClr val="0870D3"/>
                  </a:solidFill>
                  <a:effectLst/>
                  <a:latin typeface="思源黑体 CN Bold" panose="020B0800000000000000" pitchFamily="34" charset="-122"/>
                  <a:ea typeface="思源黑体 CN Bold" panose="020B0800000000000000" pitchFamily="34" charset="-122"/>
                  <a:cs typeface="+mn-ea"/>
                  <a:sym typeface="+mn-lt"/>
                </a:rPr>
                <a:t>Efficiently pontificate B2B imperatives for principle-centered schemas. </a:t>
              </a:r>
            </a:p>
          </p:txBody>
        </p: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3000">
        <p:fade/>
      </p:transition>
    </mc:Choice>
    <mc:Fallback xmlns="">
      <p:transition spd="med" advClick="0" advTm="3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îślîďè"/>
          <p:cNvSpPr/>
          <p:nvPr/>
        </p:nvSpPr>
        <p:spPr>
          <a:xfrm>
            <a:off x="0" y="2006600"/>
            <a:ext cx="12192000" cy="1854200"/>
          </a:xfrm>
          <a:prstGeom prst="rect">
            <a:avLst/>
          </a:prstGeom>
          <a:gradFill>
            <a:gsLst>
              <a:gs pos="38000">
                <a:srgbClr val="0870D3"/>
              </a:gs>
              <a:gs pos="100000">
                <a:srgbClr val="4EBCF7"/>
              </a:gs>
            </a:gsLst>
            <a:lin ang="10800000" scaled="0"/>
          </a:gradFill>
          <a:ln>
            <a:noFill/>
          </a:ln>
          <a:effectLst>
            <a:outerShdw blurRad="762000" dist="2540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360000" bIns="45720" numCol="1" spcCol="0" rtlCol="0" fromWordArt="0" anchor="ctr" anchorCtr="0" forceAA="0" compatLnSpc="1">
            <a:noAutofit/>
          </a:bodyPr>
          <a:lstStyle/>
          <a:p>
            <a:pPr algn="r" defTabSz="914400"/>
            <a:endParaRPr lang="zh-CN" altLang="en-US" sz="1400" b="1">
              <a:latin typeface="思源黑体 CN Normal" panose="020B0400000000000000" pitchFamily="34" charset="-122"/>
              <a:ea typeface="思源黑体 CN Normal" panose="020B0400000000000000" pitchFamily="34" charset="-122"/>
              <a:cs typeface="Open Sans" panose="020B0606030504020204" charset="0"/>
            </a:endParaRPr>
          </a:p>
        </p:txBody>
      </p:sp>
      <p:sp>
        <p:nvSpPr>
          <p:cNvPr id="6" name="iSḷíḑé"/>
          <p:cNvSpPr/>
          <p:nvPr/>
        </p:nvSpPr>
        <p:spPr bwMode="auto">
          <a:xfrm>
            <a:off x="674440" y="2287178"/>
            <a:ext cx="4797445" cy="1405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50000"/>
              </a:lnSpc>
            </a:pPr>
            <a:r>
              <a:rPr lang="en-US" altLang="zh-CN" sz="1400" dirty="0">
                <a:solidFill>
                  <a:schemeClr val="bg1"/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Theme color makes PPT more convenient to </a:t>
            </a:r>
            <a:r>
              <a:rPr lang="en-US" altLang="zh-CN" sz="1400" dirty="0" err="1">
                <a:solidFill>
                  <a:schemeClr val="bg1"/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change.Adjust</a:t>
            </a:r>
            <a:r>
              <a:rPr lang="en-US" altLang="zh-CN" sz="1400" dirty="0">
                <a:solidFill>
                  <a:schemeClr val="bg1"/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 the spacing to adapt to Chinese typesetting, use the reference line in PPT.</a:t>
            </a:r>
          </a:p>
          <a:p>
            <a:pPr>
              <a:lnSpc>
                <a:spcPct val="150000"/>
              </a:lnSpc>
            </a:pPr>
            <a:r>
              <a:rPr lang="en-US" altLang="zh-CN" sz="1400" dirty="0">
                <a:solidFill>
                  <a:schemeClr val="bg1"/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……</a:t>
            </a:r>
          </a:p>
        </p:txBody>
      </p:sp>
      <p:sp>
        <p:nvSpPr>
          <p:cNvPr id="8" name="íšḻiḋe"/>
          <p:cNvSpPr/>
          <p:nvPr/>
        </p:nvSpPr>
        <p:spPr bwMode="auto">
          <a:xfrm>
            <a:off x="673100" y="5281259"/>
            <a:ext cx="2209800" cy="8320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en-US" altLang="zh-CN" sz="1200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Supporting text here. </a:t>
            </a:r>
          </a:p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en-US" altLang="zh-CN" sz="1200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… …</a:t>
            </a:r>
          </a:p>
        </p:txBody>
      </p:sp>
      <p:sp>
        <p:nvSpPr>
          <p:cNvPr id="9" name="ïṩļïḋè"/>
          <p:cNvSpPr txBox="1"/>
          <p:nvPr/>
        </p:nvSpPr>
        <p:spPr bwMode="auto">
          <a:xfrm>
            <a:off x="673100" y="4779845"/>
            <a:ext cx="2209800" cy="5014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zh-CN" altLang="en-US" sz="2400" b="1" dirty="0">
                <a:solidFill>
                  <a:srgbClr val="0870D3"/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添加标题</a:t>
            </a:r>
          </a:p>
        </p:txBody>
      </p:sp>
      <p:sp>
        <p:nvSpPr>
          <p:cNvPr id="10" name="iS1îdê"/>
          <p:cNvSpPr/>
          <p:nvPr/>
        </p:nvSpPr>
        <p:spPr bwMode="auto">
          <a:xfrm>
            <a:off x="3416302" y="5281259"/>
            <a:ext cx="2209800" cy="8320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en-US" altLang="zh-CN" sz="1200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Supporting text here. </a:t>
            </a:r>
          </a:p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en-US" altLang="zh-CN" sz="1200" dirty="0"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… …</a:t>
            </a:r>
          </a:p>
        </p:txBody>
      </p:sp>
      <p:sp>
        <p:nvSpPr>
          <p:cNvPr id="11" name="ïş1íḑè"/>
          <p:cNvSpPr txBox="1"/>
          <p:nvPr/>
        </p:nvSpPr>
        <p:spPr bwMode="auto">
          <a:xfrm>
            <a:off x="3416302" y="4779845"/>
            <a:ext cx="2209800" cy="5014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zh-CN" altLang="en-US" sz="2400" b="1" dirty="0">
                <a:solidFill>
                  <a:srgbClr val="0870D3"/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</a:rPr>
              <a:t>添加标题</a:t>
            </a:r>
          </a:p>
        </p:txBody>
      </p:sp>
      <p:sp>
        <p:nvSpPr>
          <p:cNvPr id="12" name="i$ḷïďe"/>
          <p:cNvSpPr/>
          <p:nvPr/>
        </p:nvSpPr>
        <p:spPr bwMode="auto">
          <a:xfrm>
            <a:off x="1524000" y="4205734"/>
            <a:ext cx="508000" cy="460480"/>
          </a:xfrm>
          <a:custGeom>
            <a:avLst/>
            <a:gdLst>
              <a:gd name="connsiteX0" fmla="*/ 381535 w 609619"/>
              <a:gd name="connsiteY0" fmla="*/ 212929 h 552596"/>
              <a:gd name="connsiteX1" fmla="*/ 352835 w 609619"/>
              <a:gd name="connsiteY1" fmla="*/ 263726 h 552596"/>
              <a:gd name="connsiteX2" fmla="*/ 381535 w 609619"/>
              <a:gd name="connsiteY2" fmla="*/ 263726 h 552596"/>
              <a:gd name="connsiteX3" fmla="*/ 378170 w 609619"/>
              <a:gd name="connsiteY3" fmla="*/ 162879 h 552596"/>
              <a:gd name="connsiteX4" fmla="*/ 416031 w 609619"/>
              <a:gd name="connsiteY4" fmla="*/ 162879 h 552596"/>
              <a:gd name="connsiteX5" fmla="*/ 427063 w 609619"/>
              <a:gd name="connsiteY5" fmla="*/ 173897 h 552596"/>
              <a:gd name="connsiteX6" fmla="*/ 427063 w 609619"/>
              <a:gd name="connsiteY6" fmla="*/ 263726 h 552596"/>
              <a:gd name="connsiteX7" fmla="*/ 436692 w 609619"/>
              <a:gd name="connsiteY7" fmla="*/ 263726 h 552596"/>
              <a:gd name="connsiteX8" fmla="*/ 447723 w 609619"/>
              <a:gd name="connsiteY8" fmla="*/ 274745 h 552596"/>
              <a:gd name="connsiteX9" fmla="*/ 447723 w 609619"/>
              <a:gd name="connsiteY9" fmla="*/ 290245 h 552596"/>
              <a:gd name="connsiteX10" fmla="*/ 436692 w 609619"/>
              <a:gd name="connsiteY10" fmla="*/ 301264 h 552596"/>
              <a:gd name="connsiteX11" fmla="*/ 427063 w 609619"/>
              <a:gd name="connsiteY11" fmla="*/ 301264 h 552596"/>
              <a:gd name="connsiteX12" fmla="*/ 427063 w 609619"/>
              <a:gd name="connsiteY12" fmla="*/ 331238 h 552596"/>
              <a:gd name="connsiteX13" fmla="*/ 416031 w 609619"/>
              <a:gd name="connsiteY13" fmla="*/ 342256 h 552596"/>
              <a:gd name="connsiteX14" fmla="*/ 392567 w 609619"/>
              <a:gd name="connsiteY14" fmla="*/ 342256 h 552596"/>
              <a:gd name="connsiteX15" fmla="*/ 381535 w 609619"/>
              <a:gd name="connsiteY15" fmla="*/ 331238 h 552596"/>
              <a:gd name="connsiteX16" fmla="*/ 381535 w 609619"/>
              <a:gd name="connsiteY16" fmla="*/ 301264 h 552596"/>
              <a:gd name="connsiteX17" fmla="*/ 316282 w 609619"/>
              <a:gd name="connsiteY17" fmla="*/ 301264 h 552596"/>
              <a:gd name="connsiteX18" fmla="*/ 305251 w 609619"/>
              <a:gd name="connsiteY18" fmla="*/ 290245 h 552596"/>
              <a:gd name="connsiteX19" fmla="*/ 305251 w 609619"/>
              <a:gd name="connsiteY19" fmla="*/ 273437 h 552596"/>
              <a:gd name="connsiteX20" fmla="*/ 306934 w 609619"/>
              <a:gd name="connsiteY20" fmla="*/ 267648 h 552596"/>
              <a:gd name="connsiteX21" fmla="*/ 368821 w 609619"/>
              <a:gd name="connsiteY21" fmla="*/ 168015 h 552596"/>
              <a:gd name="connsiteX22" fmla="*/ 378170 w 609619"/>
              <a:gd name="connsiteY22" fmla="*/ 162879 h 552596"/>
              <a:gd name="connsiteX23" fmla="*/ 234995 w 609619"/>
              <a:gd name="connsiteY23" fmla="*/ 159916 h 552596"/>
              <a:gd name="connsiteX24" fmla="*/ 299038 w 609619"/>
              <a:gd name="connsiteY24" fmla="*/ 217615 h 552596"/>
              <a:gd name="connsiteX25" fmla="*/ 252105 w 609619"/>
              <a:gd name="connsiteY25" fmla="*/ 294361 h 552596"/>
              <a:gd name="connsiteX26" fmla="*/ 251824 w 609619"/>
              <a:gd name="connsiteY26" fmla="*/ 294641 h 552596"/>
              <a:gd name="connsiteX27" fmla="*/ 243129 w 609619"/>
              <a:gd name="connsiteY27" fmla="*/ 301830 h 552596"/>
              <a:gd name="connsiteX28" fmla="*/ 291185 w 609619"/>
              <a:gd name="connsiteY28" fmla="*/ 301830 h 552596"/>
              <a:gd name="connsiteX29" fmla="*/ 302217 w 609619"/>
              <a:gd name="connsiteY29" fmla="*/ 312847 h 552596"/>
              <a:gd name="connsiteX30" fmla="*/ 302217 w 609619"/>
              <a:gd name="connsiteY30" fmla="*/ 331240 h 552596"/>
              <a:gd name="connsiteX31" fmla="*/ 291185 w 609619"/>
              <a:gd name="connsiteY31" fmla="*/ 342257 h 552596"/>
              <a:gd name="connsiteX32" fmla="*/ 183761 w 609619"/>
              <a:gd name="connsiteY32" fmla="*/ 342257 h 552596"/>
              <a:gd name="connsiteX33" fmla="*/ 172729 w 609619"/>
              <a:gd name="connsiteY33" fmla="*/ 331240 h 552596"/>
              <a:gd name="connsiteX34" fmla="*/ 172729 w 609619"/>
              <a:gd name="connsiteY34" fmla="*/ 317515 h 552596"/>
              <a:gd name="connsiteX35" fmla="*/ 176375 w 609619"/>
              <a:gd name="connsiteY35" fmla="*/ 309299 h 552596"/>
              <a:gd name="connsiteX36" fmla="*/ 196102 w 609619"/>
              <a:gd name="connsiteY36" fmla="*/ 291467 h 552596"/>
              <a:gd name="connsiteX37" fmla="*/ 251450 w 609619"/>
              <a:gd name="connsiteY37" fmla="*/ 220976 h 552596"/>
              <a:gd name="connsiteX38" fmla="*/ 226768 w 609619"/>
              <a:gd name="connsiteY38" fmla="*/ 199596 h 552596"/>
              <a:gd name="connsiteX39" fmla="*/ 199188 w 609619"/>
              <a:gd name="connsiteY39" fmla="*/ 208279 h 552596"/>
              <a:gd name="connsiteX40" fmla="*/ 189838 w 609619"/>
              <a:gd name="connsiteY40" fmla="*/ 209399 h 552596"/>
              <a:gd name="connsiteX41" fmla="*/ 183107 w 609619"/>
              <a:gd name="connsiteY41" fmla="*/ 202957 h 552596"/>
              <a:gd name="connsiteX42" fmla="*/ 177217 w 609619"/>
              <a:gd name="connsiteY42" fmla="*/ 188112 h 552596"/>
              <a:gd name="connsiteX43" fmla="*/ 181611 w 609619"/>
              <a:gd name="connsiteY43" fmla="*/ 174761 h 552596"/>
              <a:gd name="connsiteX44" fmla="*/ 234995 w 609619"/>
              <a:gd name="connsiteY44" fmla="*/ 159916 h 552596"/>
              <a:gd name="connsiteX45" fmla="*/ 72010 w 609619"/>
              <a:gd name="connsiteY45" fmla="*/ 115246 h 552596"/>
              <a:gd name="connsiteX46" fmla="*/ 113065 w 609619"/>
              <a:gd name="connsiteY46" fmla="*/ 229459 h 552596"/>
              <a:gd name="connsiteX47" fmla="*/ 77528 w 609619"/>
              <a:gd name="connsiteY47" fmla="*/ 248416 h 552596"/>
              <a:gd name="connsiteX48" fmla="*/ 94736 w 609619"/>
              <a:gd name="connsiteY48" fmla="*/ 313040 h 552596"/>
              <a:gd name="connsiteX49" fmla="*/ 115684 w 609619"/>
              <a:gd name="connsiteY49" fmla="*/ 359640 h 552596"/>
              <a:gd name="connsiteX50" fmla="*/ 137194 w 609619"/>
              <a:gd name="connsiteY50" fmla="*/ 394474 h 552596"/>
              <a:gd name="connsiteX51" fmla="*/ 180400 w 609619"/>
              <a:gd name="connsiteY51" fmla="*/ 445556 h 552596"/>
              <a:gd name="connsiteX52" fmla="*/ 216311 w 609619"/>
              <a:gd name="connsiteY52" fmla="*/ 427346 h 552596"/>
              <a:gd name="connsiteX53" fmla="*/ 286544 w 609619"/>
              <a:gd name="connsiteY53" fmla="*/ 526336 h 552596"/>
              <a:gd name="connsiteX54" fmla="*/ 108764 w 609619"/>
              <a:gd name="connsiteY54" fmla="*/ 475253 h 552596"/>
              <a:gd name="connsiteX55" fmla="*/ 53868 w 609619"/>
              <a:gd name="connsiteY55" fmla="*/ 391859 h 552596"/>
              <a:gd name="connsiteX56" fmla="*/ 49285 w 609619"/>
              <a:gd name="connsiteY56" fmla="*/ 382800 h 552596"/>
              <a:gd name="connsiteX57" fmla="*/ 12158 w 609619"/>
              <a:gd name="connsiteY57" fmla="*/ 290160 h 552596"/>
              <a:gd name="connsiteX58" fmla="*/ 72010 w 609619"/>
              <a:gd name="connsiteY58" fmla="*/ 115246 h 552596"/>
              <a:gd name="connsiteX59" fmla="*/ 334262 w 609619"/>
              <a:gd name="connsiteY59" fmla="*/ 651 h 552596"/>
              <a:gd name="connsiteX60" fmla="*/ 471849 w 609619"/>
              <a:gd name="connsiteY60" fmla="*/ 53637 h 552596"/>
              <a:gd name="connsiteX61" fmla="*/ 535254 w 609619"/>
              <a:gd name="connsiteY61" fmla="*/ 125634 h 552596"/>
              <a:gd name="connsiteX62" fmla="*/ 601933 w 609619"/>
              <a:gd name="connsiteY62" fmla="*/ 161959 h 552596"/>
              <a:gd name="connsiteX63" fmla="*/ 609601 w 609619"/>
              <a:gd name="connsiteY63" fmla="*/ 175779 h 552596"/>
              <a:gd name="connsiteX64" fmla="*/ 600343 w 609619"/>
              <a:gd name="connsiteY64" fmla="*/ 188479 h 552596"/>
              <a:gd name="connsiteX65" fmla="*/ 564806 w 609619"/>
              <a:gd name="connsiteY65" fmla="*/ 202486 h 552596"/>
              <a:gd name="connsiteX66" fmla="*/ 568173 w 609619"/>
              <a:gd name="connsiteY66" fmla="*/ 222843 h 552596"/>
              <a:gd name="connsiteX67" fmla="*/ 516457 w 609619"/>
              <a:gd name="connsiteY67" fmla="*/ 410446 h 552596"/>
              <a:gd name="connsiteX68" fmla="*/ 347001 w 609619"/>
              <a:gd name="connsiteY68" fmla="*/ 506628 h 552596"/>
              <a:gd name="connsiteX69" fmla="*/ 343728 w 609619"/>
              <a:gd name="connsiteY69" fmla="*/ 506815 h 552596"/>
              <a:gd name="connsiteX70" fmla="*/ 317543 w 609619"/>
              <a:gd name="connsiteY70" fmla="*/ 483750 h 552596"/>
              <a:gd name="connsiteX71" fmla="*/ 340455 w 609619"/>
              <a:gd name="connsiteY71" fmla="*/ 454242 h 552596"/>
              <a:gd name="connsiteX72" fmla="*/ 474748 w 609619"/>
              <a:gd name="connsiteY72" fmla="*/ 378043 h 552596"/>
              <a:gd name="connsiteX73" fmla="*/ 515802 w 609619"/>
              <a:gd name="connsiteY73" fmla="*/ 229380 h 552596"/>
              <a:gd name="connsiteX74" fmla="*/ 514774 w 609619"/>
              <a:gd name="connsiteY74" fmla="*/ 222283 h 552596"/>
              <a:gd name="connsiteX75" fmla="*/ 478488 w 609619"/>
              <a:gd name="connsiteY75" fmla="*/ 236570 h 552596"/>
              <a:gd name="connsiteX76" fmla="*/ 462964 w 609619"/>
              <a:gd name="connsiteY76" fmla="*/ 233582 h 552596"/>
              <a:gd name="connsiteX77" fmla="*/ 459130 w 609619"/>
              <a:gd name="connsiteY77" fmla="*/ 218268 h 552596"/>
              <a:gd name="connsiteX78" fmla="*/ 483913 w 609619"/>
              <a:gd name="connsiteY78" fmla="*/ 143283 h 552596"/>
              <a:gd name="connsiteX79" fmla="*/ 290516 w 609619"/>
              <a:gd name="connsiteY79" fmla="*/ 54291 h 552596"/>
              <a:gd name="connsiteX80" fmla="*/ 170719 w 609619"/>
              <a:gd name="connsiteY80" fmla="*/ 113961 h 552596"/>
              <a:gd name="connsiteX81" fmla="*/ 133312 w 609619"/>
              <a:gd name="connsiteY81" fmla="*/ 114521 h 552596"/>
              <a:gd name="connsiteX82" fmla="*/ 132751 w 609619"/>
              <a:gd name="connsiteY82" fmla="*/ 77262 h 552596"/>
              <a:gd name="connsiteX83" fmla="*/ 283970 w 609619"/>
              <a:gd name="connsiteY83" fmla="*/ 1997 h 552596"/>
              <a:gd name="connsiteX84" fmla="*/ 334262 w 609619"/>
              <a:gd name="connsiteY84" fmla="*/ 651 h 5525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</a:cxnLst>
            <a:rect l="l" t="t" r="r" b="b"/>
            <a:pathLst>
              <a:path w="609619" h="552596">
                <a:moveTo>
                  <a:pt x="381535" y="212929"/>
                </a:moveTo>
                <a:lnTo>
                  <a:pt x="352835" y="263726"/>
                </a:lnTo>
                <a:lnTo>
                  <a:pt x="381535" y="263726"/>
                </a:lnTo>
                <a:close/>
                <a:moveTo>
                  <a:pt x="378170" y="162879"/>
                </a:moveTo>
                <a:lnTo>
                  <a:pt x="416031" y="162879"/>
                </a:lnTo>
                <a:cubicBezTo>
                  <a:pt x="422108" y="162879"/>
                  <a:pt x="427063" y="167828"/>
                  <a:pt x="427063" y="173897"/>
                </a:cubicBezTo>
                <a:lnTo>
                  <a:pt x="427063" y="263726"/>
                </a:lnTo>
                <a:lnTo>
                  <a:pt x="436692" y="263726"/>
                </a:lnTo>
                <a:cubicBezTo>
                  <a:pt x="442768" y="263726"/>
                  <a:pt x="447723" y="268675"/>
                  <a:pt x="447723" y="274745"/>
                </a:cubicBezTo>
                <a:lnTo>
                  <a:pt x="447723" y="290245"/>
                </a:lnTo>
                <a:cubicBezTo>
                  <a:pt x="447723" y="296315"/>
                  <a:pt x="442768" y="301264"/>
                  <a:pt x="436692" y="301264"/>
                </a:cubicBezTo>
                <a:lnTo>
                  <a:pt x="427063" y="301264"/>
                </a:lnTo>
                <a:lnTo>
                  <a:pt x="427063" y="331238"/>
                </a:lnTo>
                <a:cubicBezTo>
                  <a:pt x="427063" y="337307"/>
                  <a:pt x="422108" y="342256"/>
                  <a:pt x="416031" y="342256"/>
                </a:cubicBezTo>
                <a:lnTo>
                  <a:pt x="392567" y="342256"/>
                </a:lnTo>
                <a:cubicBezTo>
                  <a:pt x="386490" y="342256"/>
                  <a:pt x="381535" y="337307"/>
                  <a:pt x="381535" y="331238"/>
                </a:cubicBezTo>
                <a:lnTo>
                  <a:pt x="381535" y="301264"/>
                </a:lnTo>
                <a:lnTo>
                  <a:pt x="316282" y="301264"/>
                </a:lnTo>
                <a:cubicBezTo>
                  <a:pt x="310206" y="301264"/>
                  <a:pt x="305251" y="296315"/>
                  <a:pt x="305251" y="290245"/>
                </a:cubicBezTo>
                <a:lnTo>
                  <a:pt x="305251" y="273437"/>
                </a:lnTo>
                <a:cubicBezTo>
                  <a:pt x="305251" y="271383"/>
                  <a:pt x="305812" y="269329"/>
                  <a:pt x="306934" y="267648"/>
                </a:cubicBezTo>
                <a:lnTo>
                  <a:pt x="368821" y="168015"/>
                </a:lnTo>
                <a:cubicBezTo>
                  <a:pt x="370878" y="164840"/>
                  <a:pt x="374430" y="162879"/>
                  <a:pt x="378170" y="162879"/>
                </a:cubicBezTo>
                <a:close/>
                <a:moveTo>
                  <a:pt x="234995" y="159916"/>
                </a:moveTo>
                <a:cubicBezTo>
                  <a:pt x="273889" y="159916"/>
                  <a:pt x="299038" y="182604"/>
                  <a:pt x="299038" y="217615"/>
                </a:cubicBezTo>
                <a:cubicBezTo>
                  <a:pt x="299038" y="246558"/>
                  <a:pt x="280246" y="269246"/>
                  <a:pt x="252105" y="294361"/>
                </a:cubicBezTo>
                <a:cubicBezTo>
                  <a:pt x="252011" y="294454"/>
                  <a:pt x="251918" y="294548"/>
                  <a:pt x="251824" y="294641"/>
                </a:cubicBezTo>
                <a:lnTo>
                  <a:pt x="243129" y="301830"/>
                </a:lnTo>
                <a:lnTo>
                  <a:pt x="291185" y="301830"/>
                </a:lnTo>
                <a:cubicBezTo>
                  <a:pt x="297262" y="301830"/>
                  <a:pt x="302217" y="306778"/>
                  <a:pt x="302217" y="312847"/>
                </a:cubicBezTo>
                <a:lnTo>
                  <a:pt x="302217" y="331240"/>
                </a:lnTo>
                <a:cubicBezTo>
                  <a:pt x="302217" y="337309"/>
                  <a:pt x="297262" y="342257"/>
                  <a:pt x="291185" y="342257"/>
                </a:cubicBezTo>
                <a:lnTo>
                  <a:pt x="183761" y="342257"/>
                </a:lnTo>
                <a:cubicBezTo>
                  <a:pt x="177684" y="342257"/>
                  <a:pt x="172729" y="337309"/>
                  <a:pt x="172729" y="331240"/>
                </a:cubicBezTo>
                <a:lnTo>
                  <a:pt x="172729" y="317515"/>
                </a:lnTo>
                <a:cubicBezTo>
                  <a:pt x="172729" y="314341"/>
                  <a:pt x="174038" y="311447"/>
                  <a:pt x="176375" y="309299"/>
                </a:cubicBezTo>
                <a:lnTo>
                  <a:pt x="196102" y="291467"/>
                </a:lnTo>
                <a:cubicBezTo>
                  <a:pt x="233219" y="258322"/>
                  <a:pt x="250889" y="239369"/>
                  <a:pt x="251450" y="220976"/>
                </a:cubicBezTo>
                <a:cubicBezTo>
                  <a:pt x="251357" y="212947"/>
                  <a:pt x="248178" y="199596"/>
                  <a:pt x="226768" y="199596"/>
                </a:cubicBezTo>
                <a:cubicBezTo>
                  <a:pt x="217793" y="199596"/>
                  <a:pt x="208537" y="202490"/>
                  <a:pt x="199188" y="208279"/>
                </a:cubicBezTo>
                <a:cubicBezTo>
                  <a:pt x="196383" y="210053"/>
                  <a:pt x="192924" y="210426"/>
                  <a:pt x="189838" y="209399"/>
                </a:cubicBezTo>
                <a:cubicBezTo>
                  <a:pt x="186753" y="208372"/>
                  <a:pt x="184322" y="206038"/>
                  <a:pt x="183107" y="202957"/>
                </a:cubicBezTo>
                <a:lnTo>
                  <a:pt x="177217" y="188112"/>
                </a:lnTo>
                <a:cubicBezTo>
                  <a:pt x="175253" y="183257"/>
                  <a:pt x="177123" y="177655"/>
                  <a:pt x="181611" y="174761"/>
                </a:cubicBezTo>
                <a:cubicBezTo>
                  <a:pt x="196663" y="165238"/>
                  <a:pt x="215549" y="159916"/>
                  <a:pt x="234995" y="159916"/>
                </a:cubicBezTo>
                <a:close/>
                <a:moveTo>
                  <a:pt x="72010" y="115246"/>
                </a:moveTo>
                <a:cubicBezTo>
                  <a:pt x="138035" y="105721"/>
                  <a:pt x="146826" y="197054"/>
                  <a:pt x="113065" y="229459"/>
                </a:cubicBezTo>
                <a:cubicBezTo>
                  <a:pt x="107267" y="234969"/>
                  <a:pt x="79772" y="243747"/>
                  <a:pt x="77528" y="248416"/>
                </a:cubicBezTo>
                <a:cubicBezTo>
                  <a:pt x="81362" y="270456"/>
                  <a:pt x="87067" y="292121"/>
                  <a:pt x="94736" y="313040"/>
                </a:cubicBezTo>
                <a:cubicBezTo>
                  <a:pt x="100627" y="329103"/>
                  <a:pt x="107641" y="344605"/>
                  <a:pt x="115684" y="359640"/>
                </a:cubicBezTo>
                <a:cubicBezTo>
                  <a:pt x="122137" y="371687"/>
                  <a:pt x="129338" y="383361"/>
                  <a:pt x="137194" y="394474"/>
                </a:cubicBezTo>
                <a:cubicBezTo>
                  <a:pt x="150006" y="412778"/>
                  <a:pt x="164501" y="429867"/>
                  <a:pt x="180400" y="445556"/>
                </a:cubicBezTo>
                <a:cubicBezTo>
                  <a:pt x="185543" y="446397"/>
                  <a:pt x="208456" y="428933"/>
                  <a:pt x="216311" y="427346"/>
                </a:cubicBezTo>
                <a:cubicBezTo>
                  <a:pt x="262229" y="418194"/>
                  <a:pt x="331995" y="476561"/>
                  <a:pt x="286544" y="526336"/>
                </a:cubicBezTo>
                <a:cubicBezTo>
                  <a:pt x="227814" y="588812"/>
                  <a:pt x="148416" y="526803"/>
                  <a:pt x="108764" y="475253"/>
                </a:cubicBezTo>
                <a:cubicBezTo>
                  <a:pt x="93894" y="455922"/>
                  <a:pt x="73039" y="426038"/>
                  <a:pt x="53868" y="391859"/>
                </a:cubicBezTo>
                <a:lnTo>
                  <a:pt x="49285" y="382800"/>
                </a:lnTo>
                <a:cubicBezTo>
                  <a:pt x="32171" y="347500"/>
                  <a:pt x="19546" y="313320"/>
                  <a:pt x="12158" y="290160"/>
                </a:cubicBezTo>
                <a:cubicBezTo>
                  <a:pt x="-7481" y="228151"/>
                  <a:pt x="-12999" y="127574"/>
                  <a:pt x="72010" y="115246"/>
                </a:cubicBezTo>
                <a:close/>
                <a:moveTo>
                  <a:pt x="334262" y="651"/>
                </a:moveTo>
                <a:cubicBezTo>
                  <a:pt x="384017" y="4209"/>
                  <a:pt x="431589" y="22331"/>
                  <a:pt x="471849" y="53637"/>
                </a:cubicBezTo>
                <a:cubicBezTo>
                  <a:pt x="497753" y="73714"/>
                  <a:pt x="519169" y="98180"/>
                  <a:pt x="535254" y="125634"/>
                </a:cubicBezTo>
                <a:lnTo>
                  <a:pt x="601933" y="161959"/>
                </a:lnTo>
                <a:cubicBezTo>
                  <a:pt x="606983" y="164667"/>
                  <a:pt x="609882" y="170083"/>
                  <a:pt x="609601" y="175779"/>
                </a:cubicBezTo>
                <a:cubicBezTo>
                  <a:pt x="609227" y="181382"/>
                  <a:pt x="605580" y="186425"/>
                  <a:pt x="600343" y="188479"/>
                </a:cubicBezTo>
                <a:lnTo>
                  <a:pt x="564806" y="202486"/>
                </a:lnTo>
                <a:cubicBezTo>
                  <a:pt x="566209" y="209210"/>
                  <a:pt x="567331" y="215933"/>
                  <a:pt x="568173" y="222843"/>
                </a:cubicBezTo>
                <a:cubicBezTo>
                  <a:pt x="576589" y="290171"/>
                  <a:pt x="558260" y="356845"/>
                  <a:pt x="516457" y="410446"/>
                </a:cubicBezTo>
                <a:cubicBezTo>
                  <a:pt x="474748" y="464047"/>
                  <a:pt x="414522" y="498224"/>
                  <a:pt x="347001" y="506628"/>
                </a:cubicBezTo>
                <a:cubicBezTo>
                  <a:pt x="345879" y="506722"/>
                  <a:pt x="344851" y="506815"/>
                  <a:pt x="343728" y="506815"/>
                </a:cubicBezTo>
                <a:cubicBezTo>
                  <a:pt x="330636" y="506815"/>
                  <a:pt x="319226" y="497010"/>
                  <a:pt x="317543" y="483750"/>
                </a:cubicBezTo>
                <a:cubicBezTo>
                  <a:pt x="315766" y="469276"/>
                  <a:pt x="326053" y="456109"/>
                  <a:pt x="340455" y="454242"/>
                </a:cubicBezTo>
                <a:cubicBezTo>
                  <a:pt x="393948" y="447611"/>
                  <a:pt x="441642" y="420531"/>
                  <a:pt x="474748" y="378043"/>
                </a:cubicBezTo>
                <a:cubicBezTo>
                  <a:pt x="507853" y="335554"/>
                  <a:pt x="522442" y="282794"/>
                  <a:pt x="515802" y="229380"/>
                </a:cubicBezTo>
                <a:cubicBezTo>
                  <a:pt x="515428" y="226952"/>
                  <a:pt x="515148" y="224618"/>
                  <a:pt x="514774" y="222283"/>
                </a:cubicBezTo>
                <a:lnTo>
                  <a:pt x="478488" y="236570"/>
                </a:lnTo>
                <a:cubicBezTo>
                  <a:pt x="473158" y="238625"/>
                  <a:pt x="467173" y="237504"/>
                  <a:pt x="462964" y="233582"/>
                </a:cubicBezTo>
                <a:cubicBezTo>
                  <a:pt x="458850" y="229660"/>
                  <a:pt x="457353" y="223684"/>
                  <a:pt x="459130" y="218268"/>
                </a:cubicBezTo>
                <a:lnTo>
                  <a:pt x="483913" y="143283"/>
                </a:lnTo>
                <a:cubicBezTo>
                  <a:pt x="442858" y="81465"/>
                  <a:pt x="369072" y="44579"/>
                  <a:pt x="290516" y="54291"/>
                </a:cubicBezTo>
                <a:cubicBezTo>
                  <a:pt x="244412" y="60080"/>
                  <a:pt x="202983" y="80718"/>
                  <a:pt x="170719" y="113961"/>
                </a:cubicBezTo>
                <a:cubicBezTo>
                  <a:pt x="160526" y="124420"/>
                  <a:pt x="143786" y="124700"/>
                  <a:pt x="133312" y="114521"/>
                </a:cubicBezTo>
                <a:cubicBezTo>
                  <a:pt x="122838" y="104343"/>
                  <a:pt x="122557" y="87721"/>
                  <a:pt x="132751" y="77262"/>
                </a:cubicBezTo>
                <a:cubicBezTo>
                  <a:pt x="172870" y="35895"/>
                  <a:pt x="226643" y="9094"/>
                  <a:pt x="283970" y="1997"/>
                </a:cubicBezTo>
                <a:cubicBezTo>
                  <a:pt x="300850" y="-104"/>
                  <a:pt x="317677" y="-536"/>
                  <a:pt x="334262" y="651"/>
                </a:cubicBezTo>
                <a:close/>
              </a:path>
            </a:pathLst>
          </a:custGeom>
          <a:solidFill>
            <a:srgbClr val="0870D3"/>
          </a:solidFill>
          <a:ln>
            <a:noFill/>
          </a:ln>
          <a:effectLst>
            <a:outerShdw blurRad="762000" dist="2540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360000" bIns="45720" numCol="1" spcCol="0" rtlCol="0" fromWordArt="0" anchor="ctr" anchorCtr="0" forceAA="0" compatLnSpc="1">
            <a:noAutofit/>
          </a:bodyPr>
          <a:lstStyle/>
          <a:p>
            <a:pPr algn="r" defTabSz="914400"/>
            <a:endParaRPr lang="zh-CN" altLang="en-US" sz="1400" b="1">
              <a:solidFill>
                <a:schemeClr val="lt1"/>
              </a:solidFill>
              <a:latin typeface="思源黑体 CN Normal" panose="020B0400000000000000" pitchFamily="34" charset="-122"/>
              <a:ea typeface="思源黑体 CN Normal" panose="020B0400000000000000" pitchFamily="34" charset="-122"/>
              <a:cs typeface="Open Sans" panose="020B0606030504020204" charset="0"/>
            </a:endParaRPr>
          </a:p>
        </p:txBody>
      </p:sp>
      <p:sp>
        <p:nvSpPr>
          <p:cNvPr id="13" name="îṧ1îḋe"/>
          <p:cNvSpPr/>
          <p:nvPr/>
        </p:nvSpPr>
        <p:spPr bwMode="auto">
          <a:xfrm>
            <a:off x="4267202" y="4205734"/>
            <a:ext cx="508000" cy="460480"/>
          </a:xfrm>
          <a:custGeom>
            <a:avLst/>
            <a:gdLst>
              <a:gd name="connsiteX0" fmla="*/ 381535 w 609619"/>
              <a:gd name="connsiteY0" fmla="*/ 212929 h 552596"/>
              <a:gd name="connsiteX1" fmla="*/ 352835 w 609619"/>
              <a:gd name="connsiteY1" fmla="*/ 263726 h 552596"/>
              <a:gd name="connsiteX2" fmla="*/ 381535 w 609619"/>
              <a:gd name="connsiteY2" fmla="*/ 263726 h 552596"/>
              <a:gd name="connsiteX3" fmla="*/ 378170 w 609619"/>
              <a:gd name="connsiteY3" fmla="*/ 162879 h 552596"/>
              <a:gd name="connsiteX4" fmla="*/ 416031 w 609619"/>
              <a:gd name="connsiteY4" fmla="*/ 162879 h 552596"/>
              <a:gd name="connsiteX5" fmla="*/ 427063 w 609619"/>
              <a:gd name="connsiteY5" fmla="*/ 173897 h 552596"/>
              <a:gd name="connsiteX6" fmla="*/ 427063 w 609619"/>
              <a:gd name="connsiteY6" fmla="*/ 263726 h 552596"/>
              <a:gd name="connsiteX7" fmla="*/ 436692 w 609619"/>
              <a:gd name="connsiteY7" fmla="*/ 263726 h 552596"/>
              <a:gd name="connsiteX8" fmla="*/ 447723 w 609619"/>
              <a:gd name="connsiteY8" fmla="*/ 274745 h 552596"/>
              <a:gd name="connsiteX9" fmla="*/ 447723 w 609619"/>
              <a:gd name="connsiteY9" fmla="*/ 290245 h 552596"/>
              <a:gd name="connsiteX10" fmla="*/ 436692 w 609619"/>
              <a:gd name="connsiteY10" fmla="*/ 301264 h 552596"/>
              <a:gd name="connsiteX11" fmla="*/ 427063 w 609619"/>
              <a:gd name="connsiteY11" fmla="*/ 301264 h 552596"/>
              <a:gd name="connsiteX12" fmla="*/ 427063 w 609619"/>
              <a:gd name="connsiteY12" fmla="*/ 331238 h 552596"/>
              <a:gd name="connsiteX13" fmla="*/ 416031 w 609619"/>
              <a:gd name="connsiteY13" fmla="*/ 342256 h 552596"/>
              <a:gd name="connsiteX14" fmla="*/ 392567 w 609619"/>
              <a:gd name="connsiteY14" fmla="*/ 342256 h 552596"/>
              <a:gd name="connsiteX15" fmla="*/ 381535 w 609619"/>
              <a:gd name="connsiteY15" fmla="*/ 331238 h 552596"/>
              <a:gd name="connsiteX16" fmla="*/ 381535 w 609619"/>
              <a:gd name="connsiteY16" fmla="*/ 301264 h 552596"/>
              <a:gd name="connsiteX17" fmla="*/ 316282 w 609619"/>
              <a:gd name="connsiteY17" fmla="*/ 301264 h 552596"/>
              <a:gd name="connsiteX18" fmla="*/ 305251 w 609619"/>
              <a:gd name="connsiteY18" fmla="*/ 290245 h 552596"/>
              <a:gd name="connsiteX19" fmla="*/ 305251 w 609619"/>
              <a:gd name="connsiteY19" fmla="*/ 273437 h 552596"/>
              <a:gd name="connsiteX20" fmla="*/ 306934 w 609619"/>
              <a:gd name="connsiteY20" fmla="*/ 267648 h 552596"/>
              <a:gd name="connsiteX21" fmla="*/ 368821 w 609619"/>
              <a:gd name="connsiteY21" fmla="*/ 168015 h 552596"/>
              <a:gd name="connsiteX22" fmla="*/ 378170 w 609619"/>
              <a:gd name="connsiteY22" fmla="*/ 162879 h 552596"/>
              <a:gd name="connsiteX23" fmla="*/ 234995 w 609619"/>
              <a:gd name="connsiteY23" fmla="*/ 159916 h 552596"/>
              <a:gd name="connsiteX24" fmla="*/ 299038 w 609619"/>
              <a:gd name="connsiteY24" fmla="*/ 217615 h 552596"/>
              <a:gd name="connsiteX25" fmla="*/ 252105 w 609619"/>
              <a:gd name="connsiteY25" fmla="*/ 294361 h 552596"/>
              <a:gd name="connsiteX26" fmla="*/ 251824 w 609619"/>
              <a:gd name="connsiteY26" fmla="*/ 294641 h 552596"/>
              <a:gd name="connsiteX27" fmla="*/ 243129 w 609619"/>
              <a:gd name="connsiteY27" fmla="*/ 301830 h 552596"/>
              <a:gd name="connsiteX28" fmla="*/ 291185 w 609619"/>
              <a:gd name="connsiteY28" fmla="*/ 301830 h 552596"/>
              <a:gd name="connsiteX29" fmla="*/ 302217 w 609619"/>
              <a:gd name="connsiteY29" fmla="*/ 312847 h 552596"/>
              <a:gd name="connsiteX30" fmla="*/ 302217 w 609619"/>
              <a:gd name="connsiteY30" fmla="*/ 331240 h 552596"/>
              <a:gd name="connsiteX31" fmla="*/ 291185 w 609619"/>
              <a:gd name="connsiteY31" fmla="*/ 342257 h 552596"/>
              <a:gd name="connsiteX32" fmla="*/ 183761 w 609619"/>
              <a:gd name="connsiteY32" fmla="*/ 342257 h 552596"/>
              <a:gd name="connsiteX33" fmla="*/ 172729 w 609619"/>
              <a:gd name="connsiteY33" fmla="*/ 331240 h 552596"/>
              <a:gd name="connsiteX34" fmla="*/ 172729 w 609619"/>
              <a:gd name="connsiteY34" fmla="*/ 317515 h 552596"/>
              <a:gd name="connsiteX35" fmla="*/ 176375 w 609619"/>
              <a:gd name="connsiteY35" fmla="*/ 309299 h 552596"/>
              <a:gd name="connsiteX36" fmla="*/ 196102 w 609619"/>
              <a:gd name="connsiteY36" fmla="*/ 291467 h 552596"/>
              <a:gd name="connsiteX37" fmla="*/ 251450 w 609619"/>
              <a:gd name="connsiteY37" fmla="*/ 220976 h 552596"/>
              <a:gd name="connsiteX38" fmla="*/ 226768 w 609619"/>
              <a:gd name="connsiteY38" fmla="*/ 199596 h 552596"/>
              <a:gd name="connsiteX39" fmla="*/ 199188 w 609619"/>
              <a:gd name="connsiteY39" fmla="*/ 208279 h 552596"/>
              <a:gd name="connsiteX40" fmla="*/ 189838 w 609619"/>
              <a:gd name="connsiteY40" fmla="*/ 209399 h 552596"/>
              <a:gd name="connsiteX41" fmla="*/ 183107 w 609619"/>
              <a:gd name="connsiteY41" fmla="*/ 202957 h 552596"/>
              <a:gd name="connsiteX42" fmla="*/ 177217 w 609619"/>
              <a:gd name="connsiteY42" fmla="*/ 188112 h 552596"/>
              <a:gd name="connsiteX43" fmla="*/ 181611 w 609619"/>
              <a:gd name="connsiteY43" fmla="*/ 174761 h 552596"/>
              <a:gd name="connsiteX44" fmla="*/ 234995 w 609619"/>
              <a:gd name="connsiteY44" fmla="*/ 159916 h 552596"/>
              <a:gd name="connsiteX45" fmla="*/ 72010 w 609619"/>
              <a:gd name="connsiteY45" fmla="*/ 115246 h 552596"/>
              <a:gd name="connsiteX46" fmla="*/ 113065 w 609619"/>
              <a:gd name="connsiteY46" fmla="*/ 229459 h 552596"/>
              <a:gd name="connsiteX47" fmla="*/ 77528 w 609619"/>
              <a:gd name="connsiteY47" fmla="*/ 248416 h 552596"/>
              <a:gd name="connsiteX48" fmla="*/ 94736 w 609619"/>
              <a:gd name="connsiteY48" fmla="*/ 313040 h 552596"/>
              <a:gd name="connsiteX49" fmla="*/ 115684 w 609619"/>
              <a:gd name="connsiteY49" fmla="*/ 359640 h 552596"/>
              <a:gd name="connsiteX50" fmla="*/ 137194 w 609619"/>
              <a:gd name="connsiteY50" fmla="*/ 394474 h 552596"/>
              <a:gd name="connsiteX51" fmla="*/ 180400 w 609619"/>
              <a:gd name="connsiteY51" fmla="*/ 445556 h 552596"/>
              <a:gd name="connsiteX52" fmla="*/ 216311 w 609619"/>
              <a:gd name="connsiteY52" fmla="*/ 427346 h 552596"/>
              <a:gd name="connsiteX53" fmla="*/ 286544 w 609619"/>
              <a:gd name="connsiteY53" fmla="*/ 526336 h 552596"/>
              <a:gd name="connsiteX54" fmla="*/ 108764 w 609619"/>
              <a:gd name="connsiteY54" fmla="*/ 475253 h 552596"/>
              <a:gd name="connsiteX55" fmla="*/ 53868 w 609619"/>
              <a:gd name="connsiteY55" fmla="*/ 391859 h 552596"/>
              <a:gd name="connsiteX56" fmla="*/ 49285 w 609619"/>
              <a:gd name="connsiteY56" fmla="*/ 382800 h 552596"/>
              <a:gd name="connsiteX57" fmla="*/ 12158 w 609619"/>
              <a:gd name="connsiteY57" fmla="*/ 290160 h 552596"/>
              <a:gd name="connsiteX58" fmla="*/ 72010 w 609619"/>
              <a:gd name="connsiteY58" fmla="*/ 115246 h 552596"/>
              <a:gd name="connsiteX59" fmla="*/ 334262 w 609619"/>
              <a:gd name="connsiteY59" fmla="*/ 651 h 552596"/>
              <a:gd name="connsiteX60" fmla="*/ 471849 w 609619"/>
              <a:gd name="connsiteY60" fmla="*/ 53637 h 552596"/>
              <a:gd name="connsiteX61" fmla="*/ 535254 w 609619"/>
              <a:gd name="connsiteY61" fmla="*/ 125634 h 552596"/>
              <a:gd name="connsiteX62" fmla="*/ 601933 w 609619"/>
              <a:gd name="connsiteY62" fmla="*/ 161959 h 552596"/>
              <a:gd name="connsiteX63" fmla="*/ 609601 w 609619"/>
              <a:gd name="connsiteY63" fmla="*/ 175779 h 552596"/>
              <a:gd name="connsiteX64" fmla="*/ 600343 w 609619"/>
              <a:gd name="connsiteY64" fmla="*/ 188479 h 552596"/>
              <a:gd name="connsiteX65" fmla="*/ 564806 w 609619"/>
              <a:gd name="connsiteY65" fmla="*/ 202486 h 552596"/>
              <a:gd name="connsiteX66" fmla="*/ 568173 w 609619"/>
              <a:gd name="connsiteY66" fmla="*/ 222843 h 552596"/>
              <a:gd name="connsiteX67" fmla="*/ 516457 w 609619"/>
              <a:gd name="connsiteY67" fmla="*/ 410446 h 552596"/>
              <a:gd name="connsiteX68" fmla="*/ 347001 w 609619"/>
              <a:gd name="connsiteY68" fmla="*/ 506628 h 552596"/>
              <a:gd name="connsiteX69" fmla="*/ 343728 w 609619"/>
              <a:gd name="connsiteY69" fmla="*/ 506815 h 552596"/>
              <a:gd name="connsiteX70" fmla="*/ 317543 w 609619"/>
              <a:gd name="connsiteY70" fmla="*/ 483750 h 552596"/>
              <a:gd name="connsiteX71" fmla="*/ 340455 w 609619"/>
              <a:gd name="connsiteY71" fmla="*/ 454242 h 552596"/>
              <a:gd name="connsiteX72" fmla="*/ 474748 w 609619"/>
              <a:gd name="connsiteY72" fmla="*/ 378043 h 552596"/>
              <a:gd name="connsiteX73" fmla="*/ 515802 w 609619"/>
              <a:gd name="connsiteY73" fmla="*/ 229380 h 552596"/>
              <a:gd name="connsiteX74" fmla="*/ 514774 w 609619"/>
              <a:gd name="connsiteY74" fmla="*/ 222283 h 552596"/>
              <a:gd name="connsiteX75" fmla="*/ 478488 w 609619"/>
              <a:gd name="connsiteY75" fmla="*/ 236570 h 552596"/>
              <a:gd name="connsiteX76" fmla="*/ 462964 w 609619"/>
              <a:gd name="connsiteY76" fmla="*/ 233582 h 552596"/>
              <a:gd name="connsiteX77" fmla="*/ 459130 w 609619"/>
              <a:gd name="connsiteY77" fmla="*/ 218268 h 552596"/>
              <a:gd name="connsiteX78" fmla="*/ 483913 w 609619"/>
              <a:gd name="connsiteY78" fmla="*/ 143283 h 552596"/>
              <a:gd name="connsiteX79" fmla="*/ 290516 w 609619"/>
              <a:gd name="connsiteY79" fmla="*/ 54291 h 552596"/>
              <a:gd name="connsiteX80" fmla="*/ 170719 w 609619"/>
              <a:gd name="connsiteY80" fmla="*/ 113961 h 552596"/>
              <a:gd name="connsiteX81" fmla="*/ 133312 w 609619"/>
              <a:gd name="connsiteY81" fmla="*/ 114521 h 552596"/>
              <a:gd name="connsiteX82" fmla="*/ 132751 w 609619"/>
              <a:gd name="connsiteY82" fmla="*/ 77262 h 552596"/>
              <a:gd name="connsiteX83" fmla="*/ 283970 w 609619"/>
              <a:gd name="connsiteY83" fmla="*/ 1997 h 552596"/>
              <a:gd name="connsiteX84" fmla="*/ 334262 w 609619"/>
              <a:gd name="connsiteY84" fmla="*/ 651 h 5525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</a:cxnLst>
            <a:rect l="l" t="t" r="r" b="b"/>
            <a:pathLst>
              <a:path w="609619" h="552596">
                <a:moveTo>
                  <a:pt x="381535" y="212929"/>
                </a:moveTo>
                <a:lnTo>
                  <a:pt x="352835" y="263726"/>
                </a:lnTo>
                <a:lnTo>
                  <a:pt x="381535" y="263726"/>
                </a:lnTo>
                <a:close/>
                <a:moveTo>
                  <a:pt x="378170" y="162879"/>
                </a:moveTo>
                <a:lnTo>
                  <a:pt x="416031" y="162879"/>
                </a:lnTo>
                <a:cubicBezTo>
                  <a:pt x="422108" y="162879"/>
                  <a:pt x="427063" y="167828"/>
                  <a:pt x="427063" y="173897"/>
                </a:cubicBezTo>
                <a:lnTo>
                  <a:pt x="427063" y="263726"/>
                </a:lnTo>
                <a:lnTo>
                  <a:pt x="436692" y="263726"/>
                </a:lnTo>
                <a:cubicBezTo>
                  <a:pt x="442768" y="263726"/>
                  <a:pt x="447723" y="268675"/>
                  <a:pt x="447723" y="274745"/>
                </a:cubicBezTo>
                <a:lnTo>
                  <a:pt x="447723" y="290245"/>
                </a:lnTo>
                <a:cubicBezTo>
                  <a:pt x="447723" y="296315"/>
                  <a:pt x="442768" y="301264"/>
                  <a:pt x="436692" y="301264"/>
                </a:cubicBezTo>
                <a:lnTo>
                  <a:pt x="427063" y="301264"/>
                </a:lnTo>
                <a:lnTo>
                  <a:pt x="427063" y="331238"/>
                </a:lnTo>
                <a:cubicBezTo>
                  <a:pt x="427063" y="337307"/>
                  <a:pt x="422108" y="342256"/>
                  <a:pt x="416031" y="342256"/>
                </a:cubicBezTo>
                <a:lnTo>
                  <a:pt x="392567" y="342256"/>
                </a:lnTo>
                <a:cubicBezTo>
                  <a:pt x="386490" y="342256"/>
                  <a:pt x="381535" y="337307"/>
                  <a:pt x="381535" y="331238"/>
                </a:cubicBezTo>
                <a:lnTo>
                  <a:pt x="381535" y="301264"/>
                </a:lnTo>
                <a:lnTo>
                  <a:pt x="316282" y="301264"/>
                </a:lnTo>
                <a:cubicBezTo>
                  <a:pt x="310206" y="301264"/>
                  <a:pt x="305251" y="296315"/>
                  <a:pt x="305251" y="290245"/>
                </a:cubicBezTo>
                <a:lnTo>
                  <a:pt x="305251" y="273437"/>
                </a:lnTo>
                <a:cubicBezTo>
                  <a:pt x="305251" y="271383"/>
                  <a:pt x="305812" y="269329"/>
                  <a:pt x="306934" y="267648"/>
                </a:cubicBezTo>
                <a:lnTo>
                  <a:pt x="368821" y="168015"/>
                </a:lnTo>
                <a:cubicBezTo>
                  <a:pt x="370878" y="164840"/>
                  <a:pt x="374430" y="162879"/>
                  <a:pt x="378170" y="162879"/>
                </a:cubicBezTo>
                <a:close/>
                <a:moveTo>
                  <a:pt x="234995" y="159916"/>
                </a:moveTo>
                <a:cubicBezTo>
                  <a:pt x="273889" y="159916"/>
                  <a:pt x="299038" y="182604"/>
                  <a:pt x="299038" y="217615"/>
                </a:cubicBezTo>
                <a:cubicBezTo>
                  <a:pt x="299038" y="246558"/>
                  <a:pt x="280246" y="269246"/>
                  <a:pt x="252105" y="294361"/>
                </a:cubicBezTo>
                <a:cubicBezTo>
                  <a:pt x="252011" y="294454"/>
                  <a:pt x="251918" y="294548"/>
                  <a:pt x="251824" y="294641"/>
                </a:cubicBezTo>
                <a:lnTo>
                  <a:pt x="243129" y="301830"/>
                </a:lnTo>
                <a:lnTo>
                  <a:pt x="291185" y="301830"/>
                </a:lnTo>
                <a:cubicBezTo>
                  <a:pt x="297262" y="301830"/>
                  <a:pt x="302217" y="306778"/>
                  <a:pt x="302217" y="312847"/>
                </a:cubicBezTo>
                <a:lnTo>
                  <a:pt x="302217" y="331240"/>
                </a:lnTo>
                <a:cubicBezTo>
                  <a:pt x="302217" y="337309"/>
                  <a:pt x="297262" y="342257"/>
                  <a:pt x="291185" y="342257"/>
                </a:cubicBezTo>
                <a:lnTo>
                  <a:pt x="183761" y="342257"/>
                </a:lnTo>
                <a:cubicBezTo>
                  <a:pt x="177684" y="342257"/>
                  <a:pt x="172729" y="337309"/>
                  <a:pt x="172729" y="331240"/>
                </a:cubicBezTo>
                <a:lnTo>
                  <a:pt x="172729" y="317515"/>
                </a:lnTo>
                <a:cubicBezTo>
                  <a:pt x="172729" y="314341"/>
                  <a:pt x="174038" y="311447"/>
                  <a:pt x="176375" y="309299"/>
                </a:cubicBezTo>
                <a:lnTo>
                  <a:pt x="196102" y="291467"/>
                </a:lnTo>
                <a:cubicBezTo>
                  <a:pt x="233219" y="258322"/>
                  <a:pt x="250889" y="239369"/>
                  <a:pt x="251450" y="220976"/>
                </a:cubicBezTo>
                <a:cubicBezTo>
                  <a:pt x="251357" y="212947"/>
                  <a:pt x="248178" y="199596"/>
                  <a:pt x="226768" y="199596"/>
                </a:cubicBezTo>
                <a:cubicBezTo>
                  <a:pt x="217793" y="199596"/>
                  <a:pt x="208537" y="202490"/>
                  <a:pt x="199188" y="208279"/>
                </a:cubicBezTo>
                <a:cubicBezTo>
                  <a:pt x="196383" y="210053"/>
                  <a:pt x="192924" y="210426"/>
                  <a:pt x="189838" y="209399"/>
                </a:cubicBezTo>
                <a:cubicBezTo>
                  <a:pt x="186753" y="208372"/>
                  <a:pt x="184322" y="206038"/>
                  <a:pt x="183107" y="202957"/>
                </a:cubicBezTo>
                <a:lnTo>
                  <a:pt x="177217" y="188112"/>
                </a:lnTo>
                <a:cubicBezTo>
                  <a:pt x="175253" y="183257"/>
                  <a:pt x="177123" y="177655"/>
                  <a:pt x="181611" y="174761"/>
                </a:cubicBezTo>
                <a:cubicBezTo>
                  <a:pt x="196663" y="165238"/>
                  <a:pt x="215549" y="159916"/>
                  <a:pt x="234995" y="159916"/>
                </a:cubicBezTo>
                <a:close/>
                <a:moveTo>
                  <a:pt x="72010" y="115246"/>
                </a:moveTo>
                <a:cubicBezTo>
                  <a:pt x="138035" y="105721"/>
                  <a:pt x="146826" y="197054"/>
                  <a:pt x="113065" y="229459"/>
                </a:cubicBezTo>
                <a:cubicBezTo>
                  <a:pt x="107267" y="234969"/>
                  <a:pt x="79772" y="243747"/>
                  <a:pt x="77528" y="248416"/>
                </a:cubicBezTo>
                <a:cubicBezTo>
                  <a:pt x="81362" y="270456"/>
                  <a:pt x="87067" y="292121"/>
                  <a:pt x="94736" y="313040"/>
                </a:cubicBezTo>
                <a:cubicBezTo>
                  <a:pt x="100627" y="329103"/>
                  <a:pt x="107641" y="344605"/>
                  <a:pt x="115684" y="359640"/>
                </a:cubicBezTo>
                <a:cubicBezTo>
                  <a:pt x="122137" y="371687"/>
                  <a:pt x="129338" y="383361"/>
                  <a:pt x="137194" y="394474"/>
                </a:cubicBezTo>
                <a:cubicBezTo>
                  <a:pt x="150006" y="412778"/>
                  <a:pt x="164501" y="429867"/>
                  <a:pt x="180400" y="445556"/>
                </a:cubicBezTo>
                <a:cubicBezTo>
                  <a:pt x="185543" y="446397"/>
                  <a:pt x="208456" y="428933"/>
                  <a:pt x="216311" y="427346"/>
                </a:cubicBezTo>
                <a:cubicBezTo>
                  <a:pt x="262229" y="418194"/>
                  <a:pt x="331995" y="476561"/>
                  <a:pt x="286544" y="526336"/>
                </a:cubicBezTo>
                <a:cubicBezTo>
                  <a:pt x="227814" y="588812"/>
                  <a:pt x="148416" y="526803"/>
                  <a:pt x="108764" y="475253"/>
                </a:cubicBezTo>
                <a:cubicBezTo>
                  <a:pt x="93894" y="455922"/>
                  <a:pt x="73039" y="426038"/>
                  <a:pt x="53868" y="391859"/>
                </a:cubicBezTo>
                <a:lnTo>
                  <a:pt x="49285" y="382800"/>
                </a:lnTo>
                <a:cubicBezTo>
                  <a:pt x="32171" y="347500"/>
                  <a:pt x="19546" y="313320"/>
                  <a:pt x="12158" y="290160"/>
                </a:cubicBezTo>
                <a:cubicBezTo>
                  <a:pt x="-7481" y="228151"/>
                  <a:pt x="-12999" y="127574"/>
                  <a:pt x="72010" y="115246"/>
                </a:cubicBezTo>
                <a:close/>
                <a:moveTo>
                  <a:pt x="334262" y="651"/>
                </a:moveTo>
                <a:cubicBezTo>
                  <a:pt x="384017" y="4209"/>
                  <a:pt x="431589" y="22331"/>
                  <a:pt x="471849" y="53637"/>
                </a:cubicBezTo>
                <a:cubicBezTo>
                  <a:pt x="497753" y="73714"/>
                  <a:pt x="519169" y="98180"/>
                  <a:pt x="535254" y="125634"/>
                </a:cubicBezTo>
                <a:lnTo>
                  <a:pt x="601933" y="161959"/>
                </a:lnTo>
                <a:cubicBezTo>
                  <a:pt x="606983" y="164667"/>
                  <a:pt x="609882" y="170083"/>
                  <a:pt x="609601" y="175779"/>
                </a:cubicBezTo>
                <a:cubicBezTo>
                  <a:pt x="609227" y="181382"/>
                  <a:pt x="605580" y="186425"/>
                  <a:pt x="600343" y="188479"/>
                </a:cubicBezTo>
                <a:lnTo>
                  <a:pt x="564806" y="202486"/>
                </a:lnTo>
                <a:cubicBezTo>
                  <a:pt x="566209" y="209210"/>
                  <a:pt x="567331" y="215933"/>
                  <a:pt x="568173" y="222843"/>
                </a:cubicBezTo>
                <a:cubicBezTo>
                  <a:pt x="576589" y="290171"/>
                  <a:pt x="558260" y="356845"/>
                  <a:pt x="516457" y="410446"/>
                </a:cubicBezTo>
                <a:cubicBezTo>
                  <a:pt x="474748" y="464047"/>
                  <a:pt x="414522" y="498224"/>
                  <a:pt x="347001" y="506628"/>
                </a:cubicBezTo>
                <a:cubicBezTo>
                  <a:pt x="345879" y="506722"/>
                  <a:pt x="344851" y="506815"/>
                  <a:pt x="343728" y="506815"/>
                </a:cubicBezTo>
                <a:cubicBezTo>
                  <a:pt x="330636" y="506815"/>
                  <a:pt x="319226" y="497010"/>
                  <a:pt x="317543" y="483750"/>
                </a:cubicBezTo>
                <a:cubicBezTo>
                  <a:pt x="315766" y="469276"/>
                  <a:pt x="326053" y="456109"/>
                  <a:pt x="340455" y="454242"/>
                </a:cubicBezTo>
                <a:cubicBezTo>
                  <a:pt x="393948" y="447611"/>
                  <a:pt x="441642" y="420531"/>
                  <a:pt x="474748" y="378043"/>
                </a:cubicBezTo>
                <a:cubicBezTo>
                  <a:pt x="507853" y="335554"/>
                  <a:pt x="522442" y="282794"/>
                  <a:pt x="515802" y="229380"/>
                </a:cubicBezTo>
                <a:cubicBezTo>
                  <a:pt x="515428" y="226952"/>
                  <a:pt x="515148" y="224618"/>
                  <a:pt x="514774" y="222283"/>
                </a:cubicBezTo>
                <a:lnTo>
                  <a:pt x="478488" y="236570"/>
                </a:lnTo>
                <a:cubicBezTo>
                  <a:pt x="473158" y="238625"/>
                  <a:pt x="467173" y="237504"/>
                  <a:pt x="462964" y="233582"/>
                </a:cubicBezTo>
                <a:cubicBezTo>
                  <a:pt x="458850" y="229660"/>
                  <a:pt x="457353" y="223684"/>
                  <a:pt x="459130" y="218268"/>
                </a:cubicBezTo>
                <a:lnTo>
                  <a:pt x="483913" y="143283"/>
                </a:lnTo>
                <a:cubicBezTo>
                  <a:pt x="442858" y="81465"/>
                  <a:pt x="369072" y="44579"/>
                  <a:pt x="290516" y="54291"/>
                </a:cubicBezTo>
                <a:cubicBezTo>
                  <a:pt x="244412" y="60080"/>
                  <a:pt x="202983" y="80718"/>
                  <a:pt x="170719" y="113961"/>
                </a:cubicBezTo>
                <a:cubicBezTo>
                  <a:pt x="160526" y="124420"/>
                  <a:pt x="143786" y="124700"/>
                  <a:pt x="133312" y="114521"/>
                </a:cubicBezTo>
                <a:cubicBezTo>
                  <a:pt x="122838" y="104343"/>
                  <a:pt x="122557" y="87721"/>
                  <a:pt x="132751" y="77262"/>
                </a:cubicBezTo>
                <a:cubicBezTo>
                  <a:pt x="172870" y="35895"/>
                  <a:pt x="226643" y="9094"/>
                  <a:pt x="283970" y="1997"/>
                </a:cubicBezTo>
                <a:cubicBezTo>
                  <a:pt x="300850" y="-104"/>
                  <a:pt x="317677" y="-536"/>
                  <a:pt x="334262" y="651"/>
                </a:cubicBezTo>
                <a:close/>
              </a:path>
            </a:pathLst>
          </a:custGeom>
          <a:solidFill>
            <a:srgbClr val="0870D3"/>
          </a:solidFill>
          <a:ln>
            <a:noFill/>
          </a:ln>
          <a:effectLst>
            <a:outerShdw blurRad="762000" dist="2540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360000" bIns="45720" numCol="1" spcCol="0" rtlCol="0" fromWordArt="0" anchor="ctr" anchorCtr="0" forceAA="0" compatLnSpc="1">
            <a:noAutofit/>
          </a:bodyPr>
          <a:lstStyle/>
          <a:p>
            <a:pPr algn="r" defTabSz="914400"/>
            <a:endParaRPr lang="zh-CN" altLang="en-US" sz="1400" b="1">
              <a:solidFill>
                <a:schemeClr val="lt1"/>
              </a:solidFill>
              <a:latin typeface="思源黑体 CN Normal" panose="020B0400000000000000" pitchFamily="34" charset="-122"/>
              <a:ea typeface="思源黑体 CN Normal" panose="020B0400000000000000" pitchFamily="34" charset="-122"/>
              <a:cs typeface="Open Sans" panose="020B0606030504020204" charset="0"/>
            </a:endParaRPr>
          </a:p>
        </p:txBody>
      </p:sp>
      <p:grpSp>
        <p:nvGrpSpPr>
          <p:cNvPr id="16" name="组合 15"/>
          <p:cNvGrpSpPr/>
          <p:nvPr/>
        </p:nvGrpSpPr>
        <p:grpSpPr>
          <a:xfrm>
            <a:off x="445680" y="386741"/>
            <a:ext cx="4160833" cy="523220"/>
            <a:chOff x="445680" y="386741"/>
            <a:chExt cx="4160833" cy="523220"/>
          </a:xfrm>
        </p:grpSpPr>
        <p:sp>
          <p:nvSpPr>
            <p:cNvPr id="17" name="analytics_237488"/>
            <p:cNvSpPr>
              <a:spLocks noChangeAspect="1"/>
            </p:cNvSpPr>
            <p:nvPr/>
          </p:nvSpPr>
          <p:spPr bwMode="auto">
            <a:xfrm>
              <a:off x="445680" y="386741"/>
              <a:ext cx="454475" cy="423493"/>
            </a:xfrm>
            <a:custGeom>
              <a:avLst/>
              <a:gdLst>
                <a:gd name="connsiteX0" fmla="*/ 261053 w 607639"/>
                <a:gd name="connsiteY0" fmla="*/ 444915 h 566217"/>
                <a:gd name="connsiteX1" fmla="*/ 245922 w 607639"/>
                <a:gd name="connsiteY1" fmla="*/ 505522 h 566217"/>
                <a:gd name="connsiteX2" fmla="*/ 361718 w 607639"/>
                <a:gd name="connsiteY2" fmla="*/ 505522 h 566217"/>
                <a:gd name="connsiteX3" fmla="*/ 346498 w 607639"/>
                <a:gd name="connsiteY3" fmla="*/ 444915 h 566217"/>
                <a:gd name="connsiteX4" fmla="*/ 0 w 607639"/>
                <a:gd name="connsiteY4" fmla="*/ 364047 h 566217"/>
                <a:gd name="connsiteX5" fmla="*/ 607639 w 607639"/>
                <a:gd name="connsiteY5" fmla="*/ 364047 h 566217"/>
                <a:gd name="connsiteX6" fmla="*/ 607639 w 607639"/>
                <a:gd name="connsiteY6" fmla="*/ 399416 h 566217"/>
                <a:gd name="connsiteX7" fmla="*/ 562069 w 607639"/>
                <a:gd name="connsiteY7" fmla="*/ 444915 h 566217"/>
                <a:gd name="connsiteX8" fmla="*/ 367414 w 607639"/>
                <a:gd name="connsiteY8" fmla="*/ 444915 h 566217"/>
                <a:gd name="connsiteX9" fmla="*/ 382634 w 607639"/>
                <a:gd name="connsiteY9" fmla="*/ 505522 h 566217"/>
                <a:gd name="connsiteX10" fmla="*/ 384859 w 607639"/>
                <a:gd name="connsiteY10" fmla="*/ 505522 h 566217"/>
                <a:gd name="connsiteX11" fmla="*/ 435414 w 607639"/>
                <a:gd name="connsiteY11" fmla="*/ 556086 h 566217"/>
                <a:gd name="connsiteX12" fmla="*/ 425356 w 607639"/>
                <a:gd name="connsiteY12" fmla="*/ 566217 h 566217"/>
                <a:gd name="connsiteX13" fmla="*/ 182283 w 607639"/>
                <a:gd name="connsiteY13" fmla="*/ 566217 h 566217"/>
                <a:gd name="connsiteX14" fmla="*/ 172136 w 607639"/>
                <a:gd name="connsiteY14" fmla="*/ 556086 h 566217"/>
                <a:gd name="connsiteX15" fmla="*/ 222780 w 607639"/>
                <a:gd name="connsiteY15" fmla="*/ 505522 h 566217"/>
                <a:gd name="connsiteX16" fmla="*/ 225006 w 607639"/>
                <a:gd name="connsiteY16" fmla="*/ 505522 h 566217"/>
                <a:gd name="connsiteX17" fmla="*/ 240225 w 607639"/>
                <a:gd name="connsiteY17" fmla="*/ 444915 h 566217"/>
                <a:gd name="connsiteX18" fmla="*/ 45571 w 607639"/>
                <a:gd name="connsiteY18" fmla="*/ 444915 h 566217"/>
                <a:gd name="connsiteX19" fmla="*/ 0 w 607639"/>
                <a:gd name="connsiteY19" fmla="*/ 399416 h 566217"/>
                <a:gd name="connsiteX20" fmla="*/ 344273 w 607639"/>
                <a:gd name="connsiteY20" fmla="*/ 273045 h 566217"/>
                <a:gd name="connsiteX21" fmla="*/ 334215 w 607639"/>
                <a:gd name="connsiteY21" fmla="*/ 283089 h 566217"/>
                <a:gd name="connsiteX22" fmla="*/ 334215 w 607639"/>
                <a:gd name="connsiteY22" fmla="*/ 313486 h 566217"/>
                <a:gd name="connsiteX23" fmla="*/ 344273 w 607639"/>
                <a:gd name="connsiteY23" fmla="*/ 323530 h 566217"/>
                <a:gd name="connsiteX24" fmla="*/ 354419 w 607639"/>
                <a:gd name="connsiteY24" fmla="*/ 313486 h 566217"/>
                <a:gd name="connsiteX25" fmla="*/ 354419 w 607639"/>
                <a:gd name="connsiteY25" fmla="*/ 283089 h 566217"/>
                <a:gd name="connsiteX26" fmla="*/ 344273 w 607639"/>
                <a:gd name="connsiteY26" fmla="*/ 273045 h 566217"/>
                <a:gd name="connsiteX27" fmla="*/ 425356 w 607639"/>
                <a:gd name="connsiteY27" fmla="*/ 252780 h 566217"/>
                <a:gd name="connsiteX28" fmla="*/ 415210 w 607639"/>
                <a:gd name="connsiteY28" fmla="*/ 262913 h 566217"/>
                <a:gd name="connsiteX29" fmla="*/ 415210 w 607639"/>
                <a:gd name="connsiteY29" fmla="*/ 313486 h 566217"/>
                <a:gd name="connsiteX30" fmla="*/ 425356 w 607639"/>
                <a:gd name="connsiteY30" fmla="*/ 323530 h 566217"/>
                <a:gd name="connsiteX31" fmla="*/ 435414 w 607639"/>
                <a:gd name="connsiteY31" fmla="*/ 313486 h 566217"/>
                <a:gd name="connsiteX32" fmla="*/ 435414 w 607639"/>
                <a:gd name="connsiteY32" fmla="*/ 262913 h 566217"/>
                <a:gd name="connsiteX33" fmla="*/ 425356 w 607639"/>
                <a:gd name="connsiteY33" fmla="*/ 252780 h 566217"/>
                <a:gd name="connsiteX34" fmla="*/ 384859 w 607639"/>
                <a:gd name="connsiteY34" fmla="*/ 232515 h 566217"/>
                <a:gd name="connsiteX35" fmla="*/ 374712 w 607639"/>
                <a:gd name="connsiteY35" fmla="*/ 242648 h 566217"/>
                <a:gd name="connsiteX36" fmla="*/ 374712 w 607639"/>
                <a:gd name="connsiteY36" fmla="*/ 313486 h 566217"/>
                <a:gd name="connsiteX37" fmla="*/ 384859 w 607639"/>
                <a:gd name="connsiteY37" fmla="*/ 323530 h 566217"/>
                <a:gd name="connsiteX38" fmla="*/ 394917 w 607639"/>
                <a:gd name="connsiteY38" fmla="*/ 313486 h 566217"/>
                <a:gd name="connsiteX39" fmla="*/ 394917 w 607639"/>
                <a:gd name="connsiteY39" fmla="*/ 242648 h 566217"/>
                <a:gd name="connsiteX40" fmla="*/ 384859 w 607639"/>
                <a:gd name="connsiteY40" fmla="*/ 232515 h 566217"/>
                <a:gd name="connsiteX41" fmla="*/ 506351 w 607639"/>
                <a:gd name="connsiteY41" fmla="*/ 222471 h 566217"/>
                <a:gd name="connsiteX42" fmla="*/ 496205 w 607639"/>
                <a:gd name="connsiteY42" fmla="*/ 232515 h 566217"/>
                <a:gd name="connsiteX43" fmla="*/ 496205 w 607639"/>
                <a:gd name="connsiteY43" fmla="*/ 313486 h 566217"/>
                <a:gd name="connsiteX44" fmla="*/ 506351 w 607639"/>
                <a:gd name="connsiteY44" fmla="*/ 323530 h 566217"/>
                <a:gd name="connsiteX45" fmla="*/ 516498 w 607639"/>
                <a:gd name="connsiteY45" fmla="*/ 313486 h 566217"/>
                <a:gd name="connsiteX46" fmla="*/ 516498 w 607639"/>
                <a:gd name="connsiteY46" fmla="*/ 232515 h 566217"/>
                <a:gd name="connsiteX47" fmla="*/ 506351 w 607639"/>
                <a:gd name="connsiteY47" fmla="*/ 222471 h 566217"/>
                <a:gd name="connsiteX48" fmla="*/ 196595 w 607639"/>
                <a:gd name="connsiteY48" fmla="*/ 192079 h 566217"/>
                <a:gd name="connsiteX49" fmla="*/ 272100 w 607639"/>
                <a:gd name="connsiteY49" fmla="*/ 192079 h 566217"/>
                <a:gd name="connsiteX50" fmla="*/ 247258 w 607639"/>
                <a:gd name="connsiteY50" fmla="*/ 242604 h 566217"/>
                <a:gd name="connsiteX51" fmla="*/ 465854 w 607639"/>
                <a:gd name="connsiteY51" fmla="*/ 182030 h 566217"/>
                <a:gd name="connsiteX52" fmla="*/ 455707 w 607639"/>
                <a:gd name="connsiteY52" fmla="*/ 192074 h 566217"/>
                <a:gd name="connsiteX53" fmla="*/ 455707 w 607639"/>
                <a:gd name="connsiteY53" fmla="*/ 313486 h 566217"/>
                <a:gd name="connsiteX54" fmla="*/ 465854 w 607639"/>
                <a:gd name="connsiteY54" fmla="*/ 323530 h 566217"/>
                <a:gd name="connsiteX55" fmla="*/ 476000 w 607639"/>
                <a:gd name="connsiteY55" fmla="*/ 313486 h 566217"/>
                <a:gd name="connsiteX56" fmla="*/ 476000 w 607639"/>
                <a:gd name="connsiteY56" fmla="*/ 192074 h 566217"/>
                <a:gd name="connsiteX57" fmla="*/ 465854 w 607639"/>
                <a:gd name="connsiteY57" fmla="*/ 182030 h 566217"/>
                <a:gd name="connsiteX58" fmla="*/ 499142 w 607639"/>
                <a:gd name="connsiteY58" fmla="*/ 103992 h 566217"/>
                <a:gd name="connsiteX59" fmla="*/ 497896 w 607639"/>
                <a:gd name="connsiteY59" fmla="*/ 105503 h 566217"/>
                <a:gd name="connsiteX60" fmla="*/ 497006 w 607639"/>
                <a:gd name="connsiteY60" fmla="*/ 107369 h 566217"/>
                <a:gd name="connsiteX61" fmla="*/ 496383 w 607639"/>
                <a:gd name="connsiteY61" fmla="*/ 109147 h 566217"/>
                <a:gd name="connsiteX62" fmla="*/ 496205 w 607639"/>
                <a:gd name="connsiteY62" fmla="*/ 111191 h 566217"/>
                <a:gd name="connsiteX63" fmla="*/ 496383 w 607639"/>
                <a:gd name="connsiteY63" fmla="*/ 113236 h 566217"/>
                <a:gd name="connsiteX64" fmla="*/ 497006 w 607639"/>
                <a:gd name="connsiteY64" fmla="*/ 115013 h 566217"/>
                <a:gd name="connsiteX65" fmla="*/ 497896 w 607639"/>
                <a:gd name="connsiteY65" fmla="*/ 116880 h 566217"/>
                <a:gd name="connsiteX66" fmla="*/ 499142 w 607639"/>
                <a:gd name="connsiteY66" fmla="*/ 118391 h 566217"/>
                <a:gd name="connsiteX67" fmla="*/ 506351 w 607639"/>
                <a:gd name="connsiteY67" fmla="*/ 121324 h 566217"/>
                <a:gd name="connsiteX68" fmla="*/ 513561 w 607639"/>
                <a:gd name="connsiteY68" fmla="*/ 118391 h 566217"/>
                <a:gd name="connsiteX69" fmla="*/ 516498 w 607639"/>
                <a:gd name="connsiteY69" fmla="*/ 111191 h 566217"/>
                <a:gd name="connsiteX70" fmla="*/ 513561 w 607639"/>
                <a:gd name="connsiteY70" fmla="*/ 103992 h 566217"/>
                <a:gd name="connsiteX71" fmla="*/ 499142 w 607639"/>
                <a:gd name="connsiteY71" fmla="*/ 103992 h 566217"/>
                <a:gd name="connsiteX72" fmla="*/ 374712 w 607639"/>
                <a:gd name="connsiteY72" fmla="*/ 101059 h 566217"/>
                <a:gd name="connsiteX73" fmla="*/ 364566 w 607639"/>
                <a:gd name="connsiteY73" fmla="*/ 111191 h 566217"/>
                <a:gd name="connsiteX74" fmla="*/ 374712 w 607639"/>
                <a:gd name="connsiteY74" fmla="*/ 121324 h 566217"/>
                <a:gd name="connsiteX75" fmla="*/ 455707 w 607639"/>
                <a:gd name="connsiteY75" fmla="*/ 121324 h 566217"/>
                <a:gd name="connsiteX76" fmla="*/ 465854 w 607639"/>
                <a:gd name="connsiteY76" fmla="*/ 111191 h 566217"/>
                <a:gd name="connsiteX77" fmla="*/ 455707 w 607639"/>
                <a:gd name="connsiteY77" fmla="*/ 101059 h 566217"/>
                <a:gd name="connsiteX78" fmla="*/ 162007 w 607639"/>
                <a:gd name="connsiteY78" fmla="*/ 82209 h 566217"/>
                <a:gd name="connsiteX79" fmla="*/ 162007 w 607639"/>
                <a:gd name="connsiteY79" fmla="*/ 181568 h 566217"/>
                <a:gd name="connsiteX80" fmla="*/ 162096 w 607639"/>
                <a:gd name="connsiteY80" fmla="*/ 181657 h 566217"/>
                <a:gd name="connsiteX81" fmla="*/ 165033 w 607639"/>
                <a:gd name="connsiteY81" fmla="*/ 189123 h 566217"/>
                <a:gd name="connsiteX82" fmla="*/ 231878 w 607639"/>
                <a:gd name="connsiteY82" fmla="*/ 255866 h 566217"/>
                <a:gd name="connsiteX83" fmla="*/ 177227 w 607639"/>
                <a:gd name="connsiteY83" fmla="*/ 273018 h 566217"/>
                <a:gd name="connsiteX84" fmla="*/ 81009 w 607639"/>
                <a:gd name="connsiteY84" fmla="*/ 176947 h 566217"/>
                <a:gd name="connsiteX85" fmla="*/ 162007 w 607639"/>
                <a:gd name="connsiteY85" fmla="*/ 82209 h 566217"/>
                <a:gd name="connsiteX86" fmla="*/ 182271 w 607639"/>
                <a:gd name="connsiteY86" fmla="*/ 81150 h 566217"/>
                <a:gd name="connsiteX87" fmla="*/ 185209 w 607639"/>
                <a:gd name="connsiteY87" fmla="*/ 81239 h 566217"/>
                <a:gd name="connsiteX88" fmla="*/ 188503 w 607639"/>
                <a:gd name="connsiteY88" fmla="*/ 81594 h 566217"/>
                <a:gd name="connsiteX89" fmla="*/ 195268 w 607639"/>
                <a:gd name="connsiteY89" fmla="*/ 82661 h 566217"/>
                <a:gd name="connsiteX90" fmla="*/ 197315 w 607639"/>
                <a:gd name="connsiteY90" fmla="*/ 83017 h 566217"/>
                <a:gd name="connsiteX91" fmla="*/ 205505 w 607639"/>
                <a:gd name="connsiteY91" fmla="*/ 85150 h 566217"/>
                <a:gd name="connsiteX92" fmla="*/ 205950 w 607639"/>
                <a:gd name="connsiteY92" fmla="*/ 85239 h 566217"/>
                <a:gd name="connsiteX93" fmla="*/ 269064 w 607639"/>
                <a:gd name="connsiteY93" fmla="*/ 148255 h 566217"/>
                <a:gd name="connsiteX94" fmla="*/ 269153 w 607639"/>
                <a:gd name="connsiteY94" fmla="*/ 148788 h 566217"/>
                <a:gd name="connsiteX95" fmla="*/ 271290 w 607639"/>
                <a:gd name="connsiteY95" fmla="*/ 156876 h 566217"/>
                <a:gd name="connsiteX96" fmla="*/ 271646 w 607639"/>
                <a:gd name="connsiteY96" fmla="*/ 158921 h 566217"/>
                <a:gd name="connsiteX97" fmla="*/ 272714 w 607639"/>
                <a:gd name="connsiteY97" fmla="*/ 165764 h 566217"/>
                <a:gd name="connsiteX98" fmla="*/ 272981 w 607639"/>
                <a:gd name="connsiteY98" fmla="*/ 168875 h 566217"/>
                <a:gd name="connsiteX99" fmla="*/ 273159 w 607639"/>
                <a:gd name="connsiteY99" fmla="*/ 171897 h 566217"/>
                <a:gd name="connsiteX100" fmla="*/ 182271 w 607639"/>
                <a:gd name="connsiteY100" fmla="*/ 171897 h 566217"/>
                <a:gd name="connsiteX101" fmla="*/ 177210 w 607639"/>
                <a:gd name="connsiteY101" fmla="*/ 60617 h 566217"/>
                <a:gd name="connsiteX102" fmla="*/ 174451 w 607639"/>
                <a:gd name="connsiteY102" fmla="*/ 60795 h 566217"/>
                <a:gd name="connsiteX103" fmla="*/ 171869 w 607639"/>
                <a:gd name="connsiteY103" fmla="*/ 60795 h 566217"/>
                <a:gd name="connsiteX104" fmla="*/ 167508 w 607639"/>
                <a:gd name="connsiteY104" fmla="*/ 61062 h 566217"/>
                <a:gd name="connsiteX105" fmla="*/ 167419 w 607639"/>
                <a:gd name="connsiteY105" fmla="*/ 61151 h 566217"/>
                <a:gd name="connsiteX106" fmla="*/ 60791 w 607639"/>
                <a:gd name="connsiteY106" fmla="*/ 176964 h 566217"/>
                <a:gd name="connsiteX107" fmla="*/ 177210 w 607639"/>
                <a:gd name="connsiteY107" fmla="*/ 293221 h 566217"/>
                <a:gd name="connsiteX108" fmla="*/ 253487 w 607639"/>
                <a:gd name="connsiteY108" fmla="*/ 264601 h 566217"/>
                <a:gd name="connsiteX109" fmla="*/ 254377 w 607639"/>
                <a:gd name="connsiteY109" fmla="*/ 264068 h 566217"/>
                <a:gd name="connsiteX110" fmla="*/ 254733 w 607639"/>
                <a:gd name="connsiteY110" fmla="*/ 263535 h 566217"/>
                <a:gd name="connsiteX111" fmla="*/ 293184 w 607639"/>
                <a:gd name="connsiteY111" fmla="*/ 186652 h 566217"/>
                <a:gd name="connsiteX112" fmla="*/ 293362 w 607639"/>
                <a:gd name="connsiteY112" fmla="*/ 186474 h 566217"/>
                <a:gd name="connsiteX113" fmla="*/ 293540 w 607639"/>
                <a:gd name="connsiteY113" fmla="*/ 182297 h 566217"/>
                <a:gd name="connsiteX114" fmla="*/ 293540 w 607639"/>
                <a:gd name="connsiteY114" fmla="*/ 179630 h 566217"/>
                <a:gd name="connsiteX115" fmla="*/ 293718 w 607639"/>
                <a:gd name="connsiteY115" fmla="*/ 176964 h 566217"/>
                <a:gd name="connsiteX116" fmla="*/ 293540 w 607639"/>
                <a:gd name="connsiteY116" fmla="*/ 173320 h 566217"/>
                <a:gd name="connsiteX117" fmla="*/ 293184 w 607639"/>
                <a:gd name="connsiteY117" fmla="*/ 167898 h 566217"/>
                <a:gd name="connsiteX118" fmla="*/ 292383 w 607639"/>
                <a:gd name="connsiteY118" fmla="*/ 160698 h 566217"/>
                <a:gd name="connsiteX119" fmla="*/ 291760 w 607639"/>
                <a:gd name="connsiteY119" fmla="*/ 156432 h 566217"/>
                <a:gd name="connsiteX120" fmla="*/ 290068 w 607639"/>
                <a:gd name="connsiteY120" fmla="*/ 148522 h 566217"/>
                <a:gd name="connsiteX121" fmla="*/ 289178 w 607639"/>
                <a:gd name="connsiteY121" fmla="*/ 145144 h 566217"/>
                <a:gd name="connsiteX122" fmla="*/ 286508 w 607639"/>
                <a:gd name="connsiteY122" fmla="*/ 137145 h 566217"/>
                <a:gd name="connsiteX123" fmla="*/ 285351 w 607639"/>
                <a:gd name="connsiteY123" fmla="*/ 133856 h 566217"/>
                <a:gd name="connsiteX124" fmla="*/ 282058 w 607639"/>
                <a:gd name="connsiteY124" fmla="*/ 126657 h 566217"/>
                <a:gd name="connsiteX125" fmla="*/ 280278 w 607639"/>
                <a:gd name="connsiteY125" fmla="*/ 122924 h 566217"/>
                <a:gd name="connsiteX126" fmla="*/ 276896 w 607639"/>
                <a:gd name="connsiteY126" fmla="*/ 117057 h 566217"/>
                <a:gd name="connsiteX127" fmla="*/ 274136 w 607639"/>
                <a:gd name="connsiteY127" fmla="*/ 112613 h 566217"/>
                <a:gd name="connsiteX128" fmla="*/ 271199 w 607639"/>
                <a:gd name="connsiteY128" fmla="*/ 108525 h 566217"/>
                <a:gd name="connsiteX129" fmla="*/ 267105 w 607639"/>
                <a:gd name="connsiteY129" fmla="*/ 103014 h 566217"/>
                <a:gd name="connsiteX130" fmla="*/ 266571 w 607639"/>
                <a:gd name="connsiteY130" fmla="*/ 102481 h 566217"/>
                <a:gd name="connsiteX131" fmla="*/ 259540 w 607639"/>
                <a:gd name="connsiteY131" fmla="*/ 94659 h 566217"/>
                <a:gd name="connsiteX132" fmla="*/ 251351 w 607639"/>
                <a:gd name="connsiteY132" fmla="*/ 87371 h 566217"/>
                <a:gd name="connsiteX133" fmla="*/ 251262 w 607639"/>
                <a:gd name="connsiteY133" fmla="*/ 87193 h 566217"/>
                <a:gd name="connsiteX134" fmla="*/ 245388 w 607639"/>
                <a:gd name="connsiteY134" fmla="*/ 82838 h 566217"/>
                <a:gd name="connsiteX135" fmla="*/ 241739 w 607639"/>
                <a:gd name="connsiteY135" fmla="*/ 80171 h 566217"/>
                <a:gd name="connsiteX136" fmla="*/ 236843 w 607639"/>
                <a:gd name="connsiteY136" fmla="*/ 77238 h 566217"/>
                <a:gd name="connsiteX137" fmla="*/ 231414 w 607639"/>
                <a:gd name="connsiteY137" fmla="*/ 74039 h 566217"/>
                <a:gd name="connsiteX138" fmla="*/ 227231 w 607639"/>
                <a:gd name="connsiteY138" fmla="*/ 72083 h 566217"/>
                <a:gd name="connsiteX139" fmla="*/ 220466 w 607639"/>
                <a:gd name="connsiteY139" fmla="*/ 69061 h 566217"/>
                <a:gd name="connsiteX140" fmla="*/ 216817 w 607639"/>
                <a:gd name="connsiteY140" fmla="*/ 67728 h 566217"/>
                <a:gd name="connsiteX141" fmla="*/ 209252 w 607639"/>
                <a:gd name="connsiteY141" fmla="*/ 65239 h 566217"/>
                <a:gd name="connsiteX142" fmla="*/ 205513 w 607639"/>
                <a:gd name="connsiteY142" fmla="*/ 64262 h 566217"/>
                <a:gd name="connsiteX143" fmla="*/ 197770 w 607639"/>
                <a:gd name="connsiteY143" fmla="*/ 62573 h 566217"/>
                <a:gd name="connsiteX144" fmla="*/ 193498 w 607639"/>
                <a:gd name="connsiteY144" fmla="*/ 61951 h 566217"/>
                <a:gd name="connsiteX145" fmla="*/ 186199 w 607639"/>
                <a:gd name="connsiteY145" fmla="*/ 61062 h 566217"/>
                <a:gd name="connsiteX146" fmla="*/ 181037 w 607639"/>
                <a:gd name="connsiteY146" fmla="*/ 60795 h 566217"/>
                <a:gd name="connsiteX147" fmla="*/ 177210 w 607639"/>
                <a:gd name="connsiteY147" fmla="*/ 60617 h 566217"/>
                <a:gd name="connsiteX148" fmla="*/ 431587 w 607639"/>
                <a:gd name="connsiteY148" fmla="*/ 51374 h 566217"/>
                <a:gd name="connsiteX149" fmla="*/ 428294 w 607639"/>
                <a:gd name="connsiteY149" fmla="*/ 53418 h 566217"/>
                <a:gd name="connsiteX150" fmla="*/ 425356 w 607639"/>
                <a:gd name="connsiteY150" fmla="*/ 60617 h 566217"/>
                <a:gd name="connsiteX151" fmla="*/ 428294 w 607639"/>
                <a:gd name="connsiteY151" fmla="*/ 67817 h 566217"/>
                <a:gd name="connsiteX152" fmla="*/ 435414 w 607639"/>
                <a:gd name="connsiteY152" fmla="*/ 70750 h 566217"/>
                <a:gd name="connsiteX153" fmla="*/ 442623 w 607639"/>
                <a:gd name="connsiteY153" fmla="*/ 67817 h 566217"/>
                <a:gd name="connsiteX154" fmla="*/ 445561 w 607639"/>
                <a:gd name="connsiteY154" fmla="*/ 60617 h 566217"/>
                <a:gd name="connsiteX155" fmla="*/ 442623 w 607639"/>
                <a:gd name="connsiteY155" fmla="*/ 53418 h 566217"/>
                <a:gd name="connsiteX156" fmla="*/ 431587 w 607639"/>
                <a:gd name="connsiteY156" fmla="*/ 51374 h 566217"/>
                <a:gd name="connsiteX157" fmla="*/ 476000 w 607639"/>
                <a:gd name="connsiteY157" fmla="*/ 50485 h 566217"/>
                <a:gd name="connsiteX158" fmla="*/ 465854 w 607639"/>
                <a:gd name="connsiteY158" fmla="*/ 60617 h 566217"/>
                <a:gd name="connsiteX159" fmla="*/ 476000 w 607639"/>
                <a:gd name="connsiteY159" fmla="*/ 70750 h 566217"/>
                <a:gd name="connsiteX160" fmla="*/ 506351 w 607639"/>
                <a:gd name="connsiteY160" fmla="*/ 70750 h 566217"/>
                <a:gd name="connsiteX161" fmla="*/ 516498 w 607639"/>
                <a:gd name="connsiteY161" fmla="*/ 60617 h 566217"/>
                <a:gd name="connsiteX162" fmla="*/ 506351 w 607639"/>
                <a:gd name="connsiteY162" fmla="*/ 50485 h 566217"/>
                <a:gd name="connsiteX163" fmla="*/ 374712 w 607639"/>
                <a:gd name="connsiteY163" fmla="*/ 50485 h 566217"/>
                <a:gd name="connsiteX164" fmla="*/ 364566 w 607639"/>
                <a:gd name="connsiteY164" fmla="*/ 60617 h 566217"/>
                <a:gd name="connsiteX165" fmla="*/ 374712 w 607639"/>
                <a:gd name="connsiteY165" fmla="*/ 70750 h 566217"/>
                <a:gd name="connsiteX166" fmla="*/ 394917 w 607639"/>
                <a:gd name="connsiteY166" fmla="*/ 70750 h 566217"/>
                <a:gd name="connsiteX167" fmla="*/ 405063 w 607639"/>
                <a:gd name="connsiteY167" fmla="*/ 60617 h 566217"/>
                <a:gd name="connsiteX168" fmla="*/ 394917 w 607639"/>
                <a:gd name="connsiteY168" fmla="*/ 50485 h 566217"/>
                <a:gd name="connsiteX169" fmla="*/ 45571 w 607639"/>
                <a:gd name="connsiteY169" fmla="*/ 0 h 566217"/>
                <a:gd name="connsiteX170" fmla="*/ 562069 w 607639"/>
                <a:gd name="connsiteY170" fmla="*/ 0 h 566217"/>
                <a:gd name="connsiteX171" fmla="*/ 607639 w 607639"/>
                <a:gd name="connsiteY171" fmla="*/ 45508 h 566217"/>
                <a:gd name="connsiteX172" fmla="*/ 607639 w 607639"/>
                <a:gd name="connsiteY172" fmla="*/ 343795 h 566217"/>
                <a:gd name="connsiteX173" fmla="*/ 0 w 607639"/>
                <a:gd name="connsiteY173" fmla="*/ 343795 h 566217"/>
                <a:gd name="connsiteX174" fmla="*/ 0 w 607639"/>
                <a:gd name="connsiteY174" fmla="*/ 45508 h 566217"/>
                <a:gd name="connsiteX175" fmla="*/ 45571 w 607639"/>
                <a:gd name="connsiteY175" fmla="*/ 0 h 566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</a:cxnLst>
              <a:rect l="l" t="t" r="r" b="b"/>
              <a:pathLst>
                <a:path w="607639" h="566217">
                  <a:moveTo>
                    <a:pt x="261053" y="444915"/>
                  </a:moveTo>
                  <a:lnTo>
                    <a:pt x="245922" y="505522"/>
                  </a:lnTo>
                  <a:lnTo>
                    <a:pt x="361718" y="505522"/>
                  </a:lnTo>
                  <a:lnTo>
                    <a:pt x="346498" y="444915"/>
                  </a:lnTo>
                  <a:close/>
                  <a:moveTo>
                    <a:pt x="0" y="364047"/>
                  </a:moveTo>
                  <a:lnTo>
                    <a:pt x="607639" y="364047"/>
                  </a:lnTo>
                  <a:lnTo>
                    <a:pt x="607639" y="399416"/>
                  </a:lnTo>
                  <a:cubicBezTo>
                    <a:pt x="607639" y="424476"/>
                    <a:pt x="587168" y="444915"/>
                    <a:pt x="562069" y="444915"/>
                  </a:cubicBezTo>
                  <a:lnTo>
                    <a:pt x="367414" y="444915"/>
                  </a:lnTo>
                  <a:lnTo>
                    <a:pt x="382634" y="505522"/>
                  </a:lnTo>
                  <a:lnTo>
                    <a:pt x="384859" y="505522"/>
                  </a:lnTo>
                  <a:cubicBezTo>
                    <a:pt x="412718" y="505522"/>
                    <a:pt x="435414" y="528271"/>
                    <a:pt x="435414" y="556086"/>
                  </a:cubicBezTo>
                  <a:cubicBezTo>
                    <a:pt x="435414" y="561685"/>
                    <a:pt x="430964" y="566217"/>
                    <a:pt x="425356" y="566217"/>
                  </a:cubicBezTo>
                  <a:lnTo>
                    <a:pt x="182283" y="566217"/>
                  </a:lnTo>
                  <a:cubicBezTo>
                    <a:pt x="176676" y="566217"/>
                    <a:pt x="172136" y="561685"/>
                    <a:pt x="172136" y="556086"/>
                  </a:cubicBezTo>
                  <a:cubicBezTo>
                    <a:pt x="172136" y="528271"/>
                    <a:pt x="194833" y="505522"/>
                    <a:pt x="222780" y="505522"/>
                  </a:cubicBezTo>
                  <a:lnTo>
                    <a:pt x="225006" y="505522"/>
                  </a:lnTo>
                  <a:lnTo>
                    <a:pt x="240225" y="444915"/>
                  </a:lnTo>
                  <a:lnTo>
                    <a:pt x="45571" y="444915"/>
                  </a:lnTo>
                  <a:cubicBezTo>
                    <a:pt x="20471" y="444915"/>
                    <a:pt x="0" y="424476"/>
                    <a:pt x="0" y="399416"/>
                  </a:cubicBezTo>
                  <a:close/>
                  <a:moveTo>
                    <a:pt x="344273" y="273045"/>
                  </a:moveTo>
                  <a:cubicBezTo>
                    <a:pt x="338754" y="273045"/>
                    <a:pt x="334215" y="277578"/>
                    <a:pt x="334215" y="283089"/>
                  </a:cubicBezTo>
                  <a:lnTo>
                    <a:pt x="334215" y="313486"/>
                  </a:lnTo>
                  <a:cubicBezTo>
                    <a:pt x="334215" y="318997"/>
                    <a:pt x="338754" y="323530"/>
                    <a:pt x="344273" y="323530"/>
                  </a:cubicBezTo>
                  <a:cubicBezTo>
                    <a:pt x="349880" y="323530"/>
                    <a:pt x="354419" y="318997"/>
                    <a:pt x="354419" y="313486"/>
                  </a:cubicBezTo>
                  <a:lnTo>
                    <a:pt x="354419" y="283089"/>
                  </a:lnTo>
                  <a:cubicBezTo>
                    <a:pt x="354419" y="277578"/>
                    <a:pt x="349880" y="273045"/>
                    <a:pt x="344273" y="273045"/>
                  </a:cubicBezTo>
                  <a:close/>
                  <a:moveTo>
                    <a:pt x="425356" y="252780"/>
                  </a:moveTo>
                  <a:cubicBezTo>
                    <a:pt x="419749" y="252780"/>
                    <a:pt x="415210" y="257313"/>
                    <a:pt x="415210" y="262913"/>
                  </a:cubicBezTo>
                  <a:lnTo>
                    <a:pt x="415210" y="313486"/>
                  </a:lnTo>
                  <a:cubicBezTo>
                    <a:pt x="415210" y="318997"/>
                    <a:pt x="419749" y="323530"/>
                    <a:pt x="425356" y="323530"/>
                  </a:cubicBezTo>
                  <a:cubicBezTo>
                    <a:pt x="430964" y="323530"/>
                    <a:pt x="435414" y="318997"/>
                    <a:pt x="435414" y="313486"/>
                  </a:cubicBezTo>
                  <a:lnTo>
                    <a:pt x="435414" y="262913"/>
                  </a:lnTo>
                  <a:cubicBezTo>
                    <a:pt x="435414" y="257313"/>
                    <a:pt x="430964" y="252780"/>
                    <a:pt x="425356" y="252780"/>
                  </a:cubicBezTo>
                  <a:close/>
                  <a:moveTo>
                    <a:pt x="384859" y="232515"/>
                  </a:moveTo>
                  <a:cubicBezTo>
                    <a:pt x="379252" y="232515"/>
                    <a:pt x="374712" y="237048"/>
                    <a:pt x="374712" y="242648"/>
                  </a:cubicBezTo>
                  <a:lnTo>
                    <a:pt x="374712" y="313486"/>
                  </a:lnTo>
                  <a:cubicBezTo>
                    <a:pt x="374712" y="318997"/>
                    <a:pt x="379252" y="323530"/>
                    <a:pt x="384859" y="323530"/>
                  </a:cubicBezTo>
                  <a:cubicBezTo>
                    <a:pt x="390466" y="323530"/>
                    <a:pt x="394917" y="318997"/>
                    <a:pt x="394917" y="313486"/>
                  </a:cubicBezTo>
                  <a:lnTo>
                    <a:pt x="394917" y="242648"/>
                  </a:lnTo>
                  <a:cubicBezTo>
                    <a:pt x="394917" y="237048"/>
                    <a:pt x="390466" y="232515"/>
                    <a:pt x="384859" y="232515"/>
                  </a:cubicBezTo>
                  <a:close/>
                  <a:moveTo>
                    <a:pt x="506351" y="222471"/>
                  </a:moveTo>
                  <a:cubicBezTo>
                    <a:pt x="500744" y="222471"/>
                    <a:pt x="496205" y="227004"/>
                    <a:pt x="496205" y="232515"/>
                  </a:cubicBezTo>
                  <a:lnTo>
                    <a:pt x="496205" y="313486"/>
                  </a:lnTo>
                  <a:cubicBezTo>
                    <a:pt x="496205" y="318997"/>
                    <a:pt x="500744" y="323530"/>
                    <a:pt x="506351" y="323530"/>
                  </a:cubicBezTo>
                  <a:cubicBezTo>
                    <a:pt x="511959" y="323530"/>
                    <a:pt x="516498" y="318997"/>
                    <a:pt x="516498" y="313486"/>
                  </a:cubicBezTo>
                  <a:lnTo>
                    <a:pt x="516498" y="232515"/>
                  </a:lnTo>
                  <a:cubicBezTo>
                    <a:pt x="516498" y="227004"/>
                    <a:pt x="511959" y="222471"/>
                    <a:pt x="506351" y="222471"/>
                  </a:cubicBezTo>
                  <a:close/>
                  <a:moveTo>
                    <a:pt x="196595" y="192079"/>
                  </a:moveTo>
                  <a:lnTo>
                    <a:pt x="272100" y="192079"/>
                  </a:lnTo>
                  <a:cubicBezTo>
                    <a:pt x="268984" y="211437"/>
                    <a:pt x="260080" y="228929"/>
                    <a:pt x="247258" y="242604"/>
                  </a:cubicBezTo>
                  <a:close/>
                  <a:moveTo>
                    <a:pt x="465854" y="182030"/>
                  </a:moveTo>
                  <a:cubicBezTo>
                    <a:pt x="460247" y="182030"/>
                    <a:pt x="455707" y="186563"/>
                    <a:pt x="455707" y="192074"/>
                  </a:cubicBezTo>
                  <a:lnTo>
                    <a:pt x="455707" y="313486"/>
                  </a:lnTo>
                  <a:cubicBezTo>
                    <a:pt x="455707" y="318997"/>
                    <a:pt x="460247" y="323530"/>
                    <a:pt x="465854" y="323530"/>
                  </a:cubicBezTo>
                  <a:cubicBezTo>
                    <a:pt x="471461" y="323530"/>
                    <a:pt x="476000" y="318997"/>
                    <a:pt x="476000" y="313486"/>
                  </a:cubicBezTo>
                  <a:lnTo>
                    <a:pt x="476000" y="192074"/>
                  </a:lnTo>
                  <a:cubicBezTo>
                    <a:pt x="476000" y="186563"/>
                    <a:pt x="471461" y="182030"/>
                    <a:pt x="465854" y="182030"/>
                  </a:cubicBezTo>
                  <a:close/>
                  <a:moveTo>
                    <a:pt x="499142" y="103992"/>
                  </a:moveTo>
                  <a:cubicBezTo>
                    <a:pt x="498786" y="104525"/>
                    <a:pt x="498252" y="105058"/>
                    <a:pt x="497896" y="105503"/>
                  </a:cubicBezTo>
                  <a:cubicBezTo>
                    <a:pt x="497540" y="106125"/>
                    <a:pt x="497273" y="106747"/>
                    <a:pt x="497006" y="107369"/>
                  </a:cubicBezTo>
                  <a:cubicBezTo>
                    <a:pt x="496739" y="107992"/>
                    <a:pt x="496561" y="108614"/>
                    <a:pt x="496383" y="109147"/>
                  </a:cubicBezTo>
                  <a:cubicBezTo>
                    <a:pt x="496294" y="109858"/>
                    <a:pt x="496205" y="110569"/>
                    <a:pt x="496205" y="111191"/>
                  </a:cubicBezTo>
                  <a:cubicBezTo>
                    <a:pt x="496205" y="111813"/>
                    <a:pt x="496294" y="112524"/>
                    <a:pt x="496383" y="113236"/>
                  </a:cubicBezTo>
                  <a:cubicBezTo>
                    <a:pt x="496561" y="113858"/>
                    <a:pt x="496739" y="114480"/>
                    <a:pt x="497006" y="115013"/>
                  </a:cubicBezTo>
                  <a:cubicBezTo>
                    <a:pt x="497273" y="115635"/>
                    <a:pt x="497540" y="116258"/>
                    <a:pt x="497896" y="116880"/>
                  </a:cubicBezTo>
                  <a:cubicBezTo>
                    <a:pt x="498252" y="117413"/>
                    <a:pt x="498786" y="117857"/>
                    <a:pt x="499142" y="118391"/>
                  </a:cubicBezTo>
                  <a:cubicBezTo>
                    <a:pt x="501100" y="120168"/>
                    <a:pt x="503681" y="121324"/>
                    <a:pt x="506351" y="121324"/>
                  </a:cubicBezTo>
                  <a:cubicBezTo>
                    <a:pt x="509021" y="121324"/>
                    <a:pt x="511603" y="120168"/>
                    <a:pt x="513561" y="118391"/>
                  </a:cubicBezTo>
                  <a:cubicBezTo>
                    <a:pt x="515341" y="116435"/>
                    <a:pt x="516498" y="113947"/>
                    <a:pt x="516498" y="111191"/>
                  </a:cubicBezTo>
                  <a:cubicBezTo>
                    <a:pt x="516498" y="108436"/>
                    <a:pt x="515341" y="105947"/>
                    <a:pt x="513561" y="103992"/>
                  </a:cubicBezTo>
                  <a:cubicBezTo>
                    <a:pt x="509644" y="100259"/>
                    <a:pt x="502880" y="100259"/>
                    <a:pt x="499142" y="103992"/>
                  </a:cubicBezTo>
                  <a:close/>
                  <a:moveTo>
                    <a:pt x="374712" y="101059"/>
                  </a:moveTo>
                  <a:cubicBezTo>
                    <a:pt x="369105" y="101059"/>
                    <a:pt x="364566" y="105592"/>
                    <a:pt x="364566" y="111191"/>
                  </a:cubicBezTo>
                  <a:cubicBezTo>
                    <a:pt x="364566" y="116791"/>
                    <a:pt x="369105" y="121324"/>
                    <a:pt x="374712" y="121324"/>
                  </a:cubicBezTo>
                  <a:lnTo>
                    <a:pt x="455707" y="121324"/>
                  </a:lnTo>
                  <a:cubicBezTo>
                    <a:pt x="461315" y="121324"/>
                    <a:pt x="465854" y="116791"/>
                    <a:pt x="465854" y="111191"/>
                  </a:cubicBezTo>
                  <a:cubicBezTo>
                    <a:pt x="465854" y="105592"/>
                    <a:pt x="461315" y="101059"/>
                    <a:pt x="455707" y="101059"/>
                  </a:cubicBezTo>
                  <a:close/>
                  <a:moveTo>
                    <a:pt x="162007" y="82209"/>
                  </a:moveTo>
                  <a:lnTo>
                    <a:pt x="162007" y="181568"/>
                  </a:lnTo>
                  <a:lnTo>
                    <a:pt x="162096" y="181657"/>
                  </a:lnTo>
                  <a:cubicBezTo>
                    <a:pt x="162007" y="184323"/>
                    <a:pt x="162986" y="187078"/>
                    <a:pt x="165033" y="189123"/>
                  </a:cubicBezTo>
                  <a:lnTo>
                    <a:pt x="231878" y="255866"/>
                  </a:lnTo>
                  <a:cubicBezTo>
                    <a:pt x="216391" y="266619"/>
                    <a:pt x="197521" y="273018"/>
                    <a:pt x="177227" y="273018"/>
                  </a:cubicBezTo>
                  <a:cubicBezTo>
                    <a:pt x="124178" y="273018"/>
                    <a:pt x="81009" y="229915"/>
                    <a:pt x="81009" y="176947"/>
                  </a:cubicBezTo>
                  <a:cubicBezTo>
                    <a:pt x="81009" y="129134"/>
                    <a:pt x="116257" y="89497"/>
                    <a:pt x="162007" y="82209"/>
                  </a:cubicBezTo>
                  <a:close/>
                  <a:moveTo>
                    <a:pt x="182271" y="81150"/>
                  </a:moveTo>
                  <a:cubicBezTo>
                    <a:pt x="183250" y="81150"/>
                    <a:pt x="184230" y="81150"/>
                    <a:pt x="185209" y="81239"/>
                  </a:cubicBezTo>
                  <a:cubicBezTo>
                    <a:pt x="186277" y="81328"/>
                    <a:pt x="187434" y="81417"/>
                    <a:pt x="188503" y="81594"/>
                  </a:cubicBezTo>
                  <a:cubicBezTo>
                    <a:pt x="190728" y="81861"/>
                    <a:pt x="193043" y="82217"/>
                    <a:pt x="195268" y="82661"/>
                  </a:cubicBezTo>
                  <a:cubicBezTo>
                    <a:pt x="195891" y="82750"/>
                    <a:pt x="196603" y="82839"/>
                    <a:pt x="197315" y="83017"/>
                  </a:cubicBezTo>
                  <a:cubicBezTo>
                    <a:pt x="200075" y="83550"/>
                    <a:pt x="202835" y="84261"/>
                    <a:pt x="205505" y="85150"/>
                  </a:cubicBezTo>
                  <a:cubicBezTo>
                    <a:pt x="205594" y="85150"/>
                    <a:pt x="205772" y="85150"/>
                    <a:pt x="205950" y="85239"/>
                  </a:cubicBezTo>
                  <a:cubicBezTo>
                    <a:pt x="235949" y="94571"/>
                    <a:pt x="259628" y="118302"/>
                    <a:pt x="269064" y="148255"/>
                  </a:cubicBezTo>
                  <a:cubicBezTo>
                    <a:pt x="269064" y="148433"/>
                    <a:pt x="269153" y="148610"/>
                    <a:pt x="269153" y="148788"/>
                  </a:cubicBezTo>
                  <a:cubicBezTo>
                    <a:pt x="270044" y="151455"/>
                    <a:pt x="270667" y="154121"/>
                    <a:pt x="271290" y="156876"/>
                  </a:cubicBezTo>
                  <a:cubicBezTo>
                    <a:pt x="271468" y="157587"/>
                    <a:pt x="271557" y="158209"/>
                    <a:pt x="271646" y="158921"/>
                  </a:cubicBezTo>
                  <a:cubicBezTo>
                    <a:pt x="272091" y="161143"/>
                    <a:pt x="272447" y="163453"/>
                    <a:pt x="272714" y="165764"/>
                  </a:cubicBezTo>
                  <a:cubicBezTo>
                    <a:pt x="272803" y="166742"/>
                    <a:pt x="272892" y="167809"/>
                    <a:pt x="272981" y="168875"/>
                  </a:cubicBezTo>
                  <a:cubicBezTo>
                    <a:pt x="273070" y="169853"/>
                    <a:pt x="273159" y="170831"/>
                    <a:pt x="273159" y="171897"/>
                  </a:cubicBezTo>
                  <a:lnTo>
                    <a:pt x="182271" y="171897"/>
                  </a:lnTo>
                  <a:close/>
                  <a:moveTo>
                    <a:pt x="177210" y="60617"/>
                  </a:moveTo>
                  <a:cubicBezTo>
                    <a:pt x="176320" y="60617"/>
                    <a:pt x="175430" y="60795"/>
                    <a:pt x="174451" y="60795"/>
                  </a:cubicBezTo>
                  <a:cubicBezTo>
                    <a:pt x="173561" y="60795"/>
                    <a:pt x="172759" y="60706"/>
                    <a:pt x="171869" y="60795"/>
                  </a:cubicBezTo>
                  <a:lnTo>
                    <a:pt x="167508" y="61062"/>
                  </a:lnTo>
                  <a:lnTo>
                    <a:pt x="167419" y="61151"/>
                  </a:lnTo>
                  <a:cubicBezTo>
                    <a:pt x="107786" y="66128"/>
                    <a:pt x="60791" y="116080"/>
                    <a:pt x="60791" y="176964"/>
                  </a:cubicBezTo>
                  <a:cubicBezTo>
                    <a:pt x="60791" y="241048"/>
                    <a:pt x="113037" y="293221"/>
                    <a:pt x="177210" y="293221"/>
                  </a:cubicBezTo>
                  <a:cubicBezTo>
                    <a:pt x="206403" y="293221"/>
                    <a:pt x="233016" y="282378"/>
                    <a:pt x="253487" y="264601"/>
                  </a:cubicBezTo>
                  <a:cubicBezTo>
                    <a:pt x="253754" y="264424"/>
                    <a:pt x="254110" y="264335"/>
                    <a:pt x="254377" y="264068"/>
                  </a:cubicBezTo>
                  <a:cubicBezTo>
                    <a:pt x="254466" y="263890"/>
                    <a:pt x="254555" y="263713"/>
                    <a:pt x="254733" y="263535"/>
                  </a:cubicBezTo>
                  <a:cubicBezTo>
                    <a:pt x="276273" y="244247"/>
                    <a:pt x="290602" y="217138"/>
                    <a:pt x="293184" y="186652"/>
                  </a:cubicBezTo>
                  <a:lnTo>
                    <a:pt x="293362" y="186474"/>
                  </a:lnTo>
                  <a:lnTo>
                    <a:pt x="293540" y="182297"/>
                  </a:lnTo>
                  <a:cubicBezTo>
                    <a:pt x="293629" y="181408"/>
                    <a:pt x="293540" y="180519"/>
                    <a:pt x="293540" y="179630"/>
                  </a:cubicBezTo>
                  <a:cubicBezTo>
                    <a:pt x="293540" y="178741"/>
                    <a:pt x="293718" y="177853"/>
                    <a:pt x="293718" y="176964"/>
                  </a:cubicBezTo>
                  <a:cubicBezTo>
                    <a:pt x="293718" y="175719"/>
                    <a:pt x="293540" y="174475"/>
                    <a:pt x="293540" y="173320"/>
                  </a:cubicBezTo>
                  <a:cubicBezTo>
                    <a:pt x="293451" y="171453"/>
                    <a:pt x="293362" y="169676"/>
                    <a:pt x="293184" y="167898"/>
                  </a:cubicBezTo>
                  <a:cubicBezTo>
                    <a:pt x="293006" y="165498"/>
                    <a:pt x="292739" y="163098"/>
                    <a:pt x="292383" y="160698"/>
                  </a:cubicBezTo>
                  <a:cubicBezTo>
                    <a:pt x="292205" y="159276"/>
                    <a:pt x="292027" y="157854"/>
                    <a:pt x="291760" y="156432"/>
                  </a:cubicBezTo>
                  <a:cubicBezTo>
                    <a:pt x="291314" y="153766"/>
                    <a:pt x="290691" y="151188"/>
                    <a:pt x="290068" y="148522"/>
                  </a:cubicBezTo>
                  <a:cubicBezTo>
                    <a:pt x="289712" y="147366"/>
                    <a:pt x="289445" y="146211"/>
                    <a:pt x="289178" y="145144"/>
                  </a:cubicBezTo>
                  <a:cubicBezTo>
                    <a:pt x="288377" y="142389"/>
                    <a:pt x="287487" y="139722"/>
                    <a:pt x="286508" y="137145"/>
                  </a:cubicBezTo>
                  <a:cubicBezTo>
                    <a:pt x="286152" y="136078"/>
                    <a:pt x="285707" y="134923"/>
                    <a:pt x="285351" y="133856"/>
                  </a:cubicBezTo>
                  <a:cubicBezTo>
                    <a:pt x="284283" y="131367"/>
                    <a:pt x="283215" y="129057"/>
                    <a:pt x="282058" y="126657"/>
                  </a:cubicBezTo>
                  <a:cubicBezTo>
                    <a:pt x="281435" y="125412"/>
                    <a:pt x="280901" y="124168"/>
                    <a:pt x="280278" y="122924"/>
                  </a:cubicBezTo>
                  <a:cubicBezTo>
                    <a:pt x="279210" y="120968"/>
                    <a:pt x="278053" y="119013"/>
                    <a:pt x="276896" y="117057"/>
                  </a:cubicBezTo>
                  <a:cubicBezTo>
                    <a:pt x="276006" y="115546"/>
                    <a:pt x="275116" y="114035"/>
                    <a:pt x="274136" y="112613"/>
                  </a:cubicBezTo>
                  <a:cubicBezTo>
                    <a:pt x="273246" y="111191"/>
                    <a:pt x="272178" y="109858"/>
                    <a:pt x="271199" y="108525"/>
                  </a:cubicBezTo>
                  <a:cubicBezTo>
                    <a:pt x="269864" y="106658"/>
                    <a:pt x="268529" y="104792"/>
                    <a:pt x="267105" y="103014"/>
                  </a:cubicBezTo>
                  <a:cubicBezTo>
                    <a:pt x="266927" y="102836"/>
                    <a:pt x="266749" y="102659"/>
                    <a:pt x="266571" y="102481"/>
                  </a:cubicBezTo>
                  <a:cubicBezTo>
                    <a:pt x="264346" y="99814"/>
                    <a:pt x="262032" y="97148"/>
                    <a:pt x="259540" y="94659"/>
                  </a:cubicBezTo>
                  <a:cubicBezTo>
                    <a:pt x="256958" y="92082"/>
                    <a:pt x="254199" y="89682"/>
                    <a:pt x="251351" y="87371"/>
                  </a:cubicBezTo>
                  <a:cubicBezTo>
                    <a:pt x="251351" y="87282"/>
                    <a:pt x="251262" y="87282"/>
                    <a:pt x="251262" y="87193"/>
                  </a:cubicBezTo>
                  <a:cubicBezTo>
                    <a:pt x="249393" y="85682"/>
                    <a:pt x="247346" y="84260"/>
                    <a:pt x="245388" y="82838"/>
                  </a:cubicBezTo>
                  <a:cubicBezTo>
                    <a:pt x="244142" y="81949"/>
                    <a:pt x="242985" y="81060"/>
                    <a:pt x="241739" y="80171"/>
                  </a:cubicBezTo>
                  <a:cubicBezTo>
                    <a:pt x="240136" y="79105"/>
                    <a:pt x="238445" y="78216"/>
                    <a:pt x="236843" y="77238"/>
                  </a:cubicBezTo>
                  <a:cubicBezTo>
                    <a:pt x="235063" y="76172"/>
                    <a:pt x="233283" y="75105"/>
                    <a:pt x="231414" y="74039"/>
                  </a:cubicBezTo>
                  <a:cubicBezTo>
                    <a:pt x="230079" y="73328"/>
                    <a:pt x="228655" y="72705"/>
                    <a:pt x="227231" y="72083"/>
                  </a:cubicBezTo>
                  <a:cubicBezTo>
                    <a:pt x="225006" y="71017"/>
                    <a:pt x="222780" y="69950"/>
                    <a:pt x="220466" y="69061"/>
                  </a:cubicBezTo>
                  <a:cubicBezTo>
                    <a:pt x="219309" y="68617"/>
                    <a:pt x="218063" y="68172"/>
                    <a:pt x="216817" y="67728"/>
                  </a:cubicBezTo>
                  <a:cubicBezTo>
                    <a:pt x="214325" y="66839"/>
                    <a:pt x="211833" y="65950"/>
                    <a:pt x="209252" y="65239"/>
                  </a:cubicBezTo>
                  <a:cubicBezTo>
                    <a:pt x="208006" y="64884"/>
                    <a:pt x="206759" y="64617"/>
                    <a:pt x="205513" y="64262"/>
                  </a:cubicBezTo>
                  <a:cubicBezTo>
                    <a:pt x="202932" y="63639"/>
                    <a:pt x="200440" y="63017"/>
                    <a:pt x="197770" y="62573"/>
                  </a:cubicBezTo>
                  <a:cubicBezTo>
                    <a:pt x="196346" y="62306"/>
                    <a:pt x="194922" y="62128"/>
                    <a:pt x="193498" y="61951"/>
                  </a:cubicBezTo>
                  <a:cubicBezTo>
                    <a:pt x="191095" y="61595"/>
                    <a:pt x="188691" y="61329"/>
                    <a:pt x="186199" y="61062"/>
                  </a:cubicBezTo>
                  <a:cubicBezTo>
                    <a:pt x="184508" y="60973"/>
                    <a:pt x="182728" y="60884"/>
                    <a:pt x="181037" y="60795"/>
                  </a:cubicBezTo>
                  <a:cubicBezTo>
                    <a:pt x="179702" y="60795"/>
                    <a:pt x="178456" y="60617"/>
                    <a:pt x="177210" y="60617"/>
                  </a:cubicBezTo>
                  <a:close/>
                  <a:moveTo>
                    <a:pt x="431587" y="51374"/>
                  </a:moveTo>
                  <a:cubicBezTo>
                    <a:pt x="430252" y="51818"/>
                    <a:pt x="429273" y="52529"/>
                    <a:pt x="428294" y="53418"/>
                  </a:cubicBezTo>
                  <a:cubicBezTo>
                    <a:pt x="426424" y="55373"/>
                    <a:pt x="425356" y="58040"/>
                    <a:pt x="425356" y="60617"/>
                  </a:cubicBezTo>
                  <a:cubicBezTo>
                    <a:pt x="425356" y="63284"/>
                    <a:pt x="426424" y="65862"/>
                    <a:pt x="428294" y="67817"/>
                  </a:cubicBezTo>
                  <a:cubicBezTo>
                    <a:pt x="430163" y="69683"/>
                    <a:pt x="432833" y="70750"/>
                    <a:pt x="435414" y="70750"/>
                  </a:cubicBezTo>
                  <a:cubicBezTo>
                    <a:pt x="438084" y="70750"/>
                    <a:pt x="440754" y="69683"/>
                    <a:pt x="442623" y="67817"/>
                  </a:cubicBezTo>
                  <a:cubicBezTo>
                    <a:pt x="444493" y="65862"/>
                    <a:pt x="445561" y="63284"/>
                    <a:pt x="445561" y="60617"/>
                  </a:cubicBezTo>
                  <a:cubicBezTo>
                    <a:pt x="445561" y="58040"/>
                    <a:pt x="444493" y="55373"/>
                    <a:pt x="442623" y="53418"/>
                  </a:cubicBezTo>
                  <a:cubicBezTo>
                    <a:pt x="439775" y="50663"/>
                    <a:pt x="435325" y="49685"/>
                    <a:pt x="431587" y="51374"/>
                  </a:cubicBezTo>
                  <a:close/>
                  <a:moveTo>
                    <a:pt x="476000" y="50485"/>
                  </a:moveTo>
                  <a:cubicBezTo>
                    <a:pt x="470393" y="50485"/>
                    <a:pt x="465854" y="55018"/>
                    <a:pt x="465854" y="60617"/>
                  </a:cubicBezTo>
                  <a:cubicBezTo>
                    <a:pt x="465854" y="66217"/>
                    <a:pt x="470393" y="70750"/>
                    <a:pt x="476000" y="70750"/>
                  </a:cubicBezTo>
                  <a:lnTo>
                    <a:pt x="506351" y="70750"/>
                  </a:lnTo>
                  <a:cubicBezTo>
                    <a:pt x="511959" y="70750"/>
                    <a:pt x="516498" y="66217"/>
                    <a:pt x="516498" y="60617"/>
                  </a:cubicBezTo>
                  <a:cubicBezTo>
                    <a:pt x="516498" y="55018"/>
                    <a:pt x="511959" y="50485"/>
                    <a:pt x="506351" y="50485"/>
                  </a:cubicBezTo>
                  <a:close/>
                  <a:moveTo>
                    <a:pt x="374712" y="50485"/>
                  </a:moveTo>
                  <a:cubicBezTo>
                    <a:pt x="369105" y="50485"/>
                    <a:pt x="364566" y="55018"/>
                    <a:pt x="364566" y="60617"/>
                  </a:cubicBezTo>
                  <a:cubicBezTo>
                    <a:pt x="364566" y="66217"/>
                    <a:pt x="369105" y="70750"/>
                    <a:pt x="374712" y="70750"/>
                  </a:cubicBezTo>
                  <a:lnTo>
                    <a:pt x="394917" y="70750"/>
                  </a:lnTo>
                  <a:cubicBezTo>
                    <a:pt x="400524" y="70750"/>
                    <a:pt x="405063" y="66217"/>
                    <a:pt x="405063" y="60617"/>
                  </a:cubicBezTo>
                  <a:cubicBezTo>
                    <a:pt x="405063" y="55018"/>
                    <a:pt x="400524" y="50485"/>
                    <a:pt x="394917" y="50485"/>
                  </a:cubicBezTo>
                  <a:close/>
                  <a:moveTo>
                    <a:pt x="45571" y="0"/>
                  </a:moveTo>
                  <a:lnTo>
                    <a:pt x="562069" y="0"/>
                  </a:lnTo>
                  <a:cubicBezTo>
                    <a:pt x="587168" y="0"/>
                    <a:pt x="607639" y="20354"/>
                    <a:pt x="607639" y="45508"/>
                  </a:cubicBezTo>
                  <a:lnTo>
                    <a:pt x="607639" y="343795"/>
                  </a:lnTo>
                  <a:lnTo>
                    <a:pt x="0" y="343795"/>
                  </a:lnTo>
                  <a:lnTo>
                    <a:pt x="0" y="45508"/>
                  </a:lnTo>
                  <a:cubicBezTo>
                    <a:pt x="0" y="20354"/>
                    <a:pt x="20471" y="0"/>
                    <a:pt x="45571" y="0"/>
                  </a:cubicBezTo>
                  <a:close/>
                </a:path>
              </a:pathLst>
            </a:custGeom>
            <a:gradFill>
              <a:gsLst>
                <a:gs pos="33000">
                  <a:srgbClr val="4EBCF7"/>
                </a:gs>
                <a:gs pos="99000">
                  <a:srgbClr val="0870D3"/>
                </a:gs>
              </a:gsLst>
              <a:lin ang="10800000" scaled="0"/>
            </a:gradFill>
            <a:ln>
              <a:noFill/>
            </a:ln>
            <a:effectLst/>
          </p:spPr>
        </p:sp>
        <p:sp>
          <p:nvSpPr>
            <p:cNvPr id="18" name="矩形 17"/>
            <p:cNvSpPr/>
            <p:nvPr/>
          </p:nvSpPr>
          <p:spPr>
            <a:xfrm>
              <a:off x="1082791" y="386741"/>
              <a:ext cx="3523722" cy="5232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2800" kern="0" dirty="0">
                  <a:solidFill>
                    <a:srgbClr val="0870D3"/>
                  </a:solidFill>
                  <a:effectLst>
                    <a:outerShdw blurRad="76200" dist="127000" dir="8100000" algn="tr" rotWithShape="0">
                      <a:prstClr val="black">
                        <a:alpha val="40000"/>
                      </a:prstClr>
                    </a:outerShdw>
                  </a:effectLst>
                  <a:latin typeface="思源黑体 CN Bold" panose="020B0800000000000000" pitchFamily="34" charset="-122"/>
                  <a:ea typeface="思源黑体 CN Bold" panose="020B0800000000000000" pitchFamily="34" charset="-122"/>
                  <a:cs typeface="+mn-ea"/>
                  <a:sym typeface="+mn-lt"/>
                </a:rPr>
                <a:t>ENTER YOUR TITLE</a:t>
              </a:r>
              <a:endParaRPr lang="zh-CN" altLang="en-US" sz="2800" kern="0" dirty="0">
                <a:solidFill>
                  <a:srgbClr val="0870D3"/>
                </a:solidFill>
                <a:effectLst>
                  <a:outerShdw blurRad="76200" dist="127000" dir="8100000" algn="tr" rotWithShape="0">
                    <a:prstClr val="black">
                      <a:alpha val="40000"/>
                    </a:prstClr>
                  </a:outerShdw>
                </a:effectLst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endParaRPr>
            </a:p>
          </p:txBody>
        </p:sp>
      </p:grpSp>
      <p:sp>
        <p:nvSpPr>
          <p:cNvPr id="19" name="îšḻïdé"/>
          <p:cNvSpPr/>
          <p:nvPr/>
        </p:nvSpPr>
        <p:spPr>
          <a:xfrm>
            <a:off x="8791619" y="1011091"/>
            <a:ext cx="2725941" cy="4835819"/>
          </a:xfrm>
          <a:prstGeom prst="rect">
            <a:avLst/>
          </a:prstGeom>
          <a:blipFill>
            <a:blip r:embed="rId3" cstate="screen"/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dirty="0">
              <a:latin typeface="思源黑体 CN Normal" panose="020B0400000000000000" pitchFamily="34" charset="-122"/>
              <a:ea typeface="思源黑体 CN Normal" panose="020B0400000000000000" pitchFamily="34" charset="-122"/>
            </a:endParaRPr>
          </a:p>
        </p:txBody>
      </p:sp>
      <p:sp>
        <p:nvSpPr>
          <p:cNvPr id="20" name="îšḻïdé"/>
          <p:cNvSpPr/>
          <p:nvPr/>
        </p:nvSpPr>
        <p:spPr>
          <a:xfrm>
            <a:off x="7416800" y="1011090"/>
            <a:ext cx="2725941" cy="4835819"/>
          </a:xfrm>
          <a:prstGeom prst="rect">
            <a:avLst/>
          </a:prstGeom>
          <a:blipFill>
            <a:blip r:embed="rId3" cstate="screen"/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dirty="0">
              <a:latin typeface="思源黑体 CN Normal" panose="020B0400000000000000" pitchFamily="34" charset="-122"/>
              <a:ea typeface="思源黑体 CN Normal" panose="020B0400000000000000" pitchFamily="34" charset="-122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3000">
        <p:fade/>
      </p:transition>
    </mc:Choice>
    <mc:Fallback xmlns="">
      <p:transition spd="med" advClick="0" advTm="3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6" grpId="0"/>
      <p:bldP spid="8" grpId="0"/>
      <p:bldP spid="9" grpId="0"/>
      <p:bldP spid="10" grpId="0"/>
      <p:bldP spid="11" grpId="0"/>
      <p:bldP spid="12" grpId="0" animBg="1"/>
      <p:bldP spid="13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PRESENTATION_TITLE" val="蓝色渐变工作汇报通用PPT模板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  <p:tag name="ISLIDE.VECTOR" val="#418846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a2f6f956-74f0-4e48-b063-fde34c17ff18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  <p:tag name="ISLIDE.VECTOR" val="#418846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a2f6f956-74f0-4e48-b063-fde34c17ff18"/>
</p:tagLst>
</file>

<file path=ppt/theme/theme1.xml><?xml version="1.0" encoding="utf-8"?>
<a:theme xmlns:a="http://schemas.openxmlformats.org/drawingml/2006/main" name="www.2ppt.com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004CFF"/>
      </a:accent1>
      <a:accent2>
        <a:srgbClr val="00BEFF"/>
      </a:accent2>
      <a:accent3>
        <a:srgbClr val="F8CE6F"/>
      </a:accent3>
      <a:accent4>
        <a:srgbClr val="D4A1EA"/>
      </a:accent4>
      <a:accent5>
        <a:srgbClr val="5E5CA2"/>
      </a:accent5>
      <a:accent6>
        <a:srgbClr val="768394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004CFF"/>
      </a:accent1>
      <a:accent2>
        <a:srgbClr val="00BEFF"/>
      </a:accent2>
      <a:accent3>
        <a:srgbClr val="F8CE6F"/>
      </a:accent3>
      <a:accent4>
        <a:srgbClr val="D4A1EA"/>
      </a:accent4>
      <a:accent5>
        <a:srgbClr val="5E5CA2"/>
      </a:accent5>
      <a:accent6>
        <a:srgbClr val="768394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04CFF"/>
    </a:accent1>
    <a:accent2>
      <a:srgbClr val="00BEFF"/>
    </a:accent2>
    <a:accent3>
      <a:srgbClr val="F8CE6F"/>
    </a:accent3>
    <a:accent4>
      <a:srgbClr val="D4A1EA"/>
    </a:accent4>
    <a:accent5>
      <a:srgbClr val="5E5CA2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04CFF"/>
    </a:accent1>
    <a:accent2>
      <a:srgbClr val="00BEFF"/>
    </a:accent2>
    <a:accent3>
      <a:srgbClr val="F8CE6F"/>
    </a:accent3>
    <a:accent4>
      <a:srgbClr val="D4A1EA"/>
    </a:accent4>
    <a:accent5>
      <a:srgbClr val="5E5CA2"/>
    </a:accent5>
    <a:accent6>
      <a:srgbClr val="768394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90</Words>
  <Application>Microsoft Office PowerPoint</Application>
  <PresentationFormat>宽屏</PresentationFormat>
  <Paragraphs>164</Paragraphs>
  <Slides>15</Slides>
  <Notes>15</Notes>
  <HiddenSlides>0</HiddenSlides>
  <MMClips>0</MMClips>
  <ScaleCrop>false</ScaleCrop>
  <HeadingPairs>
    <vt:vector size="8" baseType="variant">
      <vt:variant>
        <vt:lpstr>已用的字体</vt:lpstr>
      </vt:variant>
      <vt:variant>
        <vt:i4>9</vt:i4>
      </vt:variant>
      <vt:variant>
        <vt:lpstr>主题</vt:lpstr>
      </vt:variant>
      <vt:variant>
        <vt:i4>3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5</vt:i4>
      </vt:variant>
    </vt:vector>
  </HeadingPairs>
  <TitlesOfParts>
    <vt:vector size="28" baseType="lpstr">
      <vt:lpstr>仓耳青禾体-谷力 W05</vt:lpstr>
      <vt:lpstr>等线</vt:lpstr>
      <vt:lpstr>等线 Light</vt:lpstr>
      <vt:lpstr>三极准柔宋</vt:lpstr>
      <vt:lpstr>思源黑体 CN Bold</vt:lpstr>
      <vt:lpstr>思源黑体 CN Normal</vt:lpstr>
      <vt:lpstr>微软雅黑</vt:lpstr>
      <vt:lpstr>Arial</vt:lpstr>
      <vt:lpstr>Calibri</vt:lpstr>
      <vt:lpstr>www.2ppt.com</vt:lpstr>
      <vt:lpstr>主题5</vt:lpstr>
      <vt:lpstr>1_主题5</vt:lpstr>
      <vt:lpstr>think-cell Slide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ww.2ppt.com-爱PPT提供资源下载</dc:title>
  <dc:subject>www.2ppt.com-爱PPT提供资源下载</dc:subject>
  <dc:creator>www.2ppt.com-爱PPT提供资源下载</dc:creator>
  <dc:description>www.2ppt.com-爱PPT提供资源下载</dc:description>
  <cp:lastModifiedBy>Qingri-7</cp:lastModifiedBy>
  <cp:revision>3</cp:revision>
  <dcterms:created xsi:type="dcterms:W3CDTF">2021-05-18T08:55:27Z</dcterms:created>
  <dcterms:modified xsi:type="dcterms:W3CDTF">2022-09-08T08:28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1.1.0.10495</vt:lpwstr>
  </property>
  <property fmtid="{D5CDD505-2E9C-101B-9397-08002B2CF9AE}" pid="3" name="ICV">
    <vt:lpwstr>2C23B7B2DF1645339AEDA25679538123</vt:lpwstr>
  </property>
  <property fmtid="{A09F084E-AD41-489F-8076-AA5BE3082BCA}" pid="100">
    <vt:ui4>5</vt:ui4>
  </property>
  <property fmtid="{64440492-4C8B-11D1-8B70-080036B11A03}" pid="11">
    <vt:lpwstr>www.2ppt.com-爱PPT提供资源下载</vt:lpwstr>
  </property>
</Properties>
</file>